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47" r:id="rId4"/>
    <p:sldMasterId id="2147485850" r:id="rId5"/>
    <p:sldMasterId id="2147485923" r:id="rId6"/>
    <p:sldMasterId id="2147485996" r:id="rId7"/>
    <p:sldMasterId id="2147486069" r:id="rId8"/>
  </p:sldMasterIdLst>
  <p:notesMasterIdLst>
    <p:notesMasterId r:id="rId50"/>
  </p:notesMasterIdLst>
  <p:handoutMasterIdLst>
    <p:handoutMasterId r:id="rId51"/>
  </p:handoutMasterIdLst>
  <p:sldIdLst>
    <p:sldId id="2147482451" r:id="rId9"/>
    <p:sldId id="2147482459" r:id="rId10"/>
    <p:sldId id="2147482463" r:id="rId11"/>
    <p:sldId id="2147482466" r:id="rId12"/>
    <p:sldId id="2147482478" r:id="rId13"/>
    <p:sldId id="331" r:id="rId14"/>
    <p:sldId id="2147483634" r:id="rId15"/>
    <p:sldId id="2147483635" r:id="rId16"/>
    <p:sldId id="2147482154" r:id="rId17"/>
    <p:sldId id="2147483557" r:id="rId18"/>
    <p:sldId id="2147483641" r:id="rId19"/>
    <p:sldId id="2147483424" r:id="rId20"/>
    <p:sldId id="258" r:id="rId21"/>
    <p:sldId id="268" r:id="rId22"/>
    <p:sldId id="260" r:id="rId23"/>
    <p:sldId id="295" r:id="rId24"/>
    <p:sldId id="292" r:id="rId25"/>
    <p:sldId id="264" r:id="rId26"/>
    <p:sldId id="259" r:id="rId27"/>
    <p:sldId id="261" r:id="rId28"/>
    <p:sldId id="377" r:id="rId29"/>
    <p:sldId id="2147483642" r:id="rId30"/>
    <p:sldId id="283" r:id="rId31"/>
    <p:sldId id="280" r:id="rId32"/>
    <p:sldId id="2147483647" r:id="rId33"/>
    <p:sldId id="256" r:id="rId34"/>
    <p:sldId id="2147482218" r:id="rId35"/>
    <p:sldId id="278" r:id="rId36"/>
    <p:sldId id="267" r:id="rId37"/>
    <p:sldId id="266" r:id="rId38"/>
    <p:sldId id="263" r:id="rId39"/>
    <p:sldId id="274" r:id="rId40"/>
    <p:sldId id="275" r:id="rId41"/>
    <p:sldId id="270" r:id="rId42"/>
    <p:sldId id="262" r:id="rId43"/>
    <p:sldId id="333" r:id="rId44"/>
    <p:sldId id="271" r:id="rId45"/>
    <p:sldId id="2147482462" r:id="rId46"/>
    <p:sldId id="272" r:id="rId47"/>
    <p:sldId id="273" r:id="rId48"/>
    <p:sldId id="2147482470" r:id="rId49"/>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iapositivas del Centro de clientes de MW" id="{0CB07BD8-A729-44C3-AF36-735DAE1433D6}">
          <p14:sldIdLst>
            <p14:sldId id="2147482451"/>
            <p14:sldId id="2147482459"/>
            <p14:sldId id="2147482463"/>
            <p14:sldId id="2147482466"/>
            <p14:sldId id="2147482478"/>
            <p14:sldId id="331"/>
            <p14:sldId id="2147483634"/>
          </p14:sldIdLst>
        </p14:section>
        <p14:section name="Aspectos básicos de la creación de agentes" id="{AB5CF685-922D-4B9B-91CF-000CE1F37F20}">
          <p14:sldIdLst>
            <p14:sldId id="2147483635"/>
            <p14:sldId id="2147482154"/>
            <p14:sldId id="2147483557"/>
            <p14:sldId id="2147483641"/>
            <p14:sldId id="2147483424"/>
            <p14:sldId id="258"/>
            <p14:sldId id="268"/>
          </p14:sldIdLst>
        </p14:section>
        <p14:section name="Agentes precreados" id="{32200BCE-F4B2-47FF-9507-DBD0119E6270}">
          <p14:sldIdLst>
            <p14:sldId id="260"/>
            <p14:sldId id="295"/>
            <p14:sldId id="292"/>
            <p14:sldId id="264"/>
            <p14:sldId id="259"/>
          </p14:sldIdLst>
        </p14:section>
        <p14:section name="Descubre agentes" id="{55D874DE-E20D-4009-AEC5-3E98BDB962A4}">
          <p14:sldIdLst>
            <p14:sldId id="261"/>
            <p14:sldId id="377"/>
          </p14:sldIdLst>
        </p14:section>
        <p14:section name="Plantillas de agentes en Generador de agentes" id="{78DF4EB4-3DF4-4D6F-9482-0288263250D1}">
          <p14:sldIdLst>
            <p14:sldId id="2147483642"/>
            <p14:sldId id="283"/>
            <p14:sldId id="280"/>
            <p14:sldId id="2147483647"/>
            <p14:sldId id="256"/>
            <p14:sldId id="2147482218"/>
          </p14:sldIdLst>
        </p14:section>
        <p14:section name="Inicios rápidos" id="{A02DD46E-B4A7-4373-8670-474356D1D81A}">
          <p14:sldIdLst>
            <p14:sldId id="278"/>
            <p14:sldId id="267"/>
            <p14:sldId id="266"/>
            <p14:sldId id="263"/>
            <p14:sldId id="274"/>
          </p14:sldIdLst>
        </p14:section>
        <p14:section name="Uso compartido de agentes" id="{E1A91D9A-A3AA-44E5-ADDB-B0F28D87DFA4}">
          <p14:sldIdLst>
            <p14:sldId id="275"/>
          </p14:sldIdLst>
        </p14:section>
        <p14:section name="PyR" id="{D2C90F3F-931C-4D1C-99A9-8C6D567B43B7}">
          <p14:sldIdLst>
            <p14:sldId id="270"/>
            <p14:sldId id="262"/>
            <p14:sldId id="333"/>
            <p14:sldId id="271"/>
            <p14:sldId id="2147482462"/>
            <p14:sldId id="272"/>
            <p14:sldId id="273"/>
            <p14:sldId id="2147482470"/>
          </p14:sldIdLst>
        </p14:section>
      </p14:sectionLst>
    </p:ext>
    <p:ext uri="{EFAFB233-063F-42B5-8137-9DF3F51BA10A}">
      <p15:sldGuideLst xmlns:p15="http://schemas.microsoft.com/office/powerpoint/2012/main">
        <p15:guide id="1" orient="horz" pos="2400" userDrawn="1">
          <p15:clr>
            <a:srgbClr val="A4A3A4"/>
          </p15:clr>
        </p15:guide>
        <p15:guide id="2" orient="horz" pos="2688" userDrawn="1">
          <p15:clr>
            <a:srgbClr val="A4A3A4"/>
          </p15:clr>
        </p15:guide>
        <p15:guide id="3" pos="552" userDrawn="1">
          <p15:clr>
            <a:srgbClr val="A4A3A4"/>
          </p15:clr>
        </p15:guide>
        <p15:guide id="4" pos="1680" userDrawn="1">
          <p15:clr>
            <a:srgbClr val="A4A3A4"/>
          </p15:clr>
        </p15:guide>
        <p15:guide id="5" orient="horz" pos="3312" userDrawn="1">
          <p15:clr>
            <a:srgbClr val="A4A3A4"/>
          </p15:clr>
        </p15:guide>
        <p15:guide id="6" pos="568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E47"/>
    <a:srgbClr val="091F2C"/>
    <a:srgbClr val="3F3C3E"/>
    <a:srgbClr val="FEFEFF"/>
    <a:srgbClr val="E9F2F8"/>
    <a:srgbClr val="2A446F"/>
    <a:srgbClr val="94D8FE"/>
    <a:srgbClr val="C03BC4"/>
    <a:srgbClr val="FF5C39"/>
    <a:srgbClr val="FFE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650" autoAdjust="0"/>
    <p:restoredTop sz="94660"/>
  </p:normalViewPr>
  <p:slideViewPr>
    <p:cSldViewPr snapToGrid="0">
      <p:cViewPr varScale="1">
        <p:scale>
          <a:sx n="72" d="100"/>
          <a:sy n="72" d="100"/>
        </p:scale>
        <p:origin x="31" y="501"/>
      </p:cViewPr>
      <p:guideLst>
        <p:guide orient="horz" pos="2400"/>
        <p:guide orient="horz" pos="2688"/>
        <p:guide pos="552"/>
        <p:guide pos="1680"/>
        <p:guide orient="horz" pos="3312"/>
        <p:guide pos="5688"/>
      </p:guideLst>
    </p:cSldViewPr>
  </p:slideViewPr>
  <p:notesTextViewPr>
    <p:cViewPr>
      <p:scale>
        <a:sx n="1" d="1"/>
        <a:sy n="1" d="1"/>
      </p:scale>
      <p:origin x="0" y="0"/>
    </p:cViewPr>
  </p:notesTextViewPr>
  <p:notesViewPr>
    <p:cSldViewPr snapToGrid="0">
      <p:cViewPr>
        <p:scale>
          <a:sx n="150" d="100"/>
          <a:sy n="150" d="100"/>
        </p:scale>
        <p:origin x="2388" y="-195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presProps" Target="presProps.xml"/><Relationship Id="rId5" Type="http://schemas.openxmlformats.org/officeDocument/2006/relationships/slideMaster" Target="slideMasters/slideMaster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microsoft.com/office/2018/10/relationships/authors" Target="author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933CAA-A1D9-4D4B-B53E-CA6E62FE2037}" type="doc">
      <dgm:prSet loTypeId="urn:microsoft.com/office/officeart/2005/8/layout/chevronAccent+Icon" loCatId="process" qsTypeId="urn:microsoft.com/office/officeart/2005/8/quickstyle/simple1" qsCatId="simple" csTypeId="urn:microsoft.com/office/officeart/2005/8/colors/accent1_2" csCatId="accent1" phldr="1"/>
      <dgm:spPr/>
      <dgm:t>
        <a:bodyPr/>
        <a:lstStyle/>
        <a:p>
          <a:endParaRPr lang="en-US"/>
        </a:p>
      </dgm:t>
    </dgm:pt>
    <dgm:pt modelId="{A2EA2622-F66A-4CA1-BC7C-2F199A55667F}">
      <dgm:prSet phldrT="[Text]"/>
      <dgm:spPr/>
      <dgm:t>
        <a:bodyPr/>
        <a:lstStyle/>
        <a:p>
          <a:r>
            <a:rPr lang="es-es" dirty="0"/>
            <a:t>Elige una plantilla</a:t>
          </a:r>
        </a:p>
      </dgm:t>
    </dgm:pt>
    <dgm:pt modelId="{AFC1E8CA-129C-40DD-B1DE-6E8AAEE112E2}" type="parTrans" cxnId="{CFDBDF4C-2239-4425-8C8E-8EB4E96C1512}">
      <dgm:prSet/>
      <dgm:spPr/>
      <dgm:t>
        <a:bodyPr/>
        <a:lstStyle/>
        <a:p>
          <a:endParaRPr lang="en-GB"/>
        </a:p>
      </dgm:t>
    </dgm:pt>
    <dgm:pt modelId="{4C41760F-573C-46F4-92B5-6379E0743E0F}" type="sibTrans" cxnId="{CFDBDF4C-2239-4425-8C8E-8EB4E96C1512}">
      <dgm:prSet/>
      <dgm:spPr/>
      <dgm:t>
        <a:bodyPr/>
        <a:lstStyle/>
        <a:p>
          <a:endParaRPr lang="en-GB"/>
        </a:p>
      </dgm:t>
    </dgm:pt>
    <dgm:pt modelId="{D2663C3B-17EE-47C1-94DC-E34440523C41}">
      <dgm:prSet phldrT="[Text]"/>
      <dgm:spPr/>
      <dgm:t>
        <a:bodyPr/>
        <a:lstStyle/>
        <a:p>
          <a:r>
            <a:rPr lang="es-es" dirty="0"/>
            <a:t>Personaliza </a:t>
          </a:r>
          <a:br>
            <a:rPr lang="es-es" dirty="0"/>
          </a:br>
          <a:r>
            <a:rPr lang="es-es" dirty="0"/>
            <a:t>el agente</a:t>
          </a:r>
        </a:p>
      </dgm:t>
    </dgm:pt>
    <dgm:pt modelId="{1A164E95-DECC-4039-9200-075D07A4AF01}" type="parTrans" cxnId="{9D2C9CE0-2C17-4A2D-8941-CB6621261AD7}">
      <dgm:prSet/>
      <dgm:spPr/>
      <dgm:t>
        <a:bodyPr/>
        <a:lstStyle/>
        <a:p>
          <a:endParaRPr lang="en-GB"/>
        </a:p>
      </dgm:t>
    </dgm:pt>
    <dgm:pt modelId="{6E795047-8575-4817-B591-27AC89C5E852}" type="sibTrans" cxnId="{9D2C9CE0-2C17-4A2D-8941-CB6621261AD7}">
      <dgm:prSet/>
      <dgm:spPr/>
      <dgm:t>
        <a:bodyPr/>
        <a:lstStyle/>
        <a:p>
          <a:endParaRPr lang="en-GB"/>
        </a:p>
      </dgm:t>
    </dgm:pt>
    <dgm:pt modelId="{8E6EFD08-DA68-40BE-AFA3-22F68ADF3B2D}">
      <dgm:prSet phldrT="[Text]"/>
      <dgm:spPr/>
      <dgm:t>
        <a:bodyPr/>
        <a:lstStyle/>
        <a:p>
          <a:r>
            <a:rPr lang="es-es"/>
            <a:t>Prueba y crea </a:t>
          </a:r>
        </a:p>
      </dgm:t>
    </dgm:pt>
    <dgm:pt modelId="{681BA7A1-F5EB-43DB-890A-9EA4270490C1}" type="parTrans" cxnId="{5DB41CB1-9BB4-4ECD-9881-C315BB9F2545}">
      <dgm:prSet/>
      <dgm:spPr/>
      <dgm:t>
        <a:bodyPr/>
        <a:lstStyle/>
        <a:p>
          <a:endParaRPr lang="en-GB"/>
        </a:p>
      </dgm:t>
    </dgm:pt>
    <dgm:pt modelId="{D8F8CC93-0E82-4E1F-B8D1-61D3F303D35A}" type="sibTrans" cxnId="{5DB41CB1-9BB4-4ECD-9881-C315BB9F2545}">
      <dgm:prSet/>
      <dgm:spPr/>
      <dgm:t>
        <a:bodyPr/>
        <a:lstStyle/>
        <a:p>
          <a:endParaRPr lang="en-GB"/>
        </a:p>
      </dgm:t>
    </dgm:pt>
    <dgm:pt modelId="{43ECF8B9-FD5E-41C1-A125-ADE1752A072D}">
      <dgm:prSet phldrT="[Text]"/>
      <dgm:spPr/>
      <dgm:t>
        <a:bodyPr/>
        <a:lstStyle/>
        <a:p>
          <a:r>
            <a:rPr lang="es-es"/>
            <a:t>Comparte con tus compañeros</a:t>
          </a:r>
        </a:p>
      </dgm:t>
    </dgm:pt>
    <dgm:pt modelId="{F801964D-64B7-4242-8A60-4F34CD9E7A21}" type="parTrans" cxnId="{0B422A6B-DDDD-4DC9-8432-0E3D81F41929}">
      <dgm:prSet/>
      <dgm:spPr/>
      <dgm:t>
        <a:bodyPr/>
        <a:lstStyle/>
        <a:p>
          <a:endParaRPr lang="en-GB"/>
        </a:p>
      </dgm:t>
    </dgm:pt>
    <dgm:pt modelId="{4A16D698-2E7D-48D4-850F-520E43821621}" type="sibTrans" cxnId="{0B422A6B-DDDD-4DC9-8432-0E3D81F41929}">
      <dgm:prSet/>
      <dgm:spPr/>
      <dgm:t>
        <a:bodyPr/>
        <a:lstStyle/>
        <a:p>
          <a:endParaRPr lang="en-GB"/>
        </a:p>
      </dgm:t>
    </dgm:pt>
    <dgm:pt modelId="{30B4A193-DB1B-46E8-BF31-2FA022D11677}" type="pres">
      <dgm:prSet presAssocID="{45933CAA-A1D9-4D4B-B53E-CA6E62FE2037}" presName="Name0" presStyleCnt="0">
        <dgm:presLayoutVars>
          <dgm:dir/>
          <dgm:resizeHandles val="exact"/>
        </dgm:presLayoutVars>
      </dgm:prSet>
      <dgm:spPr/>
    </dgm:pt>
    <dgm:pt modelId="{797A44EF-AB7F-4E87-A56A-A990963C2E4C}" type="pres">
      <dgm:prSet presAssocID="{A2EA2622-F66A-4CA1-BC7C-2F199A55667F}" presName="composite" presStyleCnt="0"/>
      <dgm:spPr/>
    </dgm:pt>
    <dgm:pt modelId="{490B312B-0A9C-4905-8F7D-317D204A17D2}" type="pres">
      <dgm:prSet presAssocID="{A2EA2622-F66A-4CA1-BC7C-2F199A55667F}" presName="bgChev" presStyleLbl="node1" presStyleIdx="0" presStyleCnt="4"/>
      <dgm:spPr/>
    </dgm:pt>
    <dgm:pt modelId="{4415B2E5-72D5-42CA-A72C-8FF93BD24DF4}" type="pres">
      <dgm:prSet presAssocID="{A2EA2622-F66A-4CA1-BC7C-2F199A55667F}" presName="txNode" presStyleLbl="fgAcc1" presStyleIdx="0" presStyleCnt="4">
        <dgm:presLayoutVars>
          <dgm:bulletEnabled val="1"/>
        </dgm:presLayoutVars>
      </dgm:prSet>
      <dgm:spPr/>
    </dgm:pt>
    <dgm:pt modelId="{DD805693-44A7-4572-9A5D-7E19EE78B9A8}" type="pres">
      <dgm:prSet presAssocID="{4C41760F-573C-46F4-92B5-6379E0743E0F}" presName="compositeSpace" presStyleCnt="0"/>
      <dgm:spPr/>
    </dgm:pt>
    <dgm:pt modelId="{653D6DBE-7614-495A-A66B-2D234C13841C}" type="pres">
      <dgm:prSet presAssocID="{D2663C3B-17EE-47C1-94DC-E34440523C41}" presName="composite" presStyleCnt="0"/>
      <dgm:spPr/>
    </dgm:pt>
    <dgm:pt modelId="{06762F46-CE81-4029-B08F-20CAC932DEE7}" type="pres">
      <dgm:prSet presAssocID="{D2663C3B-17EE-47C1-94DC-E34440523C41}" presName="bgChev" presStyleLbl="node1" presStyleIdx="1" presStyleCnt="4"/>
      <dgm:spPr/>
    </dgm:pt>
    <dgm:pt modelId="{DA95FE54-2262-430C-A049-C336A2F0EB55}" type="pres">
      <dgm:prSet presAssocID="{D2663C3B-17EE-47C1-94DC-E34440523C41}" presName="txNode" presStyleLbl="fgAcc1" presStyleIdx="1" presStyleCnt="4">
        <dgm:presLayoutVars>
          <dgm:bulletEnabled val="1"/>
        </dgm:presLayoutVars>
      </dgm:prSet>
      <dgm:spPr/>
    </dgm:pt>
    <dgm:pt modelId="{5478907B-1AB4-41ED-86AD-2619BBD68499}" type="pres">
      <dgm:prSet presAssocID="{6E795047-8575-4817-B591-27AC89C5E852}" presName="compositeSpace" presStyleCnt="0"/>
      <dgm:spPr/>
    </dgm:pt>
    <dgm:pt modelId="{FF489BA9-586F-4148-BC63-C10A0A096F02}" type="pres">
      <dgm:prSet presAssocID="{8E6EFD08-DA68-40BE-AFA3-22F68ADF3B2D}" presName="composite" presStyleCnt="0"/>
      <dgm:spPr/>
    </dgm:pt>
    <dgm:pt modelId="{2D684C11-C10F-429D-8500-993E9952D340}" type="pres">
      <dgm:prSet presAssocID="{8E6EFD08-DA68-40BE-AFA3-22F68ADF3B2D}" presName="bgChev" presStyleLbl="node1" presStyleIdx="2" presStyleCnt="4"/>
      <dgm:spPr/>
    </dgm:pt>
    <dgm:pt modelId="{F21AE406-4CEF-4CE0-B979-3A99C9468924}" type="pres">
      <dgm:prSet presAssocID="{8E6EFD08-DA68-40BE-AFA3-22F68ADF3B2D}" presName="txNode" presStyleLbl="fgAcc1" presStyleIdx="2" presStyleCnt="4">
        <dgm:presLayoutVars>
          <dgm:bulletEnabled val="1"/>
        </dgm:presLayoutVars>
      </dgm:prSet>
      <dgm:spPr/>
    </dgm:pt>
    <dgm:pt modelId="{ACA8A13E-340C-423B-B485-B1A94C2108BA}" type="pres">
      <dgm:prSet presAssocID="{D8F8CC93-0E82-4E1F-B8D1-61D3F303D35A}" presName="compositeSpace" presStyleCnt="0"/>
      <dgm:spPr/>
    </dgm:pt>
    <dgm:pt modelId="{8524B2FB-7B23-46E3-99E9-6B1B03EF5B80}" type="pres">
      <dgm:prSet presAssocID="{43ECF8B9-FD5E-41C1-A125-ADE1752A072D}" presName="composite" presStyleCnt="0"/>
      <dgm:spPr/>
    </dgm:pt>
    <dgm:pt modelId="{A29C4894-4DFE-4E21-8101-A75982503850}" type="pres">
      <dgm:prSet presAssocID="{43ECF8B9-FD5E-41C1-A125-ADE1752A072D}" presName="bgChev" presStyleLbl="node1" presStyleIdx="3" presStyleCnt="4"/>
      <dgm:spPr/>
    </dgm:pt>
    <dgm:pt modelId="{62EF82E8-860D-457E-AD51-2E5DFD4A988D}" type="pres">
      <dgm:prSet presAssocID="{43ECF8B9-FD5E-41C1-A125-ADE1752A072D}" presName="txNode" presStyleLbl="fgAcc1" presStyleIdx="3" presStyleCnt="4">
        <dgm:presLayoutVars>
          <dgm:bulletEnabled val="1"/>
        </dgm:presLayoutVars>
      </dgm:prSet>
      <dgm:spPr/>
    </dgm:pt>
  </dgm:ptLst>
  <dgm:cxnLst>
    <dgm:cxn modelId="{A3D4140F-35A2-4101-A78F-AF8C27657F23}" type="presOf" srcId="{45933CAA-A1D9-4D4B-B53E-CA6E62FE2037}" destId="{30B4A193-DB1B-46E8-BF31-2FA022D11677}" srcOrd="0" destOrd="0" presId="urn:microsoft.com/office/officeart/2005/8/layout/chevronAccent+Icon"/>
    <dgm:cxn modelId="{64ABAA60-468D-4479-944F-1F594BA8CC80}" type="presOf" srcId="{43ECF8B9-FD5E-41C1-A125-ADE1752A072D}" destId="{62EF82E8-860D-457E-AD51-2E5DFD4A988D}" srcOrd="0" destOrd="0" presId="urn:microsoft.com/office/officeart/2005/8/layout/chevronAccent+Icon"/>
    <dgm:cxn modelId="{9CA2BC44-1FAB-4BF5-BF94-4AE29F638EEB}" type="presOf" srcId="{D2663C3B-17EE-47C1-94DC-E34440523C41}" destId="{DA95FE54-2262-430C-A049-C336A2F0EB55}" srcOrd="0" destOrd="0" presId="urn:microsoft.com/office/officeart/2005/8/layout/chevronAccent+Icon"/>
    <dgm:cxn modelId="{0B422A6B-DDDD-4DC9-8432-0E3D81F41929}" srcId="{45933CAA-A1D9-4D4B-B53E-CA6E62FE2037}" destId="{43ECF8B9-FD5E-41C1-A125-ADE1752A072D}" srcOrd="3" destOrd="0" parTransId="{F801964D-64B7-4242-8A60-4F34CD9E7A21}" sibTransId="{4A16D698-2E7D-48D4-850F-520E43821621}"/>
    <dgm:cxn modelId="{CFDBDF4C-2239-4425-8C8E-8EB4E96C1512}" srcId="{45933CAA-A1D9-4D4B-B53E-CA6E62FE2037}" destId="{A2EA2622-F66A-4CA1-BC7C-2F199A55667F}" srcOrd="0" destOrd="0" parTransId="{AFC1E8CA-129C-40DD-B1DE-6E8AAEE112E2}" sibTransId="{4C41760F-573C-46F4-92B5-6379E0743E0F}"/>
    <dgm:cxn modelId="{3D5F4483-4A9B-484D-883B-2810705AD706}" type="presOf" srcId="{8E6EFD08-DA68-40BE-AFA3-22F68ADF3B2D}" destId="{F21AE406-4CEF-4CE0-B979-3A99C9468924}" srcOrd="0" destOrd="0" presId="urn:microsoft.com/office/officeart/2005/8/layout/chevronAccent+Icon"/>
    <dgm:cxn modelId="{5DB41CB1-9BB4-4ECD-9881-C315BB9F2545}" srcId="{45933CAA-A1D9-4D4B-B53E-CA6E62FE2037}" destId="{8E6EFD08-DA68-40BE-AFA3-22F68ADF3B2D}" srcOrd="2" destOrd="0" parTransId="{681BA7A1-F5EB-43DB-890A-9EA4270490C1}" sibTransId="{D8F8CC93-0E82-4E1F-B8D1-61D3F303D35A}"/>
    <dgm:cxn modelId="{706C87D0-9C30-42AC-B5CF-CB4D9FCC7561}" type="presOf" srcId="{A2EA2622-F66A-4CA1-BC7C-2F199A55667F}" destId="{4415B2E5-72D5-42CA-A72C-8FF93BD24DF4}" srcOrd="0" destOrd="0" presId="urn:microsoft.com/office/officeart/2005/8/layout/chevronAccent+Icon"/>
    <dgm:cxn modelId="{9D2C9CE0-2C17-4A2D-8941-CB6621261AD7}" srcId="{45933CAA-A1D9-4D4B-B53E-CA6E62FE2037}" destId="{D2663C3B-17EE-47C1-94DC-E34440523C41}" srcOrd="1" destOrd="0" parTransId="{1A164E95-DECC-4039-9200-075D07A4AF01}" sibTransId="{6E795047-8575-4817-B591-27AC89C5E852}"/>
    <dgm:cxn modelId="{F4ECE903-07DC-44D1-8BF2-4F4652C91221}" type="presParOf" srcId="{30B4A193-DB1B-46E8-BF31-2FA022D11677}" destId="{797A44EF-AB7F-4E87-A56A-A990963C2E4C}" srcOrd="0" destOrd="0" presId="urn:microsoft.com/office/officeart/2005/8/layout/chevronAccent+Icon"/>
    <dgm:cxn modelId="{2E6154BA-5E05-4B81-9947-D948A9142974}" type="presParOf" srcId="{797A44EF-AB7F-4E87-A56A-A990963C2E4C}" destId="{490B312B-0A9C-4905-8F7D-317D204A17D2}" srcOrd="0" destOrd="0" presId="urn:microsoft.com/office/officeart/2005/8/layout/chevronAccent+Icon"/>
    <dgm:cxn modelId="{20A13F38-1697-414F-B689-3332B470E4A7}" type="presParOf" srcId="{797A44EF-AB7F-4E87-A56A-A990963C2E4C}" destId="{4415B2E5-72D5-42CA-A72C-8FF93BD24DF4}" srcOrd="1" destOrd="0" presId="urn:microsoft.com/office/officeart/2005/8/layout/chevronAccent+Icon"/>
    <dgm:cxn modelId="{CC9C536B-6FCA-4320-91CB-0E2043D1AA58}" type="presParOf" srcId="{30B4A193-DB1B-46E8-BF31-2FA022D11677}" destId="{DD805693-44A7-4572-9A5D-7E19EE78B9A8}" srcOrd="1" destOrd="0" presId="urn:microsoft.com/office/officeart/2005/8/layout/chevronAccent+Icon"/>
    <dgm:cxn modelId="{D7E034FA-9D05-456C-8F0E-24462AA142F7}" type="presParOf" srcId="{30B4A193-DB1B-46E8-BF31-2FA022D11677}" destId="{653D6DBE-7614-495A-A66B-2D234C13841C}" srcOrd="2" destOrd="0" presId="urn:microsoft.com/office/officeart/2005/8/layout/chevronAccent+Icon"/>
    <dgm:cxn modelId="{AC35E146-E60E-4EE8-B0FF-4ABCF5E874F4}" type="presParOf" srcId="{653D6DBE-7614-495A-A66B-2D234C13841C}" destId="{06762F46-CE81-4029-B08F-20CAC932DEE7}" srcOrd="0" destOrd="0" presId="urn:microsoft.com/office/officeart/2005/8/layout/chevronAccent+Icon"/>
    <dgm:cxn modelId="{12DAFF7D-9E7C-452D-BCB7-DDF244B4E3BD}" type="presParOf" srcId="{653D6DBE-7614-495A-A66B-2D234C13841C}" destId="{DA95FE54-2262-430C-A049-C336A2F0EB55}" srcOrd="1" destOrd="0" presId="urn:microsoft.com/office/officeart/2005/8/layout/chevronAccent+Icon"/>
    <dgm:cxn modelId="{178225B7-380D-49D5-9A69-8C970988468D}" type="presParOf" srcId="{30B4A193-DB1B-46E8-BF31-2FA022D11677}" destId="{5478907B-1AB4-41ED-86AD-2619BBD68499}" srcOrd="3" destOrd="0" presId="urn:microsoft.com/office/officeart/2005/8/layout/chevronAccent+Icon"/>
    <dgm:cxn modelId="{925EBC92-B4A2-4AB0-8359-9D6826109133}" type="presParOf" srcId="{30B4A193-DB1B-46E8-BF31-2FA022D11677}" destId="{FF489BA9-586F-4148-BC63-C10A0A096F02}" srcOrd="4" destOrd="0" presId="urn:microsoft.com/office/officeart/2005/8/layout/chevronAccent+Icon"/>
    <dgm:cxn modelId="{3B05ADFE-90B9-4DE2-B0AE-D0E10815FF98}" type="presParOf" srcId="{FF489BA9-586F-4148-BC63-C10A0A096F02}" destId="{2D684C11-C10F-429D-8500-993E9952D340}" srcOrd="0" destOrd="0" presId="urn:microsoft.com/office/officeart/2005/8/layout/chevronAccent+Icon"/>
    <dgm:cxn modelId="{F4FF9241-A913-4745-AD07-09497CF99428}" type="presParOf" srcId="{FF489BA9-586F-4148-BC63-C10A0A096F02}" destId="{F21AE406-4CEF-4CE0-B979-3A99C9468924}" srcOrd="1" destOrd="0" presId="urn:microsoft.com/office/officeart/2005/8/layout/chevronAccent+Icon"/>
    <dgm:cxn modelId="{3A6B0AB7-3833-45C6-AE60-B7A70AC39EFC}" type="presParOf" srcId="{30B4A193-DB1B-46E8-BF31-2FA022D11677}" destId="{ACA8A13E-340C-423B-B485-B1A94C2108BA}" srcOrd="5" destOrd="0" presId="urn:microsoft.com/office/officeart/2005/8/layout/chevronAccent+Icon"/>
    <dgm:cxn modelId="{5F43298A-A13A-4FE1-A74B-9668290C1CAC}" type="presParOf" srcId="{30B4A193-DB1B-46E8-BF31-2FA022D11677}" destId="{8524B2FB-7B23-46E3-99E9-6B1B03EF5B80}" srcOrd="6" destOrd="0" presId="urn:microsoft.com/office/officeart/2005/8/layout/chevronAccent+Icon"/>
    <dgm:cxn modelId="{C2215D17-0B05-480C-9FE1-D22B2F207B80}" type="presParOf" srcId="{8524B2FB-7B23-46E3-99E9-6B1B03EF5B80}" destId="{A29C4894-4DFE-4E21-8101-A75982503850}" srcOrd="0" destOrd="0" presId="urn:microsoft.com/office/officeart/2005/8/layout/chevronAccent+Icon"/>
    <dgm:cxn modelId="{DBE0AC4B-A9CA-44DF-AFCA-DFF5DAB8B230}" type="presParOf" srcId="{8524B2FB-7B23-46E3-99E9-6B1B03EF5B80}" destId="{62EF82E8-860D-457E-AD51-2E5DFD4A988D}"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0B312B-0A9C-4905-8F7D-317D204A17D2}">
      <dsp:nvSpPr>
        <dsp:cNvPr id="0" name=""/>
        <dsp:cNvSpPr/>
      </dsp:nvSpPr>
      <dsp:spPr>
        <a:xfrm>
          <a:off x="5198" y="450757"/>
          <a:ext cx="2446575" cy="944378"/>
        </a:xfrm>
        <a:prstGeom prst="chevron">
          <a:avLst>
            <a:gd name="adj" fmla="val 4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15B2E5-72D5-42CA-A72C-8FF93BD24DF4}">
      <dsp:nvSpPr>
        <dsp:cNvPr id="0" name=""/>
        <dsp:cNvSpPr/>
      </dsp:nvSpPr>
      <dsp:spPr>
        <a:xfrm>
          <a:off x="657618" y="686852"/>
          <a:ext cx="2065997" cy="94437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s-es" sz="1900" kern="1200" dirty="0"/>
            <a:t>Elige una plantilla</a:t>
          </a:r>
        </a:p>
      </dsp:txBody>
      <dsp:txXfrm>
        <a:off x="685278" y="714512"/>
        <a:ext cx="2010677" cy="889058"/>
      </dsp:txXfrm>
    </dsp:sp>
    <dsp:sp modelId="{06762F46-CE81-4029-B08F-20CAC932DEE7}">
      <dsp:nvSpPr>
        <dsp:cNvPr id="0" name=""/>
        <dsp:cNvSpPr/>
      </dsp:nvSpPr>
      <dsp:spPr>
        <a:xfrm>
          <a:off x="2799730" y="450757"/>
          <a:ext cx="2446575" cy="944378"/>
        </a:xfrm>
        <a:prstGeom prst="chevron">
          <a:avLst>
            <a:gd name="adj" fmla="val 4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A95FE54-2262-430C-A049-C336A2F0EB55}">
      <dsp:nvSpPr>
        <dsp:cNvPr id="0" name=""/>
        <dsp:cNvSpPr/>
      </dsp:nvSpPr>
      <dsp:spPr>
        <a:xfrm>
          <a:off x="3452151" y="686852"/>
          <a:ext cx="2065997" cy="94437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s-es" sz="1900" kern="1200" dirty="0"/>
            <a:t>Personaliza </a:t>
          </a:r>
          <a:br>
            <a:rPr lang="es-es" sz="1900" kern="1200" dirty="0"/>
          </a:br>
          <a:r>
            <a:rPr lang="es-es" sz="1900" kern="1200" dirty="0"/>
            <a:t>el agente</a:t>
          </a:r>
        </a:p>
      </dsp:txBody>
      <dsp:txXfrm>
        <a:off x="3479811" y="714512"/>
        <a:ext cx="2010677" cy="889058"/>
      </dsp:txXfrm>
    </dsp:sp>
    <dsp:sp modelId="{2D684C11-C10F-429D-8500-993E9952D340}">
      <dsp:nvSpPr>
        <dsp:cNvPr id="0" name=""/>
        <dsp:cNvSpPr/>
      </dsp:nvSpPr>
      <dsp:spPr>
        <a:xfrm>
          <a:off x="5594263" y="450757"/>
          <a:ext cx="2446575" cy="944378"/>
        </a:xfrm>
        <a:prstGeom prst="chevron">
          <a:avLst>
            <a:gd name="adj" fmla="val 4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21AE406-4CEF-4CE0-B979-3A99C9468924}">
      <dsp:nvSpPr>
        <dsp:cNvPr id="0" name=""/>
        <dsp:cNvSpPr/>
      </dsp:nvSpPr>
      <dsp:spPr>
        <a:xfrm>
          <a:off x="6246683" y="686852"/>
          <a:ext cx="2065997" cy="94437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s-es" sz="1900" kern="1200"/>
            <a:t>Prueba y crea </a:t>
          </a:r>
        </a:p>
      </dsp:txBody>
      <dsp:txXfrm>
        <a:off x="6274343" y="714512"/>
        <a:ext cx="2010677" cy="889058"/>
      </dsp:txXfrm>
    </dsp:sp>
    <dsp:sp modelId="{A29C4894-4DFE-4E21-8101-A75982503850}">
      <dsp:nvSpPr>
        <dsp:cNvPr id="0" name=""/>
        <dsp:cNvSpPr/>
      </dsp:nvSpPr>
      <dsp:spPr>
        <a:xfrm>
          <a:off x="8388796" y="450757"/>
          <a:ext cx="2446575" cy="944378"/>
        </a:xfrm>
        <a:prstGeom prst="chevron">
          <a:avLst>
            <a:gd name="adj" fmla="val 4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2EF82E8-860D-457E-AD51-2E5DFD4A988D}">
      <dsp:nvSpPr>
        <dsp:cNvPr id="0" name=""/>
        <dsp:cNvSpPr/>
      </dsp:nvSpPr>
      <dsp:spPr>
        <a:xfrm>
          <a:off x="9041216" y="686852"/>
          <a:ext cx="2065997" cy="94437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s-es" sz="1900" kern="1200"/>
            <a:t>Comparte con tus compañeros</a:t>
          </a:r>
        </a:p>
      </dsp:txBody>
      <dsp:txXfrm>
        <a:off x="9068876" y="714512"/>
        <a:ext cx="2010677" cy="889058"/>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Sans Display" pitchFamily="2"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Sans Display" pitchFamily="2" charset="0"/>
              </a:rPr>
              <a:t>7/7/2026 9:28 AM</a:t>
            </a:fld>
            <a:endParaRPr lang="en-US">
              <a:latin typeface="Segoe Sans Display" pitchFamily="2"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Sans Display" pitchFamily="2" charset="0"/>
              </a:rPr>
              <a:t>‹#›</a:t>
            </a:fld>
            <a:endParaRPr lang="en-US">
              <a:latin typeface="Segoe Sans Display" pitchFamily="2"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Sans Display" pitchFamily="2"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atin typeface="Segoe Sans Display" pitchFamily="2" charset="0"/>
                <a:cs typeface="Segoe Sans Display" pitchFamily="2" charset="0"/>
              </a:defRPr>
            </a:lvl1p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Sans Display" pitchFamily="2" charset="0"/>
              </a:defRPr>
            </a:lvl1pPr>
          </a:lstStyle>
          <a:p>
            <a:fld id="{386CE63F-9E7F-4C04-9D0D-FCA25A8E9E86}" type="datetime8">
              <a:rPr lang="en-US" smtClean="0"/>
              <a:pPr/>
              <a:t>7/7/2026 9:28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Sans Display" pitchFamily="2"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Sans Display" pitchFamily="2"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Sans Display" pitchFamily="2"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Hola, muy buenas tardes a todos. Bienvenidos a esta sesion sobre agentes de Copilot. Hoy vamos a descubrir como funcionan las plantillas y ejemplos de agentes en el Generador de agentes. Recordad que esta es informacion confidencial de Microsoft, asi que por favor tratadla como tal. Vamos a meternos de lleno en algo que va mucho mas alla de una simple funcionalidad: estamos hablando de un cambio real en la forma de trabaja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163072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3FA18-E77F-D72D-9CDE-0A5E18100D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BDC0DA-6828-742F-2FE2-36CC4E0117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F03DCA-BF22-FF75-EA11-9E26F121080D}"/>
              </a:ext>
            </a:extLst>
          </p:cNvPr>
          <p:cNvSpPr>
            <a:spLocks noGrp="1"/>
          </p:cNvSpPr>
          <p:nvPr>
            <p:ph type="body" idx="1"/>
          </p:nvPr>
        </p:nvSpPr>
        <p:spPr/>
        <p:txBody>
          <a:bodyPr/>
          <a:lstStyle/>
          <a:p>
            <a:r>
              <a:rPr lang="es-ES" sz="882" b="0" kern="1200" dirty="0">
                <a:solidFill>
                  <a:schemeClr val="tx1"/>
                </a:solidFill>
                <a:effectLst/>
                <a:latin typeface="Segoe Sans Display" pitchFamily="2" charset="0"/>
                <a:ea typeface="+mn-ea"/>
                <a:cs typeface="+mn-cs"/>
              </a:rPr>
              <a:t>Un agente puede ser muy simple… o puede acabar siendo un pequeño sistema distribuido con más piezas que un mueble de Ikea. Y ahí empieza lo interesante.</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En el nivel más básico tienes agentes de recuperación. Su trabajo es bastante claro: consultan fuentes, cruzan información y te devuelven una respuesta más o menos aterrizada. Técnicamente, están tirando de </a:t>
            </a:r>
            <a:r>
              <a:rPr lang="es-ES" sz="882" b="0" kern="1200" dirty="0" err="1">
                <a:solidFill>
                  <a:schemeClr val="tx1"/>
                </a:solidFill>
                <a:effectLst/>
                <a:latin typeface="Segoe Sans Display" pitchFamily="2" charset="0"/>
                <a:ea typeface="+mn-ea"/>
                <a:cs typeface="+mn-cs"/>
              </a:rPr>
              <a:t>grounding</a:t>
            </a:r>
            <a:r>
              <a:rPr lang="es-ES" sz="882" b="0" kern="1200" dirty="0">
                <a:solidFill>
                  <a:schemeClr val="tx1"/>
                </a:solidFill>
                <a:effectLst/>
                <a:latin typeface="Segoe Sans Display" pitchFamily="2" charset="0"/>
                <a:ea typeface="+mn-ea"/>
                <a:cs typeface="+mn-cs"/>
              </a:rPr>
              <a:t> sobre tus datos: Graph, </a:t>
            </a:r>
            <a:r>
              <a:rPr lang="es-ES" sz="882" b="0" kern="1200" dirty="0" err="1">
                <a:solidFill>
                  <a:schemeClr val="tx1"/>
                </a:solidFill>
                <a:effectLst/>
                <a:latin typeface="Segoe Sans Display" pitchFamily="2" charset="0"/>
                <a:ea typeface="+mn-ea"/>
                <a:cs typeface="+mn-cs"/>
              </a:rPr>
              <a:t>Dataverse</a:t>
            </a:r>
            <a:r>
              <a:rPr lang="es-ES" sz="882" b="0" kern="1200" dirty="0">
                <a:solidFill>
                  <a:schemeClr val="tx1"/>
                </a:solidFill>
                <a:effectLst/>
                <a:latin typeface="Segoe Sans Display" pitchFamily="2" charset="0"/>
                <a:ea typeface="+mn-ea"/>
                <a:cs typeface="+mn-cs"/>
              </a:rPr>
              <a:t>, lo que tengas conectado. Son útiles, sí… pero aquí todavía estás en modo “yo pregunto, tú respondes”.</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Luego subes un escalón y entras en agentes de tarea. Aquí ya hay chicha. Ya no es solo inferencia, aquí hay ejecución. El agente no solo entiende lo que le pides, sino que puede invocar acciones: lanzar un flujo, escribir en un sistema, preparar un output estructurado, mover datos… Aquí ya no estás pidiendo ayuda, estás delegando trabajo. Y claro, aquí ya empiezan los problemas interesantes: permisos, errores, sistemas que no responden… lo que viene siendo la bienvenida oficial al mundo real.</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Y luego tienes el nivel que todo el mundo quiere enseñar en la demo del minuto 3: agentes más autónomos u orquestadores. Aquí el agente no ejecuta una cosa, coordina varias. Encadena pasos, toma decisiones intermedias, gestiona estados… básicamente intenta comportarse como un </a:t>
            </a:r>
            <a:r>
              <a:rPr lang="es-ES" sz="882" b="0" kern="1200" dirty="0" err="1">
                <a:solidFill>
                  <a:schemeClr val="tx1"/>
                </a:solidFill>
                <a:effectLst/>
                <a:latin typeface="Segoe Sans Display" pitchFamily="2" charset="0"/>
                <a:ea typeface="+mn-ea"/>
                <a:cs typeface="+mn-cs"/>
              </a:rPr>
              <a:t>mini‑proceso</a:t>
            </a:r>
            <a:r>
              <a:rPr lang="es-ES" sz="882" b="0" kern="1200" dirty="0">
                <a:solidFill>
                  <a:schemeClr val="tx1"/>
                </a:solidFill>
                <a:effectLst/>
                <a:latin typeface="Segoe Sans Display" pitchFamily="2" charset="0"/>
                <a:ea typeface="+mn-ea"/>
                <a:cs typeface="+mn-cs"/>
              </a:rPr>
              <a:t> dentro del proceso grande. Suena espectacular. Y lo es… cuando funciona.</a:t>
            </a:r>
            <a:endParaRPr lang="en-US" sz="882" b="1" kern="1200" dirty="0">
              <a:solidFill>
                <a:schemeClr val="tx1"/>
              </a:solidFill>
              <a:effectLst/>
              <a:latin typeface="Segoe Sans Display" pitchFamily="2" charset="0"/>
              <a:ea typeface="+mn-ea"/>
              <a:cs typeface="+mn-cs"/>
            </a:endParaRPr>
          </a:p>
          <a:p>
            <a:r>
              <a:rPr lang="es-ES" sz="882" kern="1200" dirty="0">
                <a:solidFill>
                  <a:schemeClr val="tx1"/>
                </a:solidFill>
                <a:effectLst/>
                <a:latin typeface="Segoe Sans Display" pitchFamily="2" charset="0"/>
                <a:ea typeface="+mn-ea"/>
                <a:cs typeface="+mn-cs"/>
              </a:rPr>
              <a:t>Ahora, parte importante que conviene no esconder debajo de la mesa: Cuanto más subes en ese </a:t>
            </a:r>
            <a:r>
              <a:rPr lang="es-ES" sz="882" kern="1200" dirty="0" err="1">
                <a:solidFill>
                  <a:schemeClr val="tx1"/>
                </a:solidFill>
                <a:effectLst/>
                <a:latin typeface="Segoe Sans Display" pitchFamily="2" charset="0"/>
                <a:ea typeface="+mn-ea"/>
                <a:cs typeface="+mn-cs"/>
              </a:rPr>
              <a:t>stack</a:t>
            </a:r>
            <a:r>
              <a:rPr lang="es-ES" sz="882" kern="1200" dirty="0">
                <a:solidFill>
                  <a:schemeClr val="tx1"/>
                </a:solidFill>
                <a:effectLst/>
                <a:latin typeface="Segoe Sans Display" pitchFamily="2" charset="0"/>
                <a:ea typeface="+mn-ea"/>
                <a:cs typeface="+mn-cs"/>
              </a:rPr>
              <a:t> —recuperación, tarea, orquestación— más superficie de fallo tienes. Más dependencias, más puntos donde algo puede no cuadrar, más cosas que pueden romperse sin avisar. Por eso, si la teoría te invita a irte arriba… la práctica aquí te dice: relájate. Empieza por algo de recuperación bien montado. Pasa a tarea cuando controles lo anterior. Y cuando ya tengas eso estable… entonces te planteas orquestar. Porque esto no va de montar el agente más sofisticado en una </a:t>
            </a:r>
            <a:r>
              <a:rPr lang="es-ES" sz="882" kern="1200" dirty="0" err="1">
                <a:solidFill>
                  <a:schemeClr val="tx1"/>
                </a:solidFill>
                <a:effectLst/>
                <a:latin typeface="Segoe Sans Display" pitchFamily="2" charset="0"/>
                <a:ea typeface="+mn-ea"/>
                <a:cs typeface="+mn-cs"/>
              </a:rPr>
              <a:t>slide</a:t>
            </a:r>
            <a:r>
              <a:rPr lang="es-ES" sz="882" kern="1200" dirty="0">
                <a:solidFill>
                  <a:schemeClr val="tx1"/>
                </a:solidFill>
                <a:effectLst/>
                <a:latin typeface="Segoe Sans Display" pitchFamily="2" charset="0"/>
                <a:ea typeface="+mn-ea"/>
                <a:cs typeface="+mn-cs"/>
              </a:rPr>
              <a:t>. Va de que algo funcione el lunes… y siga funcionando el jueves sin que tengas que rezar antes de usarlo. Y eso, casi siempre, empieza por lo pequeño… aunque no sea lo más vistoso.</a:t>
            </a:r>
            <a:endParaRPr lang="en-US" dirty="0"/>
          </a:p>
        </p:txBody>
      </p:sp>
      <p:sp>
        <p:nvSpPr>
          <p:cNvPr id="4" name="Header Placeholder 3">
            <a:extLst>
              <a:ext uri="{FF2B5EF4-FFF2-40B4-BE49-F238E27FC236}">
                <a16:creationId xmlns:a16="http://schemas.microsoft.com/office/drawing/2014/main" id="{ED85A90E-B848-6463-C2F0-5FB855F544B4}"/>
              </a:ext>
            </a:extLst>
          </p:cNvPr>
          <p:cNvSpPr>
            <a:spLocks noGrp="1"/>
          </p:cNvSpPr>
          <p:nvPr>
            <p:ph type="hdr" sz="quarter"/>
          </p:nvPr>
        </p:nvSpPr>
        <p:spPr/>
        <p:txBody>
          <a:bodyPr/>
          <a:lstStyle/>
          <a:p>
            <a:pPr defTabSz="942255">
              <a:defRPr/>
            </a:pPr>
            <a:endParaRPr lang="en-US">
              <a:solidFill>
                <a:prstClr val="black"/>
              </a:solidFill>
              <a:latin typeface="Segoe UI" pitchFamily="34" charset="0"/>
            </a:endParaRPr>
          </a:p>
        </p:txBody>
      </p:sp>
      <p:sp>
        <p:nvSpPr>
          <p:cNvPr id="5" name="Footer Placeholder 4">
            <a:extLst>
              <a:ext uri="{FF2B5EF4-FFF2-40B4-BE49-F238E27FC236}">
                <a16:creationId xmlns:a16="http://schemas.microsoft.com/office/drawing/2014/main" id="{0D74575C-4DBF-8E84-3D76-D804FE87B340}"/>
              </a:ext>
            </a:extLst>
          </p:cNvPr>
          <p:cNvSpPr>
            <a:spLocks noGrp="1"/>
          </p:cNvSpPr>
          <p:nvPr>
            <p:ph type="ftr" sz="quarter" idx="4"/>
          </p:nvPr>
        </p:nvSpPr>
        <p:spPr/>
        <p:txBody>
          <a:bodyPr/>
          <a:lstStyle/>
          <a:p>
            <a:pPr defTabSz="941979" eaLnBrk="0" hangingPunct="0">
              <a:defRPr/>
            </a:pPr>
            <a:r>
              <a:rPr lang="es-e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a:extLst>
              <a:ext uri="{FF2B5EF4-FFF2-40B4-BE49-F238E27FC236}">
                <a16:creationId xmlns:a16="http://schemas.microsoft.com/office/drawing/2014/main" id="{76A1849A-4C5E-33C4-42E2-755210F02947}"/>
              </a:ext>
            </a:extLst>
          </p:cNvPr>
          <p:cNvSpPr>
            <a:spLocks noGrp="1"/>
          </p:cNvSpPr>
          <p:nvPr>
            <p:ph type="dt" idx="1"/>
          </p:nvPr>
        </p:nvSpPr>
        <p:spPr/>
        <p:txBody>
          <a:bodyPr/>
          <a:lstStyle/>
          <a:p>
            <a:pPr defTabSz="942255">
              <a:defRPr/>
            </a:pPr>
            <a:fld id="{386CE63F-9E7F-4C04-9D0D-FCA25A8E9E86}" type="datetime8">
              <a:rPr lang="en-US">
                <a:solidFill>
                  <a:prstClr val="black"/>
                </a:solidFill>
                <a:latin typeface="Segoe UI" pitchFamily="34" charset="0"/>
              </a:rPr>
              <a:pPr defTabSz="942255">
                <a:defRPr/>
              </a:pPr>
              <a:t>7/7/2026 9:28 AM</a:t>
            </a:fld>
            <a:endParaRPr lang="en-US">
              <a:solidFill>
                <a:prstClr val="black"/>
              </a:solidFill>
              <a:latin typeface="Segoe UI" pitchFamily="34" charset="0"/>
            </a:endParaRPr>
          </a:p>
        </p:txBody>
      </p:sp>
      <p:sp>
        <p:nvSpPr>
          <p:cNvPr id="7" name="Slide Number Placeholder 6">
            <a:extLst>
              <a:ext uri="{FF2B5EF4-FFF2-40B4-BE49-F238E27FC236}">
                <a16:creationId xmlns:a16="http://schemas.microsoft.com/office/drawing/2014/main" id="{04C0B1FC-EE8C-946D-E912-69C320A24A10}"/>
              </a:ext>
            </a:extLst>
          </p:cNvPr>
          <p:cNvSpPr>
            <a:spLocks noGrp="1"/>
          </p:cNvSpPr>
          <p:nvPr>
            <p:ph type="sldNum" sz="quarter" idx="5"/>
          </p:nvPr>
        </p:nvSpPr>
        <p:spPr/>
        <p:txBody>
          <a:bodyPr/>
          <a:lstStyle/>
          <a:p>
            <a:pPr defTabSz="942255">
              <a:defRPr/>
            </a:pPr>
            <a:fld id="{B4008EB6-D09E-4580-8CD6-DDB14511944F}" type="slidenum">
              <a:rPr lang="en-US">
                <a:solidFill>
                  <a:prstClr val="black"/>
                </a:solidFill>
                <a:latin typeface="Segoe UI" pitchFamily="34" charset="0"/>
              </a:rPr>
              <a:pPr defTabSz="942255">
                <a:defRPr/>
              </a:pPr>
              <a:t>10</a:t>
            </a:fld>
            <a:endParaRPr lang="en-US">
              <a:solidFill>
                <a:prstClr val="black"/>
              </a:solidFill>
              <a:latin typeface="Segoe UI" pitchFamily="34" charset="0"/>
            </a:endParaRPr>
          </a:p>
        </p:txBody>
      </p:sp>
    </p:spTree>
    <p:extLst>
      <p:ext uri="{BB962C8B-B14F-4D97-AF65-F5344CB8AC3E}">
        <p14:creationId xmlns:p14="http://schemas.microsoft.com/office/powerpoint/2010/main" val="36218592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ACA4C-AC1C-8944-5775-92F987FC99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7F354B-C8B6-E5C5-518E-1E4E5C4519E4}"/>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F175D39-64F5-50A5-6A48-337543E69EA3}"/>
              </a:ext>
            </a:extLst>
          </p:cNvPr>
          <p:cNvSpPr>
            <a:spLocks noGrp="1"/>
          </p:cNvSpPr>
          <p:nvPr>
            <p:ph type="body" idx="1"/>
          </p:nvPr>
        </p:nvSpPr>
        <p:spPr/>
        <p:txBody>
          <a:bodyPr/>
          <a:lstStyle/>
          <a:p>
            <a:r>
              <a:rPr lang="es-ES" sz="882" b="0" kern="1200" dirty="0">
                <a:solidFill>
                  <a:schemeClr val="tx1"/>
                </a:solidFill>
                <a:effectLst/>
                <a:latin typeface="Segoe Sans Display" pitchFamily="2" charset="0"/>
                <a:ea typeface="+mn-ea"/>
                <a:cs typeface="+mn-cs"/>
              </a:rPr>
              <a:t>Fijaos en los ejemplos: soporte IT, renovación de dispositivos, seguimiento de proyectos… No impresionan. Y eso es exactamente lo bueno. Porque todos estos casos tienen algo en común desde el punto de vista técnico: son procesos con baja variabilidad y bastante deterministas. ¿Qué significa eso en la práctica? Que tienes:</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inputs bastante claros (una solicitud, un ticket, un proyecto)</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fuentes bien definidas (ITSM, SharePoint, </a:t>
            </a:r>
            <a:r>
              <a:rPr lang="es-ES" sz="882" b="0" kern="1200" dirty="0" err="1">
                <a:solidFill>
                  <a:schemeClr val="tx1"/>
                </a:solidFill>
                <a:effectLst/>
                <a:latin typeface="Segoe Sans Display" pitchFamily="2" charset="0"/>
                <a:ea typeface="+mn-ea"/>
                <a:cs typeface="+mn-cs"/>
              </a:rPr>
              <a:t>Planner</a:t>
            </a:r>
            <a:r>
              <a:rPr lang="es-ES" sz="882" b="0" kern="1200" dirty="0">
                <a:solidFill>
                  <a:schemeClr val="tx1"/>
                </a:solidFill>
                <a:effectLst/>
                <a:latin typeface="Segoe Sans Display" pitchFamily="2" charset="0"/>
                <a:ea typeface="+mn-ea"/>
                <a:cs typeface="+mn-cs"/>
              </a:rPr>
              <a:t>, lo que toque)</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y una secuencia de pasos relativamente estable</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Y eso, para un agente, es oro. En estos escenarios puedes controlar bastante bien tres cosas clave:</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Primero, el </a:t>
            </a:r>
            <a:r>
              <a:rPr lang="es-ES" sz="882" b="0" kern="1200" dirty="0" err="1">
                <a:solidFill>
                  <a:schemeClr val="tx1"/>
                </a:solidFill>
                <a:effectLst/>
                <a:latin typeface="Segoe Sans Display" pitchFamily="2" charset="0"/>
                <a:ea typeface="+mn-ea"/>
                <a:cs typeface="+mn-cs"/>
              </a:rPr>
              <a:t>grounding</a:t>
            </a:r>
            <a:r>
              <a:rPr lang="es-ES" sz="882" b="0" kern="1200" dirty="0">
                <a:solidFill>
                  <a:schemeClr val="tx1"/>
                </a:solidFill>
                <a:effectLst/>
                <a:latin typeface="Segoe Sans Display" pitchFamily="2" charset="0"/>
                <a:ea typeface="+mn-ea"/>
                <a:cs typeface="+mn-cs"/>
              </a:rPr>
              <a:t>. Sabes de dónde tiene que tirar el contexto. No está navegando a ciegas, está limitado a fuentes concretas. Eso reduce bastante las respuestas raras o fuera de sitio.</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Segundo, las acciones. No estás dando barra libre. Estás diciendo: puedes hacer esto, esto y esto. Llamar a este sistema, lanzar este flujo, actualizar este dato… Todo bastante acotado.</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Y tercero, el flujo de decisión. No hay cien caminos posibles. Hay unos cuantos, bastante repetitivos. Y eso permite que el modelo generalice sin inventarse la película.</a:t>
            </a:r>
            <a:br>
              <a:rPr lang="es-ES" sz="882" b="0" kern="1200" dirty="0">
                <a:solidFill>
                  <a:schemeClr val="tx1"/>
                </a:solidFill>
                <a:effectLst/>
                <a:latin typeface="Segoe Sans Display" pitchFamily="2" charset="0"/>
                <a:ea typeface="+mn-ea"/>
                <a:cs typeface="+mn-cs"/>
              </a:rPr>
            </a:b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Ahora mira el otro extremo. Cuando alguien intenta montar algo tipo: “un agente que gestione todo el ciclo de vida de cliente, adaptándose a cualquier situación” … Ahí ya no tienes: ni inputs claros, ni fuentes cerradas, ni flujos controlados.</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Tienes ambigüedad por todos lados. Y el modelo, cuando no tiene límites claros… rellena huecos. A veces bien. A veces no tanto. Y eso, en entornos reales, es peligroso. Por eso estos casos “poco sexy” funcionan mejor. No porque sean más simples por capricho, sino porque: reducen el espacio de decisión del modelo, limitan la superficie donde puede fallar y hacen que el comportamiento sea mucho más predecible. </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Que es justo lo que necesitas cuando metes esto en producción. Aquí el aprendizaje práctico es bastante directo: Si puedes describir el proceso con claridad y las fuentes están bien definidas, tienes muchas probabilidades de que el agente funcione bien. Si necesitas explicar el proceso con tres reuniones, dos pizarras y alguien diciendo “depende”… el agente va a sufrir. Y tú detrás. Y eso es lo que marca la diferencia entre algo que la gente usa todos los días… y algo que se queda en demo eterna</a:t>
            </a:r>
            <a:endParaRPr lang="en-US" sz="882" b="1" kern="1200" dirty="0">
              <a:solidFill>
                <a:schemeClr val="tx1"/>
              </a:solidFill>
              <a:effectLst/>
              <a:latin typeface="Segoe Sans Display" pitchFamily="2" charset="0"/>
              <a:ea typeface="+mn-ea"/>
              <a:cs typeface="+mn-cs"/>
            </a:endParaRPr>
          </a:p>
          <a:p>
            <a:endParaRPr lang="en-US" dirty="0"/>
          </a:p>
        </p:txBody>
      </p:sp>
      <p:sp>
        <p:nvSpPr>
          <p:cNvPr id="4" name="Slide Number Placeholder 3">
            <a:extLst>
              <a:ext uri="{FF2B5EF4-FFF2-40B4-BE49-F238E27FC236}">
                <a16:creationId xmlns:a16="http://schemas.microsoft.com/office/drawing/2014/main" id="{8DD89E19-453C-2A72-D027-AF449274DF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A89867-10D3-408F-B5D4-6ED1302B31D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43928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43222-70F9-5EB7-670D-E40D5D0F6A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C53000-99C8-2B73-49AE-42A340A36A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15E01E-AF18-EB42-2AD0-D3AC3FC01A92}"/>
              </a:ext>
            </a:extLst>
          </p:cNvPr>
          <p:cNvSpPr>
            <a:spLocks noGrp="1"/>
          </p:cNvSpPr>
          <p:nvPr>
            <p:ph type="body" idx="1"/>
          </p:nvPr>
        </p:nvSpPr>
        <p:spPr/>
        <p:txBody>
          <a:bodyPr/>
          <a:lstStyle/>
          <a:p>
            <a:r>
              <a:rPr lang="es-ES" sz="882" b="0" kern="1200" dirty="0">
                <a:solidFill>
                  <a:schemeClr val="tx1"/>
                </a:solidFill>
                <a:effectLst/>
                <a:latin typeface="Segoe Sans Display" pitchFamily="2" charset="0"/>
                <a:ea typeface="+mn-ea"/>
                <a:cs typeface="+mn-cs"/>
              </a:rPr>
              <a:t>Un agente no tiene magia. Tiene arquitectura. Y además, bastante definida. Por debajo, todo esto se sostiene en cuatro piezas: instrucciones, desencadenadores, acciones y conocimiento. Y no son cuatro cajas bonitas en una diapositiva: son lo que determina cómo se comporta el sistema en producción. Y aquí viene la parte que suele desmontar expectativas rápido: El comportamiento del agente es, en gran parte, emergente del diseño. No es que el modelo ‘decida bien o mal’, es que está respondiendo exactamente a los límites —o a la falta de ellos— que se le ha puesto.</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Vamos al detalle, que aquí está la graci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Las instrucciones son básicamente tu capa de control sobre el modelo. Estamos hablando de </a:t>
            </a:r>
            <a:r>
              <a:rPr lang="es-ES" sz="882" b="0" kern="1200" dirty="0" err="1">
                <a:solidFill>
                  <a:schemeClr val="tx1"/>
                </a:solidFill>
                <a:effectLst/>
                <a:latin typeface="Segoe Sans Display" pitchFamily="2" charset="0"/>
                <a:ea typeface="+mn-ea"/>
                <a:cs typeface="+mn-cs"/>
              </a:rPr>
              <a:t>prompt</a:t>
            </a:r>
            <a:r>
              <a:rPr lang="es-ES" sz="882" b="0" kern="1200" dirty="0">
                <a:solidFill>
                  <a:schemeClr val="tx1"/>
                </a:solidFill>
                <a:effectLst/>
                <a:latin typeface="Segoe Sans Display" pitchFamily="2" charset="0"/>
                <a:ea typeface="+mn-ea"/>
                <a:cs typeface="+mn-cs"/>
              </a:rPr>
              <a:t> de sistema, restricciones, formato de respuesta, reglas de decisión… todo lo que le dice al modelo cómo tiene que comportarse cuando el mundo no es perfecto. Si esto es ambiguo, el modelo rellena huecos. Y todos sabemos cómo de creativo puede ser en ese escenario.</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l conocimiento es el </a:t>
            </a:r>
            <a:r>
              <a:rPr lang="es-ES" sz="882" b="0" kern="1200" dirty="0" err="1">
                <a:solidFill>
                  <a:schemeClr val="tx1"/>
                </a:solidFill>
                <a:effectLst/>
                <a:latin typeface="Segoe Sans Display" pitchFamily="2" charset="0"/>
                <a:ea typeface="+mn-ea"/>
                <a:cs typeface="+mn-cs"/>
              </a:rPr>
              <a:t>grounding</a:t>
            </a:r>
            <a:r>
              <a:rPr lang="es-ES" sz="882" b="0" kern="1200" dirty="0">
                <a:solidFill>
                  <a:schemeClr val="tx1"/>
                </a:solidFill>
                <a:effectLst/>
                <a:latin typeface="Segoe Sans Display" pitchFamily="2" charset="0"/>
                <a:ea typeface="+mn-ea"/>
                <a:cs typeface="+mn-cs"/>
              </a:rPr>
              <a:t>. Aquí defines contra qué fuentes se ancla la respuesta: Graph, </a:t>
            </a:r>
            <a:r>
              <a:rPr lang="es-ES" sz="882" b="0" kern="1200" dirty="0" err="1">
                <a:solidFill>
                  <a:schemeClr val="tx1"/>
                </a:solidFill>
                <a:effectLst/>
                <a:latin typeface="Segoe Sans Display" pitchFamily="2" charset="0"/>
                <a:ea typeface="+mn-ea"/>
                <a:cs typeface="+mn-cs"/>
              </a:rPr>
              <a:t>Dataverse</a:t>
            </a:r>
            <a:r>
              <a:rPr lang="es-ES" sz="882" b="0" kern="1200" dirty="0">
                <a:solidFill>
                  <a:schemeClr val="tx1"/>
                </a:solidFill>
                <a:effectLst/>
                <a:latin typeface="Segoe Sans Display" pitchFamily="2" charset="0"/>
                <a:ea typeface="+mn-ea"/>
                <a:cs typeface="+mn-cs"/>
              </a:rPr>
              <a:t>, documentos, </a:t>
            </a:r>
            <a:r>
              <a:rPr lang="es-ES" sz="882" b="0" kern="1200" dirty="0" err="1">
                <a:solidFill>
                  <a:schemeClr val="tx1"/>
                </a:solidFill>
                <a:effectLst/>
                <a:latin typeface="Segoe Sans Display" pitchFamily="2" charset="0"/>
                <a:ea typeface="+mn-ea"/>
                <a:cs typeface="+mn-cs"/>
              </a:rPr>
              <a:t>APIs</a:t>
            </a:r>
            <a:r>
              <a:rPr lang="es-ES" sz="882" b="0" kern="1200" dirty="0">
                <a:solidFill>
                  <a:schemeClr val="tx1"/>
                </a:solidFill>
                <a:effectLst/>
                <a:latin typeface="Segoe Sans Display" pitchFamily="2" charset="0"/>
                <a:ea typeface="+mn-ea"/>
                <a:cs typeface="+mn-cs"/>
              </a:rPr>
              <a:t>… Si el </a:t>
            </a:r>
            <a:r>
              <a:rPr lang="es-ES" sz="882" b="0" kern="1200" dirty="0" err="1">
                <a:solidFill>
                  <a:schemeClr val="tx1"/>
                </a:solidFill>
                <a:effectLst/>
                <a:latin typeface="Segoe Sans Display" pitchFamily="2" charset="0"/>
                <a:ea typeface="+mn-ea"/>
                <a:cs typeface="+mn-cs"/>
              </a:rPr>
              <a:t>grounding</a:t>
            </a:r>
            <a:r>
              <a:rPr lang="es-ES" sz="882" b="0" kern="1200" dirty="0">
                <a:solidFill>
                  <a:schemeClr val="tx1"/>
                </a:solidFill>
                <a:effectLst/>
                <a:latin typeface="Segoe Sans Display" pitchFamily="2" charset="0"/>
                <a:ea typeface="+mn-ea"/>
                <a:cs typeface="+mn-cs"/>
              </a:rPr>
              <a:t> es débil o inconsistente, el modelo empieza a mezclar contexto útil con invención. No porque “quiera”, sino porque tiene que cerrar la respuesta de alguna maner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Las acciones son directamente integración. Cada acción es una llamada a algo externo: un flujo, un conector, un sistema. Y aquí ya no estás en el mundo del lenguaje, estás en el mundo de los sistemas distribuidos: latencias, errores, formatos, permisos… todo lo divertido. Cada acción que añades multiplica las posibilidades de que algo falle en tiempo de ejecución. </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Y los desencadenadores definen el contexto de entrada. Cuándo se activa el agente, con qué tipo de solicitud, con qué estado previo. Si esto no está bien delimitado, el agente entra en situaciones para las que no está diseñado… y empieza a hacer cosas raras en momentos inoportunos, que es justo lo que nadie quiere.</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Y cuando juntas todo esto, pasa algo bastante interesante:</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l agente no es una IA “list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s un sistema donde un LLM está orquestado dentro de unas reglas, unos datos y unas integraciones concretas.</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Por eso ves cosas como:</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agentes aparentemente simples funcionando perfecto y agentes muy complejos comportándose como si hubieran tomado 100 cafés de más. Aquí no gana el modelo más potente. Gana el diseño más sólido.</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Y esto tiene una consecuencia bastante práctic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Antes de añadir más </a:t>
            </a:r>
            <a:r>
              <a:rPr lang="es-ES" sz="882" b="0" kern="1200" dirty="0" err="1">
                <a:solidFill>
                  <a:schemeClr val="tx1"/>
                </a:solidFill>
                <a:effectLst/>
                <a:latin typeface="Segoe Sans Display" pitchFamily="2" charset="0"/>
                <a:ea typeface="+mn-ea"/>
                <a:cs typeface="+mn-cs"/>
              </a:rPr>
              <a:t>skills</a:t>
            </a:r>
            <a:r>
              <a:rPr lang="es-ES" sz="882" b="0" kern="1200" dirty="0">
                <a:solidFill>
                  <a:schemeClr val="tx1"/>
                </a:solidFill>
                <a:effectLst/>
                <a:latin typeface="Segoe Sans Display" pitchFamily="2" charset="0"/>
                <a:ea typeface="+mn-ea"/>
                <a:cs typeface="+mn-cs"/>
              </a:rPr>
              <a:t>, más conectores o más automatización… lo crítico es cerrar bien estas cuatro piezas, porque cualquier inconsistencia aquí se amplifica en cuanto el agente entra en un flujo real. Y eso es lo que separa un agente que aguanta en producción… de uno que queda muy bien en demo y luego nadie se atreve a tocar</a:t>
            </a:r>
            <a:endParaRPr lang="en-US" sz="882" b="1" kern="1200" dirty="0">
              <a:solidFill>
                <a:schemeClr val="tx1"/>
              </a:solidFill>
              <a:effectLst/>
              <a:latin typeface="Segoe Sans Display" pitchFamily="2" charset="0"/>
              <a:ea typeface="+mn-ea"/>
              <a:cs typeface="+mn-cs"/>
            </a:endParaRPr>
          </a:p>
          <a:p>
            <a:pPr>
              <a:spcAft>
                <a:spcPts val="361"/>
              </a:spcAft>
            </a:pPr>
            <a:endParaRPr lang="en-US" sz="850" dirty="0">
              <a:cs typeface="Segoe Sans Display"/>
            </a:endParaRPr>
          </a:p>
        </p:txBody>
      </p:sp>
      <p:sp>
        <p:nvSpPr>
          <p:cNvPr id="4" name="Header Placeholder 3">
            <a:extLst>
              <a:ext uri="{FF2B5EF4-FFF2-40B4-BE49-F238E27FC236}">
                <a16:creationId xmlns:a16="http://schemas.microsoft.com/office/drawing/2014/main" id="{CEED772D-9D19-0382-298B-3F9C376610F1}"/>
              </a:ext>
            </a:extLst>
          </p:cNvPr>
          <p:cNvSpPr>
            <a:spLocks noGrp="1"/>
          </p:cNvSpPr>
          <p:nvPr>
            <p:ph type="hdr" sz="quarter"/>
          </p:nvPr>
        </p:nvSpPr>
        <p:spPr/>
        <p:txBody>
          <a:bodyPr/>
          <a:lstStyle/>
          <a:p>
            <a:pPr marL="0" marR="0" lvl="0" indent="0" algn="l" defTabSz="99071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917A547-D8A2-BCC2-01D4-2EA0850C0556}"/>
              </a:ext>
            </a:extLst>
          </p:cNvPr>
          <p:cNvSpPr>
            <a:spLocks noGrp="1"/>
          </p:cNvSpPr>
          <p:nvPr>
            <p:ph type="ftr" sz="quarter" idx="4"/>
          </p:nvPr>
        </p:nvSpPr>
        <p:spPr/>
        <p:txBody>
          <a:bodyPr/>
          <a:lstStyle/>
          <a:p>
            <a:pPr marL="619220" marR="0" lvl="0" indent="0" algn="l" defTabSz="990426" rtl="0" eaLnBrk="0" fontAlgn="auto" latinLnBrk="0" hangingPunct="0">
              <a:lnSpc>
                <a:spcPct val="100000"/>
              </a:lnSpc>
              <a:spcBef>
                <a:spcPts val="0"/>
              </a:spcBef>
              <a:spcAft>
                <a:spcPts val="0"/>
              </a:spcAft>
              <a:buClrTx/>
              <a:buSzTx/>
              <a:buFontTx/>
              <a:buNone/>
              <a:tabLst/>
              <a:defRPr/>
            </a:pPr>
            <a:r>
              <a:rPr kumimoji="0" lang="es-e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a:extLst>
              <a:ext uri="{FF2B5EF4-FFF2-40B4-BE49-F238E27FC236}">
                <a16:creationId xmlns:a16="http://schemas.microsoft.com/office/drawing/2014/main" id="{70D78B76-A091-9809-6A58-7DDED9B10E0D}"/>
              </a:ext>
            </a:extLst>
          </p:cNvPr>
          <p:cNvSpPr>
            <a:spLocks noGrp="1"/>
          </p:cNvSpPr>
          <p:nvPr>
            <p:ph type="dt" idx="1"/>
          </p:nvPr>
        </p:nvSpPr>
        <p:spPr/>
        <p:txBody>
          <a:bodyPr/>
          <a:lstStyle/>
          <a:p>
            <a:pPr marL="0" marR="0" lvl="0" indent="0" algn="r" defTabSz="990717" rtl="0" eaLnBrk="1" fontAlgn="auto" latinLnBrk="0" hangingPunct="1">
              <a:lnSpc>
                <a:spcPct val="100000"/>
              </a:lnSpc>
              <a:spcBef>
                <a:spcPts val="0"/>
              </a:spcBef>
              <a:spcAft>
                <a:spcPts val="0"/>
              </a:spcAft>
              <a:buClrTx/>
              <a:buSzTx/>
              <a:buFontTx/>
              <a:buNone/>
              <a:tabLst/>
              <a:defRPr/>
            </a:pPr>
            <a:fld id="{2E0231D8-9D10-4A56-A725-A587A7DED06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90717" rtl="0" eaLnBrk="1" fontAlgn="auto" latinLnBrk="0" hangingPunct="1">
                <a:lnSpc>
                  <a:spcPct val="100000"/>
                </a:lnSpc>
                <a:spcBef>
                  <a:spcPts val="0"/>
                </a:spcBef>
                <a:spcAft>
                  <a:spcPts val="0"/>
                </a:spcAft>
                <a:buClrTx/>
                <a:buSzTx/>
                <a:buFontTx/>
                <a:buNone/>
                <a:tabLst/>
                <a:defRPr/>
              </a:pPr>
              <a:t>7/7/2026 9:28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91563FC-E1DB-EF88-532F-F16D9233DC84}"/>
              </a:ext>
            </a:extLst>
          </p:cNvPr>
          <p:cNvSpPr>
            <a:spLocks noGrp="1"/>
          </p:cNvSpPr>
          <p:nvPr>
            <p:ph type="sldNum" sz="quarter" idx="5"/>
          </p:nvPr>
        </p:nvSpPr>
        <p:spPr/>
        <p:txBody>
          <a:bodyPr/>
          <a:lstStyle/>
          <a:p>
            <a:pPr marL="0" marR="0" lvl="0" indent="0" algn="r" defTabSz="99071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90717"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28049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121CF-AFD2-1281-D846-D07B34A86C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E22DFC-9B43-953C-C0A4-3CD09DB574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1189BD-F7DD-DEB1-A81C-6FE85F7F03F5}"/>
              </a:ext>
            </a:extLst>
          </p:cNvPr>
          <p:cNvSpPr>
            <a:spLocks noGrp="1"/>
          </p:cNvSpPr>
          <p:nvPr>
            <p:ph type="body" idx="1"/>
          </p:nvPr>
        </p:nvSpPr>
        <p:spPr/>
        <p:txBody>
          <a:bodyPr/>
          <a:lstStyle/>
          <a:p>
            <a:r>
              <a:rPr lang="es-ES" sz="882" b="0" kern="1200" dirty="0">
                <a:solidFill>
                  <a:schemeClr val="tx1"/>
                </a:solidFill>
                <a:effectLst/>
                <a:latin typeface="Segoe Sans Display" pitchFamily="2" charset="0"/>
                <a:ea typeface="+mn-ea"/>
                <a:cs typeface="+mn-cs"/>
              </a:rPr>
              <a:t>Esto tiene una lectura interesante… y otra bastante peligrosa si no se entiende bien lo que hay debajo. Sí, puedes crear agentes sin escribir código. Puedes definir comportamiento con lenguaje natural, conectar fuentes, añadir acciones… y tener algo funcionando relativamente rápido. Pero eso no significa que estés fuera del terreno técnico. Simplemente estás abstrayendo la complejidad, no eliminándola. Porque en cuanto ese agente deja de ser una prueba y entra en un flujo real, aparecen cosas que no tienen nada que ver con si sabes programar o no:</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stás gestionando contexto dinámico (qué datos usa y en qué estado están)</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stás definiendo lógica de ejecución implícita (aunque no escribas </a:t>
            </a:r>
            <a:r>
              <a:rPr lang="es-ES" sz="882" b="0" kern="1200" dirty="0" err="1">
                <a:solidFill>
                  <a:schemeClr val="tx1"/>
                </a:solidFill>
                <a:effectLst/>
                <a:latin typeface="Segoe Sans Display" pitchFamily="2" charset="0"/>
                <a:ea typeface="+mn-ea"/>
                <a:cs typeface="+mn-cs"/>
              </a:rPr>
              <a:t>if</a:t>
            </a:r>
            <a:r>
              <a:rPr lang="es-ES" sz="882" b="0" kern="1200" dirty="0">
                <a:solidFill>
                  <a:schemeClr val="tx1"/>
                </a:solidFill>
                <a:effectLst/>
                <a:latin typeface="Segoe Sans Display" pitchFamily="2" charset="0"/>
                <a:ea typeface="+mn-ea"/>
                <a:cs typeface="+mn-cs"/>
              </a:rPr>
              <a:t>/</a:t>
            </a:r>
            <a:r>
              <a:rPr lang="es-ES" sz="882" b="0" kern="1200" dirty="0" err="1">
                <a:solidFill>
                  <a:schemeClr val="tx1"/>
                </a:solidFill>
                <a:effectLst/>
                <a:latin typeface="Segoe Sans Display" pitchFamily="2" charset="0"/>
                <a:ea typeface="+mn-ea"/>
                <a:cs typeface="+mn-cs"/>
              </a:rPr>
              <a:t>else</a:t>
            </a:r>
            <a:r>
              <a:rPr lang="es-ES" sz="882" b="0" kern="1200" dirty="0">
                <a:solidFill>
                  <a:schemeClr val="tx1"/>
                </a:solidFill>
                <a:effectLst/>
                <a:latin typeface="Segoe Sans Display" pitchFamily="2" charset="0"/>
                <a:ea typeface="+mn-ea"/>
                <a:cs typeface="+mn-cs"/>
              </a:rPr>
              <a:t>)</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stás orquestando integraciones externas (</a:t>
            </a:r>
            <a:r>
              <a:rPr lang="es-ES" sz="882" b="0" kern="1200" dirty="0" err="1">
                <a:solidFill>
                  <a:schemeClr val="tx1"/>
                </a:solidFill>
                <a:effectLst/>
                <a:latin typeface="Segoe Sans Display" pitchFamily="2" charset="0"/>
                <a:ea typeface="+mn-ea"/>
                <a:cs typeface="+mn-cs"/>
              </a:rPr>
              <a:t>APIs</a:t>
            </a:r>
            <a:r>
              <a:rPr lang="es-ES" sz="882" b="0" kern="1200" dirty="0">
                <a:solidFill>
                  <a:schemeClr val="tx1"/>
                </a:solidFill>
                <a:effectLst/>
                <a:latin typeface="Segoe Sans Display" pitchFamily="2" charset="0"/>
                <a:ea typeface="+mn-ea"/>
                <a:cs typeface="+mn-cs"/>
              </a:rPr>
              <a:t>, conectores, flujos)</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y estás metiendo un modelo probabilístico en medio que no siempre responde igual ante la misma entrad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Y eso, nos pongamos como nos pongamos… es diseño de sistemas.</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Aquí es donde suele venir el choque:</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Perfiles de negocio montan agentes con buen objetivo… pero sin control sobre el contexto o las condiciones de ejecución. Resultado: el agente hace cosas inesperadas en los peores momentos.</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Perfiles técnicos construyen algo muy robusto… pero sin una comprensión global del contexto el resultado: técnicamente impecable y funcionalmente poco útil.</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Y luego están los casos donde alguien intenta hacerlo todo desde un lado… y se monta un Frankenstein que funciona en demo y entra en pánico en cuanto cambias una variable.</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Lo que termina aguantando en producción tiene siempre el mismo patrón: contexto bien definido, comportamiento acotado, integraciones controladas y un entendimiento claro de qué pasa cuando algo falla</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Eso no viene por usar un botón mágico. Viene de saber qué estás montando. Así que sí, puedes crear agentes sin ser desarrollador. Pero si el agente va a tocar datos reales, procesos reales y sistemas reales… alguien tiene que pensar como arquitecto, aunque no haya abierto nunca Visual Studio en su vida. Porque el problema no es crear el agente. El problema es todo lo que ocurre después… cuando alguien decide usarlo en serio.</a:t>
            </a:r>
            <a:endParaRPr lang="en-US" sz="882" b="1" kern="1200" dirty="0">
              <a:solidFill>
                <a:schemeClr val="tx1"/>
              </a:solidFill>
              <a:effectLst/>
              <a:latin typeface="Segoe Sans Display" pitchFamily="2" charset="0"/>
              <a:ea typeface="+mn-ea"/>
              <a:cs typeface="+mn-cs"/>
            </a:endParaRPr>
          </a:p>
          <a:p>
            <a:endParaRPr lang="en-US" dirty="0"/>
          </a:p>
        </p:txBody>
      </p:sp>
      <p:sp>
        <p:nvSpPr>
          <p:cNvPr id="4" name="Slide Number Placeholder 3">
            <a:extLst>
              <a:ext uri="{FF2B5EF4-FFF2-40B4-BE49-F238E27FC236}">
                <a16:creationId xmlns:a16="http://schemas.microsoft.com/office/drawing/2014/main" id="{FD33F76E-AC4D-C908-9206-FD03902B49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330983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A3E915-7ED3-45B4-293B-44F1AFE9E4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035EF2-7E76-71D9-F21E-7BDEDE6E67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240970-042A-4DA8-3177-B1A4DAD4D698}"/>
              </a:ext>
            </a:extLst>
          </p:cNvPr>
          <p:cNvSpPr>
            <a:spLocks noGrp="1"/>
          </p:cNvSpPr>
          <p:nvPr>
            <p:ph type="body" idx="1"/>
          </p:nvPr>
        </p:nvSpPr>
        <p:spPr/>
        <p:txBody>
          <a:bodyPr/>
          <a:lstStyle/>
          <a:p>
            <a:r>
              <a:rPr lang="es-ES" sz="882" b="0" kern="1200" dirty="0">
                <a:solidFill>
                  <a:schemeClr val="tx1"/>
                </a:solidFill>
                <a:effectLst/>
                <a:latin typeface="Segoe Sans Display" pitchFamily="2" charset="0"/>
                <a:ea typeface="+mn-ea"/>
                <a:cs typeface="+mn-cs"/>
              </a:rPr>
              <a:t>Aquí tienes tres formas de trabajar con agentes… y en realidad lo que estás eligiendo no es una herramienta, es el nivel de control que quieres sobre el sistema. La primera es usar algo que ya viene montado. Ahí el trabajo técnico no desaparece, simplemente está resuelto de antemano. Ya tienes el </a:t>
            </a:r>
            <a:r>
              <a:rPr lang="es-ES" sz="882" b="0" kern="1200" dirty="0" err="1">
                <a:solidFill>
                  <a:schemeClr val="tx1"/>
                </a:solidFill>
                <a:effectLst/>
                <a:latin typeface="Segoe Sans Display" pitchFamily="2" charset="0"/>
                <a:ea typeface="+mn-ea"/>
                <a:cs typeface="+mn-cs"/>
              </a:rPr>
              <a:t>grounding</a:t>
            </a:r>
            <a:r>
              <a:rPr lang="es-ES" sz="882" b="0" kern="1200" dirty="0">
                <a:solidFill>
                  <a:schemeClr val="tx1"/>
                </a:solidFill>
                <a:effectLst/>
                <a:latin typeface="Segoe Sans Display" pitchFamily="2" charset="0"/>
                <a:ea typeface="+mn-ea"/>
                <a:cs typeface="+mn-cs"/>
              </a:rPr>
              <a:t> definido, el comportamiento acotado, las acciones controladas… y alguien ya se ha pegado con los casos raros por ti. Tú no diseñas nada. Tú lo integras en tu flujo de trabajo. Si falla, sabes que el problema no es que hayas hecho algo mal… y eso, cuando empiezas, te quita bastante ruido mental.</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Luego tienes el punto intermedio: ajustar algo que ya existe. Y aquí es donde empieza la diversión de verdad, porque entras en el terreno del </a:t>
            </a:r>
            <a:r>
              <a:rPr lang="es-ES" sz="882" b="0" kern="1200" dirty="0" err="1">
                <a:solidFill>
                  <a:schemeClr val="tx1"/>
                </a:solidFill>
                <a:effectLst/>
                <a:latin typeface="Segoe Sans Display" pitchFamily="2" charset="0"/>
                <a:ea typeface="+mn-ea"/>
                <a:cs typeface="+mn-cs"/>
              </a:rPr>
              <a:t>prompt</a:t>
            </a:r>
            <a:r>
              <a:rPr lang="es-ES" sz="882" b="0" kern="1200" dirty="0">
                <a:solidFill>
                  <a:schemeClr val="tx1"/>
                </a:solidFill>
                <a:effectLst/>
                <a:latin typeface="Segoe Sans Display" pitchFamily="2" charset="0"/>
                <a:ea typeface="+mn-ea"/>
                <a:cs typeface="+mn-cs"/>
              </a:rPr>
              <a:t> como contrato, del </a:t>
            </a:r>
            <a:r>
              <a:rPr lang="es-ES" sz="882" b="0" kern="1200" dirty="0" err="1">
                <a:solidFill>
                  <a:schemeClr val="tx1"/>
                </a:solidFill>
                <a:effectLst/>
                <a:latin typeface="Segoe Sans Display" pitchFamily="2" charset="0"/>
                <a:ea typeface="+mn-ea"/>
                <a:cs typeface="+mn-cs"/>
              </a:rPr>
              <a:t>grounding</a:t>
            </a:r>
            <a:r>
              <a:rPr lang="es-ES" sz="882" b="0" kern="1200" dirty="0">
                <a:solidFill>
                  <a:schemeClr val="tx1"/>
                </a:solidFill>
                <a:effectLst/>
                <a:latin typeface="Segoe Sans Display" pitchFamily="2" charset="0"/>
                <a:ea typeface="+mn-ea"/>
                <a:cs typeface="+mn-cs"/>
              </a:rPr>
              <a:t> como límite y de las capacidades como superficie de ejecución. Cambias una instrucción y el agente cambia de comportamiento. Añades una fuente y el contexto se ensancha… o se contamina. Activas una acción y de repente ya no es solo lenguaje, es una llamada a sistema con todo lo que eso implica. Aquí es donde descubres que el agente no es “una IA que responde”… es un sistema donde el modelo está encajonado dentro de decisiones que tú tomas.</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Y luego está el último nivel: construir algo propio. Y aquí ya no estás configurando, estás diseñando. Estás definiendo cómo se resuelve la ambigüedad, qué pasa cuando faltan datos, cómo se ordenan los pasos, cuándo se ejecuta algo y cuándo no… y todo eso con un modelo que no es determinista. O sea, básicamente estás diseñando un sistema donde cada entrada puede comportarse distinto… y aun así quieres que salga algo fiable. Suerte con eso… pero oye, cuando sale bien, es una pasada.</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Lo interesante de estas tres opciones no es decidir cuál es “la buena”. Es entender que en cada una cambias: </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cuánto control tienes</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cuánto contexto gestionas</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y cuántos sitios hay donde algo puede romperse</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 </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Porque sí, todo esto funciona muy bien… hasta que conectas suficientes piezas como para que empiecen a interactuar entre ellas. Y ahí es donde te das cuenta de que no estabas eligiendo una herramienta… estabas eligiendo cuánto sistema te apetece tener entre manos un lunes por la mañana. Pero insisto en este punto, porque esto es lo que aporta valor de negocio, y es que cuando el agente funciona como se espera, es una pasada el tiempo ahorrado y lo que aumenta la calidad de vida laboral de los usuarios del agente.</a:t>
            </a:r>
            <a:endParaRPr lang="en-US" sz="882" b="1" kern="1200" dirty="0">
              <a:solidFill>
                <a:schemeClr val="tx1"/>
              </a:solidFill>
              <a:effectLst/>
              <a:latin typeface="Segoe Sans Display" pitchFamily="2" charset="0"/>
              <a:ea typeface="+mn-ea"/>
              <a:cs typeface="+mn-cs"/>
            </a:endParaRPr>
          </a:p>
        </p:txBody>
      </p:sp>
      <p:sp>
        <p:nvSpPr>
          <p:cNvPr id="4" name="Slide Number Placeholder 3">
            <a:extLst>
              <a:ext uri="{FF2B5EF4-FFF2-40B4-BE49-F238E27FC236}">
                <a16:creationId xmlns:a16="http://schemas.microsoft.com/office/drawing/2014/main" id="{B7DCE3B5-E4AD-77D4-6D9A-AF01DFB8B4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33783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kern="1200" dirty="0">
                <a:solidFill>
                  <a:schemeClr val="tx1"/>
                </a:solidFill>
                <a:effectLst/>
                <a:latin typeface="Segoe Sans Display" pitchFamily="2" charset="0"/>
                <a:ea typeface="+mn-ea"/>
                <a:cs typeface="+mn-cs"/>
              </a:rPr>
              <a:t>Microsoft ya trae agentes listos para usar. Esto no empieza de cero. </a:t>
            </a:r>
            <a:endParaRPr lang="en-US" sz="882" kern="1200" dirty="0">
              <a:solidFill>
                <a:schemeClr val="tx1"/>
              </a:solidFill>
              <a:effectLst/>
              <a:latin typeface="Segoe Sans Display" pitchFamily="2" charset="0"/>
              <a:ea typeface="+mn-ea"/>
              <a:cs typeface="+mn-cs"/>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856062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E35C2-993B-EBD3-8B03-94863AECDF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FB0889-D6F0-00A0-F897-6E624B13B6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432E42-F07C-6702-366A-2E987A28E598}"/>
              </a:ext>
            </a:extLst>
          </p:cNvPr>
          <p:cNvSpPr>
            <a:spLocks noGrp="1"/>
          </p:cNvSpPr>
          <p:nvPr>
            <p:ph type="body" idx="1"/>
          </p:nvPr>
        </p:nvSpPr>
        <p:spPr/>
        <p:txBody>
          <a:bodyPr/>
          <a:lstStyle/>
          <a:p>
            <a:r>
              <a:rPr lang="es-ES" sz="882" b="0" kern="1200" dirty="0" err="1">
                <a:solidFill>
                  <a:schemeClr val="tx1"/>
                </a:solidFill>
                <a:effectLst/>
                <a:latin typeface="Segoe Sans Display" pitchFamily="2" charset="0"/>
                <a:ea typeface="+mn-ea"/>
                <a:cs typeface="+mn-cs"/>
              </a:rPr>
              <a:t>Researcher</a:t>
            </a:r>
            <a:r>
              <a:rPr lang="es-ES" sz="882" b="0" kern="1200" dirty="0">
                <a:solidFill>
                  <a:schemeClr val="tx1"/>
                </a:solidFill>
                <a:effectLst/>
                <a:latin typeface="Segoe Sans Display" pitchFamily="2" charset="0"/>
                <a:ea typeface="+mn-ea"/>
                <a:cs typeface="+mn-cs"/>
              </a:rPr>
              <a:t> no es un buscador con esteroides. Es un pipeline de investigación montado encima de un LLM… con bastante más intención de lo que parece. Lo que hace por debajo es interesante:</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Cuando le lanzas una pregunta seria, no responde directamente. Primero la descompone en subconsultas, luego decide qué fuentes necesita, hace </a:t>
            </a:r>
            <a:r>
              <a:rPr lang="es-ES" sz="882" b="0" kern="1200" dirty="0" err="1">
                <a:solidFill>
                  <a:schemeClr val="tx1"/>
                </a:solidFill>
                <a:effectLst/>
                <a:latin typeface="Segoe Sans Display" pitchFamily="2" charset="0"/>
                <a:ea typeface="+mn-ea"/>
                <a:cs typeface="+mn-cs"/>
              </a:rPr>
              <a:t>retrieval</a:t>
            </a:r>
            <a:r>
              <a:rPr lang="es-ES" sz="882" b="0" kern="1200" dirty="0">
                <a:solidFill>
                  <a:schemeClr val="tx1"/>
                </a:solidFill>
                <a:effectLst/>
                <a:latin typeface="Segoe Sans Display" pitchFamily="2" charset="0"/>
                <a:ea typeface="+mn-ea"/>
                <a:cs typeface="+mn-cs"/>
              </a:rPr>
              <a:t> iterativo, y va refinando el contexto antes de atreverse a contestar. Es decir, no trabaja en modo </a:t>
            </a:r>
            <a:r>
              <a:rPr lang="en-US" sz="882" b="0" kern="1200" dirty="0">
                <a:solidFill>
                  <a:schemeClr val="tx1"/>
                </a:solidFill>
                <a:effectLst/>
                <a:latin typeface="Segoe Sans Display" pitchFamily="2" charset="0"/>
                <a:ea typeface="+mn-ea"/>
                <a:cs typeface="+mn-cs"/>
              </a:rPr>
              <a:t>“</a:t>
            </a:r>
            <a:r>
              <a:rPr lang="es-ES" sz="882" b="0" kern="1200" dirty="0">
                <a:solidFill>
                  <a:schemeClr val="tx1"/>
                </a:solidFill>
                <a:effectLst/>
                <a:latin typeface="Segoe Sans Display" pitchFamily="2" charset="0"/>
                <a:ea typeface="+mn-ea"/>
                <a:cs typeface="+mn-cs"/>
              </a:rPr>
              <a:t>input </a:t>
            </a:r>
            <a:r>
              <a:rPr lang="en-US" sz="882" b="0" kern="1200" dirty="0">
                <a:solidFill>
                  <a:schemeClr val="tx1"/>
                </a:solidFill>
                <a:effectLst/>
                <a:latin typeface="Segoe Sans Display" pitchFamily="2" charset="0"/>
                <a:ea typeface="+mn-ea"/>
                <a:cs typeface="+mn-cs"/>
              </a:rPr>
              <a:t>→</a:t>
            </a:r>
            <a:r>
              <a:rPr lang="es-ES" sz="882" b="0" kern="1200" dirty="0">
                <a:solidFill>
                  <a:schemeClr val="tx1"/>
                </a:solidFill>
                <a:effectLst/>
                <a:latin typeface="Segoe Sans Display" pitchFamily="2" charset="0"/>
                <a:ea typeface="+mn-ea"/>
                <a:cs typeface="+mn-cs"/>
              </a:rPr>
              <a:t> output” Trabaja en modo “vamos a entender de qué va esto antes de abrir la boca”. A nivel técnico tienes varias cosas pasando a la vez:</a:t>
            </a:r>
            <a:br>
              <a:rPr lang="es-ES" sz="882" b="0" kern="1200" dirty="0">
                <a:solidFill>
                  <a:schemeClr val="tx1"/>
                </a:solidFill>
                <a:effectLst/>
                <a:latin typeface="Segoe Sans Display" pitchFamily="2" charset="0"/>
                <a:ea typeface="+mn-ea"/>
                <a:cs typeface="+mn-cs"/>
              </a:rPr>
            </a:br>
            <a:r>
              <a:rPr lang="es-ES" sz="882" b="0" kern="1200" dirty="0" err="1">
                <a:solidFill>
                  <a:schemeClr val="tx1"/>
                </a:solidFill>
                <a:effectLst/>
                <a:latin typeface="Segoe Sans Display" pitchFamily="2" charset="0"/>
                <a:ea typeface="+mn-ea"/>
                <a:cs typeface="+mn-cs"/>
              </a:rPr>
              <a:t>Grounding</a:t>
            </a:r>
            <a:r>
              <a:rPr lang="es-ES" sz="882" b="0" kern="1200" dirty="0">
                <a:solidFill>
                  <a:schemeClr val="tx1"/>
                </a:solidFill>
                <a:effectLst/>
                <a:latin typeface="Segoe Sans Display" pitchFamily="2" charset="0"/>
                <a:ea typeface="+mn-ea"/>
                <a:cs typeface="+mn-cs"/>
              </a:rPr>
              <a:t> híbrido: mezcla web + datos corporativos</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Razonamiento por pasos: no es una inferencia directa, es una secuenci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Ranking y filtrado de fuentes: decide qué entra y qué se descart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Citas trazables: te enseña de dónde ha sacado cada cosa</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Que esto, dicho así, suena muy bien… pero en la práctica significa otra cosa:</a:t>
            </a:r>
            <a:br>
              <a:rPr lang="es-ES" sz="882" b="0" kern="1200" dirty="0">
                <a:solidFill>
                  <a:schemeClr val="tx1"/>
                </a:solidFill>
                <a:effectLst/>
                <a:latin typeface="Segoe Sans Display" pitchFamily="2" charset="0"/>
                <a:ea typeface="+mn-ea"/>
                <a:cs typeface="+mn-cs"/>
              </a:rPr>
            </a:br>
            <a:r>
              <a:rPr lang="es-ES" sz="882" b="0" kern="1200" dirty="0" err="1">
                <a:solidFill>
                  <a:schemeClr val="tx1"/>
                </a:solidFill>
                <a:effectLst/>
                <a:latin typeface="Segoe Sans Display" pitchFamily="2" charset="0"/>
                <a:ea typeface="+mn-ea"/>
                <a:cs typeface="+mn-cs"/>
              </a:rPr>
              <a:t>Researcher</a:t>
            </a:r>
            <a:r>
              <a:rPr lang="es-ES" sz="882" b="0" kern="1200" dirty="0">
                <a:solidFill>
                  <a:schemeClr val="tx1"/>
                </a:solidFill>
                <a:effectLst/>
                <a:latin typeface="Segoe Sans Display" pitchFamily="2" charset="0"/>
                <a:ea typeface="+mn-ea"/>
                <a:cs typeface="+mn-cs"/>
              </a:rPr>
              <a:t> es ese que no te contesta en 5 </a:t>
            </a:r>
            <a:r>
              <a:rPr lang="es-ES" sz="882" b="0" kern="1200" dirty="0" err="1">
                <a:solidFill>
                  <a:schemeClr val="tx1"/>
                </a:solidFill>
                <a:effectLst/>
                <a:latin typeface="Segoe Sans Display" pitchFamily="2" charset="0"/>
                <a:ea typeface="+mn-ea"/>
                <a:cs typeface="+mn-cs"/>
              </a:rPr>
              <a:t>segundos,porque</a:t>
            </a:r>
            <a:r>
              <a:rPr lang="es-ES" sz="882" b="0" kern="1200" dirty="0">
                <a:solidFill>
                  <a:schemeClr val="tx1"/>
                </a:solidFill>
                <a:effectLst/>
                <a:latin typeface="Segoe Sans Display" pitchFamily="2" charset="0"/>
                <a:ea typeface="+mn-ea"/>
                <a:cs typeface="+mn-cs"/>
              </a:rPr>
              <a:t> está ahí dentro montando el </a:t>
            </a:r>
            <a:r>
              <a:rPr lang="es-ES" sz="882" b="0" kern="1200" dirty="0" err="1">
                <a:solidFill>
                  <a:schemeClr val="tx1"/>
                </a:solidFill>
                <a:effectLst/>
                <a:latin typeface="Segoe Sans Display" pitchFamily="2" charset="0"/>
                <a:ea typeface="+mn-ea"/>
                <a:cs typeface="+mn-cs"/>
              </a:rPr>
              <a:t>puzzle</a:t>
            </a:r>
            <a:r>
              <a:rPr lang="es-ES" sz="882" b="0" kern="1200" dirty="0">
                <a:solidFill>
                  <a:schemeClr val="tx1"/>
                </a:solidFill>
                <a:effectLst/>
                <a:latin typeface="Segoe Sans Display" pitchFamily="2" charset="0"/>
                <a:ea typeface="+mn-ea"/>
                <a:cs typeface="+mn-cs"/>
              </a:rPr>
              <a:t>.</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Abre “pestañas” virtuales, compara versiones, descarta lo que no cuadra…y luego te devuelve algo que no es perfecto, pero está trabajado con criterio.</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Ahora, la parte divertid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Como todo esto es un proceso probabilístico, hay días en los que clava el análisis… y otros en los que mezcla dos fuentes que no deberían ni saludarse. Pero incluso cuando falla, la diferencia es clave: No te da una frase elegante y vacía. Te da un razonamiento con rastro. Puedes ver por dónde ha pasado, qué ha usado y qué no… y eso te permite decidir si te fías o si lo mandas a paseo. Que en análisis complejo es justo lo que importa. Porque el problema nunca ha sido que una IA “responda bonito”… el problema es saber si lo que te está diciendo se sostiene o se cae al primer repregunta. Y aquí, al menos, tienes algo que puedes auditar sin tener que ir tú a rehacer todo el trabajo desde cero. Que, siendo honestos… ya es un avance bastante serio respecto a lo que había antes.</a:t>
            </a:r>
            <a:endParaRPr lang="en-US" sz="882" b="1" kern="1200" dirty="0">
              <a:solidFill>
                <a:schemeClr val="tx1"/>
              </a:solidFill>
              <a:effectLst/>
              <a:latin typeface="Segoe Sans Display" pitchFamily="2" charset="0"/>
              <a:ea typeface="+mn-ea"/>
              <a:cs typeface="+mn-cs"/>
            </a:endParaRPr>
          </a:p>
          <a:p>
            <a:pPr marL="0" indent="0">
              <a:buFont typeface="Arial" panose="020B0604020202020204" pitchFamily="34" charset="0"/>
              <a:buNone/>
            </a:pPr>
            <a:endParaRPr lang="en-US" dirty="0"/>
          </a:p>
        </p:txBody>
      </p:sp>
      <p:sp>
        <p:nvSpPr>
          <p:cNvPr id="4" name="Slide Number Placeholder 3">
            <a:extLst>
              <a:ext uri="{FF2B5EF4-FFF2-40B4-BE49-F238E27FC236}">
                <a16:creationId xmlns:a16="http://schemas.microsoft.com/office/drawing/2014/main" id="{A57005DE-AEAA-9A8E-971C-A7F777AA6A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46346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C872F-2FBC-BFEE-AF81-F9B7BC8453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037C15-FB61-6114-D950-9DB074B0B5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C219C6-DF46-B66F-1901-E85D75CD0BF9}"/>
              </a:ext>
            </a:extLst>
          </p:cNvPr>
          <p:cNvSpPr>
            <a:spLocks noGrp="1"/>
          </p:cNvSpPr>
          <p:nvPr>
            <p:ph type="body" idx="1"/>
          </p:nvPr>
        </p:nvSpPr>
        <p:spPr/>
        <p:txBody>
          <a:bodyPr/>
          <a:lstStyle/>
          <a:p>
            <a:r>
              <a:rPr lang="en-US" sz="882" b="0" kern="1200" dirty="0">
                <a:solidFill>
                  <a:schemeClr val="tx1"/>
                </a:solidFill>
                <a:effectLst/>
                <a:latin typeface="Segoe Sans Display" pitchFamily="2" charset="0"/>
                <a:ea typeface="+mn-ea"/>
                <a:cs typeface="+mn-cs"/>
              </a:rPr>
              <a:t>Analyst </a:t>
            </a:r>
            <a:r>
              <a:rPr lang="en-US" sz="882" b="0" kern="1200" dirty="0" err="1">
                <a:solidFill>
                  <a:schemeClr val="tx1"/>
                </a:solidFill>
                <a:effectLst/>
                <a:latin typeface="Segoe Sans Display" pitchFamily="2" charset="0"/>
                <a:ea typeface="+mn-ea"/>
                <a:cs typeface="+mn-cs"/>
              </a:rPr>
              <a:t>juega</a:t>
            </a:r>
            <a:r>
              <a:rPr lang="en-US" sz="882" b="0" kern="1200" dirty="0">
                <a:solidFill>
                  <a:schemeClr val="tx1"/>
                </a:solidFill>
                <a:effectLst/>
                <a:latin typeface="Segoe Sans Display" pitchFamily="2" charset="0"/>
                <a:ea typeface="+mn-ea"/>
                <a:cs typeface="+mn-cs"/>
              </a:rPr>
              <a:t> </a:t>
            </a:r>
            <a:r>
              <a:rPr lang="en-US" sz="882" b="0" kern="1200" dirty="0" err="1">
                <a:solidFill>
                  <a:schemeClr val="tx1"/>
                </a:solidFill>
                <a:effectLst/>
                <a:latin typeface="Segoe Sans Display" pitchFamily="2" charset="0"/>
                <a:ea typeface="+mn-ea"/>
                <a:cs typeface="+mn-cs"/>
              </a:rPr>
              <a:t>en</a:t>
            </a:r>
            <a:r>
              <a:rPr lang="en-US" sz="882" b="0" kern="1200" dirty="0">
                <a:solidFill>
                  <a:schemeClr val="tx1"/>
                </a:solidFill>
                <a:effectLst/>
                <a:latin typeface="Segoe Sans Display" pitchFamily="2" charset="0"/>
                <a:ea typeface="+mn-ea"/>
                <a:cs typeface="+mn-cs"/>
              </a:rPr>
              <a:t> </a:t>
            </a:r>
            <a:r>
              <a:rPr lang="en-US" sz="882" b="0" kern="1200" dirty="0" err="1">
                <a:solidFill>
                  <a:schemeClr val="tx1"/>
                </a:solidFill>
                <a:effectLst/>
                <a:latin typeface="Segoe Sans Display" pitchFamily="2" charset="0"/>
                <a:ea typeface="+mn-ea"/>
                <a:cs typeface="+mn-cs"/>
              </a:rPr>
              <a:t>otra</a:t>
            </a:r>
            <a:r>
              <a:rPr lang="en-US" sz="882" b="0" kern="1200" dirty="0">
                <a:solidFill>
                  <a:schemeClr val="tx1"/>
                </a:solidFill>
                <a:effectLst/>
                <a:latin typeface="Segoe Sans Display" pitchFamily="2" charset="0"/>
                <a:ea typeface="+mn-ea"/>
                <a:cs typeface="+mn-cs"/>
              </a:rPr>
              <a:t> </a:t>
            </a:r>
            <a:r>
              <a:rPr lang="en-US" sz="882" b="0" kern="1200" dirty="0" err="1">
                <a:solidFill>
                  <a:schemeClr val="tx1"/>
                </a:solidFill>
                <a:effectLst/>
                <a:latin typeface="Segoe Sans Display" pitchFamily="2" charset="0"/>
                <a:ea typeface="+mn-ea"/>
                <a:cs typeface="+mn-cs"/>
              </a:rPr>
              <a:t>liga</a:t>
            </a:r>
            <a:r>
              <a:rPr lang="en-US" sz="882" b="0" kern="1200" dirty="0">
                <a:solidFill>
                  <a:schemeClr val="tx1"/>
                </a:solidFill>
                <a:effectLst/>
                <a:latin typeface="Segoe Sans Display" pitchFamily="2" charset="0"/>
                <a:ea typeface="+mn-ea"/>
                <a:cs typeface="+mn-cs"/>
              </a:rPr>
              <a:t>. </a:t>
            </a:r>
            <a:r>
              <a:rPr lang="es-ES" sz="882" b="0" kern="1200" dirty="0">
                <a:solidFill>
                  <a:schemeClr val="tx1"/>
                </a:solidFill>
                <a:effectLst/>
                <a:latin typeface="Segoe Sans Display" pitchFamily="2" charset="0"/>
                <a:ea typeface="+mn-ea"/>
                <a:cs typeface="+mn-cs"/>
              </a:rPr>
              <a:t>Aquí ya no estamos hablando de recuperar información ni de estructurar un discurso. Aquí el agente ejecuta trabajo analítico real sobre datos. Cuando le pasas un </a:t>
            </a:r>
            <a:r>
              <a:rPr lang="es-ES" sz="882" b="0" kern="1200" dirty="0" err="1">
                <a:solidFill>
                  <a:schemeClr val="tx1"/>
                </a:solidFill>
                <a:effectLst/>
                <a:latin typeface="Segoe Sans Display" pitchFamily="2" charset="0"/>
                <a:ea typeface="+mn-ea"/>
                <a:cs typeface="+mn-cs"/>
              </a:rPr>
              <a:t>dataset</a:t>
            </a:r>
            <a:r>
              <a:rPr lang="es-ES" sz="882" b="0" kern="1200" dirty="0">
                <a:solidFill>
                  <a:schemeClr val="tx1"/>
                </a:solidFill>
                <a:effectLst/>
                <a:latin typeface="Segoe Sans Display" pitchFamily="2" charset="0"/>
                <a:ea typeface="+mn-ea"/>
                <a:cs typeface="+mn-cs"/>
              </a:rPr>
              <a:t>, lo que hace no es describirlo:</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lo traduce a una secuencia de operaciones deterministas.</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Filtra, agrega, transforma, cruza… y lo hace de forma iterativa.</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No porque sea listo, sino porque internamente está generando código ejecutable —normalmente Python—, lo ejecuta, comprueba resultados y vuelve a ajustar si algo no cuadra. Eso tiene varias implicaciones técnicas bastante serias: </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no estás viendo una opinión </a:t>
            </a:r>
            <a:r>
              <a:rPr lang="en-US" sz="882" b="0" kern="1200" dirty="0">
                <a:solidFill>
                  <a:schemeClr val="tx1"/>
                </a:solidFill>
                <a:effectLst/>
                <a:latin typeface="Segoe Sans Display" pitchFamily="2" charset="0"/>
                <a:ea typeface="+mn-ea"/>
                <a:cs typeface="+mn-cs"/>
              </a:rPr>
              <a:t>→</a:t>
            </a:r>
            <a:r>
              <a:rPr lang="es-ES" sz="882" b="0" kern="1200" dirty="0">
                <a:solidFill>
                  <a:schemeClr val="tx1"/>
                </a:solidFill>
                <a:effectLst/>
                <a:latin typeface="Segoe Sans Display" pitchFamily="2" charset="0"/>
                <a:ea typeface="+mn-ea"/>
                <a:cs typeface="+mn-cs"/>
              </a:rPr>
              <a:t> estás viendo el resultado de una pipeline de cálculo</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tienes trazabilidad completa </a:t>
            </a:r>
            <a:r>
              <a:rPr lang="en-US" sz="882" b="0" kern="1200" dirty="0">
                <a:solidFill>
                  <a:schemeClr val="tx1"/>
                </a:solidFill>
                <a:effectLst/>
                <a:latin typeface="Segoe Sans Display" pitchFamily="2" charset="0"/>
                <a:ea typeface="+mn-ea"/>
                <a:cs typeface="+mn-cs"/>
              </a:rPr>
              <a:t>→</a:t>
            </a:r>
            <a:r>
              <a:rPr lang="es-ES" sz="882" b="0" kern="1200" dirty="0">
                <a:solidFill>
                  <a:schemeClr val="tx1"/>
                </a:solidFill>
                <a:effectLst/>
                <a:latin typeface="Segoe Sans Display" pitchFamily="2" charset="0"/>
                <a:ea typeface="+mn-ea"/>
                <a:cs typeface="+mn-cs"/>
              </a:rPr>
              <a:t> puedes ver cada paso, cada transformación</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l modelo no </a:t>
            </a:r>
            <a:r>
              <a:rPr lang="en-US" sz="882" b="0" kern="1200" dirty="0">
                <a:solidFill>
                  <a:schemeClr val="tx1"/>
                </a:solidFill>
                <a:effectLst/>
                <a:latin typeface="Segoe Sans Display" pitchFamily="2" charset="0"/>
                <a:ea typeface="+mn-ea"/>
                <a:cs typeface="+mn-cs"/>
              </a:rPr>
              <a:t>“</a:t>
            </a:r>
            <a:r>
              <a:rPr lang="es-ES" sz="882" b="0" kern="1200" dirty="0">
                <a:solidFill>
                  <a:schemeClr val="tx1"/>
                </a:solidFill>
                <a:effectLst/>
                <a:latin typeface="Segoe Sans Display" pitchFamily="2" charset="0"/>
                <a:ea typeface="+mn-ea"/>
                <a:cs typeface="+mn-cs"/>
              </a:rPr>
              <a:t>imagina</a:t>
            </a:r>
            <a:r>
              <a:rPr lang="en-US" sz="882" b="0" kern="1200" dirty="0">
                <a:solidFill>
                  <a:schemeClr val="tx1"/>
                </a:solidFill>
                <a:effectLst/>
                <a:latin typeface="Segoe Sans Display" pitchFamily="2" charset="0"/>
                <a:ea typeface="+mn-ea"/>
                <a:cs typeface="+mn-cs"/>
              </a:rPr>
              <a:t>”</a:t>
            </a:r>
            <a:r>
              <a:rPr lang="es-ES" sz="882" b="0" kern="1200" dirty="0">
                <a:solidFill>
                  <a:schemeClr val="tx1"/>
                </a:solidFill>
                <a:effectLst/>
                <a:latin typeface="Segoe Sans Display" pitchFamily="2" charset="0"/>
                <a:ea typeface="+mn-ea"/>
                <a:cs typeface="+mn-cs"/>
              </a:rPr>
              <a:t> el dato </a:t>
            </a:r>
            <a:r>
              <a:rPr lang="en-US" sz="882" b="0" kern="1200" dirty="0">
                <a:solidFill>
                  <a:schemeClr val="tx1"/>
                </a:solidFill>
                <a:effectLst/>
                <a:latin typeface="Segoe Sans Display" pitchFamily="2" charset="0"/>
                <a:ea typeface="+mn-ea"/>
                <a:cs typeface="+mn-cs"/>
              </a:rPr>
              <a:t>→</a:t>
            </a:r>
            <a:r>
              <a:rPr lang="es-ES" sz="882" b="0" kern="1200" dirty="0">
                <a:solidFill>
                  <a:schemeClr val="tx1"/>
                </a:solidFill>
                <a:effectLst/>
                <a:latin typeface="Segoe Sans Display" pitchFamily="2" charset="0"/>
                <a:ea typeface="+mn-ea"/>
                <a:cs typeface="+mn-cs"/>
              </a:rPr>
              <a:t> lo calcula sobre el </a:t>
            </a:r>
            <a:r>
              <a:rPr lang="es-ES" sz="882" b="0" kern="1200" dirty="0" err="1">
                <a:solidFill>
                  <a:schemeClr val="tx1"/>
                </a:solidFill>
                <a:effectLst/>
                <a:latin typeface="Segoe Sans Display" pitchFamily="2" charset="0"/>
                <a:ea typeface="+mn-ea"/>
                <a:cs typeface="+mn-cs"/>
              </a:rPr>
              <a:t>dataset</a:t>
            </a:r>
            <a:r>
              <a:rPr lang="es-ES" sz="882" b="0" kern="1200" dirty="0">
                <a:solidFill>
                  <a:schemeClr val="tx1"/>
                </a:solidFill>
                <a:effectLst/>
                <a:latin typeface="Segoe Sans Display" pitchFamily="2" charset="0"/>
                <a:ea typeface="+mn-ea"/>
                <a:cs typeface="+mn-cs"/>
              </a:rPr>
              <a:t> real</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Ahora, vamos al barro de verdad. </a:t>
            </a:r>
            <a:r>
              <a:rPr lang="es-ES" sz="882" b="0" kern="1200" dirty="0" err="1">
                <a:solidFill>
                  <a:schemeClr val="tx1"/>
                </a:solidFill>
                <a:effectLst/>
                <a:latin typeface="Segoe Sans Display" pitchFamily="2" charset="0"/>
                <a:ea typeface="+mn-ea"/>
                <a:cs typeface="+mn-cs"/>
              </a:rPr>
              <a:t>Analyst</a:t>
            </a:r>
            <a:r>
              <a:rPr lang="es-ES" sz="882" b="0" kern="1200" dirty="0">
                <a:solidFill>
                  <a:schemeClr val="tx1"/>
                </a:solidFill>
                <a:effectLst/>
                <a:latin typeface="Segoe Sans Display" pitchFamily="2" charset="0"/>
                <a:ea typeface="+mn-ea"/>
                <a:cs typeface="+mn-cs"/>
              </a:rPr>
              <a:t> es básicamente lo que mucha gente lleva años intentando hacer con Excel… pero sin 14 pestañas ocultas, sin fórmulas que nadie entiende y sin ese momento glorioso en el que alguien dice: “oye, ¿por qué esta cifra no cuadra?” y nadie en la sala quiere tocar el archivo porque igual deja de abrirse.</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Aquí el flujo es otro: Le das los datos. Define operaciones. Ejecuta. Te enseña el resultado… y cómo ha llegado ahí.  </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Y eso elimina dos clásicos del análisis en empres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l ‘esto salió de algún Excel, confía’ y el ‘no sabemos exactamente qué se hizo pero más o menos funciona’</a:t>
            </a:r>
            <a:endParaRPr lang="en-US" sz="882" b="1" kern="1200" dirty="0">
              <a:solidFill>
                <a:schemeClr val="tx1"/>
              </a:solidFill>
              <a:effectLst/>
              <a:latin typeface="Segoe Sans Display" pitchFamily="2" charset="0"/>
              <a:ea typeface="+mn-ea"/>
              <a:cs typeface="+mn-cs"/>
            </a:endParaRPr>
          </a:p>
          <a:p>
            <a:r>
              <a:rPr lang="es-ES" sz="882" kern="1200" dirty="0">
                <a:solidFill>
                  <a:schemeClr val="tx1"/>
                </a:solidFill>
                <a:effectLst/>
                <a:latin typeface="Segoe Sans Display" pitchFamily="2" charset="0"/>
                <a:ea typeface="+mn-ea"/>
                <a:cs typeface="+mn-cs"/>
              </a:rPr>
              <a:t>Ahora, ¿dónde está la trampa? Muy simple: Si los datos están mal modelados, incompletos o llenos de cosas raras… el agente no te va a rescatar (no es milagroso) Va a ejecutar cálculos impecables sobre datos mediocres. Y el resultado será… impecablemente mediocre. Así que sí, </a:t>
            </a:r>
            <a:r>
              <a:rPr lang="es-ES" sz="882" kern="1200" dirty="0" err="1">
                <a:solidFill>
                  <a:schemeClr val="tx1"/>
                </a:solidFill>
                <a:effectLst/>
                <a:latin typeface="Segoe Sans Display" pitchFamily="2" charset="0"/>
                <a:ea typeface="+mn-ea"/>
                <a:cs typeface="+mn-cs"/>
              </a:rPr>
              <a:t>Analyst</a:t>
            </a:r>
            <a:r>
              <a:rPr lang="es-ES" sz="882" kern="1200" dirty="0">
                <a:solidFill>
                  <a:schemeClr val="tx1"/>
                </a:solidFill>
                <a:effectLst/>
                <a:latin typeface="Segoe Sans Display" pitchFamily="2" charset="0"/>
                <a:ea typeface="+mn-ea"/>
                <a:cs typeface="+mn-cs"/>
              </a:rPr>
              <a:t> es potente. Te quita todo el trabajo mecánico: limpieza, transformación, iteración… y te deja con la parte incómoda: entender si lo que estás viendo tiene sentido. Pero hay una diferencia importante: Antes invertías horas en construir el Excel… y luego nadie quería tocarlo por si se rompía. Ahora lo tienes hecho en minutos… y la conversación pasa a si lo que estás viendo es correcto o una burrada. Que, siendo honestos, es donde debería haber estado siempre</a:t>
            </a:r>
            <a:endParaRPr lang="en-US" dirty="0"/>
          </a:p>
        </p:txBody>
      </p:sp>
      <p:sp>
        <p:nvSpPr>
          <p:cNvPr id="4" name="Slide Number Placeholder 3">
            <a:extLst>
              <a:ext uri="{FF2B5EF4-FFF2-40B4-BE49-F238E27FC236}">
                <a16:creationId xmlns:a16="http://schemas.microsoft.com/office/drawing/2014/main" id="{1617038E-BEE2-8637-12B2-2114DE20E69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00217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74CE2-9604-2062-D5B6-0B3F6B4ECE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3629D3-9CB0-5061-729D-309518B8B5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5D1871-60A0-96FE-0292-7DB2A62E6034}"/>
              </a:ext>
            </a:extLst>
          </p:cNvPr>
          <p:cNvSpPr>
            <a:spLocks noGrp="1"/>
          </p:cNvSpPr>
          <p:nvPr>
            <p:ph type="body" idx="1"/>
          </p:nvPr>
        </p:nvSpPr>
        <p:spPr/>
        <p:txBody>
          <a:bodyPr/>
          <a:lstStyle/>
          <a:p>
            <a:r>
              <a:rPr lang="es-ES" sz="882" b="0" kern="1200" dirty="0">
                <a:solidFill>
                  <a:schemeClr val="tx1"/>
                </a:solidFill>
                <a:effectLst/>
                <a:latin typeface="Segoe Sans Display" pitchFamily="2" charset="0"/>
                <a:ea typeface="+mn-ea"/>
                <a:cs typeface="+mn-cs"/>
              </a:rPr>
              <a:t>Aquí el impacto se nota rápido. Word, Excel y PowerPoint dejan de ser un lienzo en blanco… y pasan a ser un sitio donde ya hay algo hecho cuando llegas. Y eso, para cualquiera que haya perdido tiempo delante de un documento vacío, ya es medio milagro. Ahora, hay dos formas de trabajar esto, y aquí es donde conviene no liarlo. Cuando tiras desde dentro de la app, el agente te monta algo completo a partir de una idea general. Documento, </a:t>
            </a:r>
            <a:r>
              <a:rPr lang="es-ES" sz="882" b="0" kern="1200" dirty="0" err="1">
                <a:solidFill>
                  <a:schemeClr val="tx1"/>
                </a:solidFill>
                <a:effectLst/>
                <a:latin typeface="Segoe Sans Display" pitchFamily="2" charset="0"/>
                <a:ea typeface="+mn-ea"/>
                <a:cs typeface="+mn-cs"/>
              </a:rPr>
              <a:t>slides</a:t>
            </a:r>
            <a:r>
              <a:rPr lang="es-ES" sz="882" b="0" kern="1200" dirty="0">
                <a:solidFill>
                  <a:schemeClr val="tx1"/>
                </a:solidFill>
                <a:effectLst/>
                <a:latin typeface="Segoe Sans Display" pitchFamily="2" charset="0"/>
                <a:ea typeface="+mn-ea"/>
                <a:cs typeface="+mn-cs"/>
              </a:rPr>
              <a:t>, tabla… lo que toque. Te pregunta si quieres la presentación en tono bronce o tono verde bosque, si quieres tu presentación más o menos extensa… No valida si eso es exactamente lo que querías. Te da una primera versión y tir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Y es perfecto si no tienes claro por dónde empezar… o simplemente no quieres perder 20 minutos en decidir una estructura básica.</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Ahora bien, cuando sí sabes lo que quieres… meterte ahí directamente puede ser casi contraproducente. Porque el agente te condiciona el resultado desde el minuto uno. Te mete estructura, tono, enfoque… y luego tienes que deshacer más que construir. Ahí es donde </a:t>
            </a:r>
            <a:r>
              <a:rPr lang="es-ES" sz="882" b="0" kern="1200" dirty="0" err="1">
                <a:solidFill>
                  <a:schemeClr val="tx1"/>
                </a:solidFill>
                <a:effectLst/>
                <a:latin typeface="Segoe Sans Display" pitchFamily="2" charset="0"/>
                <a:ea typeface="+mn-ea"/>
                <a:cs typeface="+mn-cs"/>
              </a:rPr>
              <a:t>Copilot</a:t>
            </a:r>
            <a:r>
              <a:rPr lang="es-ES" sz="882" b="0" kern="1200" dirty="0">
                <a:solidFill>
                  <a:schemeClr val="tx1"/>
                </a:solidFill>
                <a:effectLst/>
                <a:latin typeface="Segoe Sans Display" pitchFamily="2" charset="0"/>
                <a:ea typeface="+mn-ea"/>
                <a:cs typeface="+mn-cs"/>
              </a:rPr>
              <a:t> Chat funciona mejor: Porque le dices exactamente lo que quieres sin que te meta “plantilla mental” de regalo. Te devuelve algo más alineado con tu cabeza… y luego ya decides qué haces con ello. Y aquí es donde la cosa mejora de verdad: Coges ese resultado… lo llevas a Word, PowerPoint o Excel… y entonces usas esos mismos agentes para meter bisturí. No rehaces todo. Vas a lo concreto: </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ste párrafo no me gusta </a:t>
            </a:r>
            <a:r>
              <a:rPr lang="en-US" sz="882" b="0" kern="1200" dirty="0">
                <a:solidFill>
                  <a:schemeClr val="tx1"/>
                </a:solidFill>
                <a:effectLst/>
                <a:latin typeface="Segoe Sans Display" pitchFamily="2" charset="0"/>
                <a:ea typeface="+mn-ea"/>
                <a:cs typeface="+mn-cs"/>
              </a:rPr>
              <a:t>→</a:t>
            </a:r>
            <a:r>
              <a:rPr lang="es-ES" sz="882" b="0" kern="1200" dirty="0">
                <a:solidFill>
                  <a:schemeClr val="tx1"/>
                </a:solidFill>
                <a:effectLst/>
                <a:latin typeface="Segoe Sans Display" pitchFamily="2" charset="0"/>
                <a:ea typeface="+mn-ea"/>
                <a:cs typeface="+mn-cs"/>
              </a:rPr>
              <a:t> cámbialo </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sta </a:t>
            </a:r>
            <a:r>
              <a:rPr lang="es-ES" sz="882" b="0" kern="1200" dirty="0" err="1">
                <a:solidFill>
                  <a:schemeClr val="tx1"/>
                </a:solidFill>
                <a:effectLst/>
                <a:latin typeface="Segoe Sans Display" pitchFamily="2" charset="0"/>
                <a:ea typeface="+mn-ea"/>
                <a:cs typeface="+mn-cs"/>
              </a:rPr>
              <a:t>slide</a:t>
            </a:r>
            <a:r>
              <a:rPr lang="es-ES" sz="882" b="0" kern="1200" dirty="0">
                <a:solidFill>
                  <a:schemeClr val="tx1"/>
                </a:solidFill>
                <a:effectLst/>
                <a:latin typeface="Segoe Sans Display" pitchFamily="2" charset="0"/>
                <a:ea typeface="+mn-ea"/>
                <a:cs typeface="+mn-cs"/>
              </a:rPr>
              <a:t> está floja </a:t>
            </a:r>
            <a:r>
              <a:rPr lang="en-US" sz="882" b="0" kern="1200" dirty="0">
                <a:solidFill>
                  <a:schemeClr val="tx1"/>
                </a:solidFill>
                <a:effectLst/>
                <a:latin typeface="Segoe Sans Display" pitchFamily="2" charset="0"/>
                <a:ea typeface="+mn-ea"/>
                <a:cs typeface="+mn-cs"/>
              </a:rPr>
              <a:t>→</a:t>
            </a:r>
            <a:r>
              <a:rPr lang="es-ES" sz="882" b="0" kern="1200" dirty="0">
                <a:solidFill>
                  <a:schemeClr val="tx1"/>
                </a:solidFill>
                <a:effectLst/>
                <a:latin typeface="Segoe Sans Display" pitchFamily="2" charset="0"/>
                <a:ea typeface="+mn-ea"/>
                <a:cs typeface="+mn-cs"/>
              </a:rPr>
              <a:t> apriétal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sta tabla no cuadra </a:t>
            </a:r>
            <a:r>
              <a:rPr lang="en-US" sz="882" b="0" kern="1200" dirty="0">
                <a:solidFill>
                  <a:schemeClr val="tx1"/>
                </a:solidFill>
                <a:effectLst/>
                <a:latin typeface="Segoe Sans Display" pitchFamily="2" charset="0"/>
                <a:ea typeface="+mn-ea"/>
                <a:cs typeface="+mn-cs"/>
              </a:rPr>
              <a:t>→</a:t>
            </a:r>
            <a:r>
              <a:rPr lang="es-ES" sz="882" b="0" kern="1200" dirty="0">
                <a:solidFill>
                  <a:schemeClr val="tx1"/>
                </a:solidFill>
                <a:effectLst/>
                <a:latin typeface="Segoe Sans Display" pitchFamily="2" charset="0"/>
                <a:ea typeface="+mn-ea"/>
                <a:cs typeface="+mn-cs"/>
              </a:rPr>
              <a:t> ajústal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sta celda está mal </a:t>
            </a:r>
            <a:r>
              <a:rPr lang="en-US" sz="882" b="0" kern="1200" dirty="0">
                <a:solidFill>
                  <a:schemeClr val="tx1"/>
                </a:solidFill>
                <a:effectLst/>
                <a:latin typeface="Segoe Sans Display" pitchFamily="2" charset="0"/>
                <a:ea typeface="+mn-ea"/>
                <a:cs typeface="+mn-cs"/>
              </a:rPr>
              <a:t>→</a:t>
            </a:r>
            <a:r>
              <a:rPr lang="es-ES" sz="882" b="0" kern="1200" dirty="0">
                <a:solidFill>
                  <a:schemeClr val="tx1"/>
                </a:solidFill>
                <a:effectLst/>
                <a:latin typeface="Segoe Sans Display" pitchFamily="2" charset="0"/>
                <a:ea typeface="+mn-ea"/>
                <a:cs typeface="+mn-cs"/>
              </a:rPr>
              <a:t> corrígel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s edición por partes. Control real. Nada de rezar para no romper el documento entero. Y eso cambia bastante la dinámica. Antes estabas construyendo desde cero… con el Excel a punto de explotar y el PowerPoint creciendo sin control. Ahora ya tienes algo montado… y tu trabajo es decidir qué merece la pena quedarse y qué es directamente un disparate.</a:t>
            </a:r>
            <a:endParaRPr lang="en-US" sz="882" b="1" kern="1200" dirty="0">
              <a:solidFill>
                <a:schemeClr val="tx1"/>
              </a:solidFill>
              <a:effectLst/>
              <a:latin typeface="Segoe Sans Display" pitchFamily="2" charset="0"/>
              <a:ea typeface="+mn-ea"/>
              <a:cs typeface="+mn-cs"/>
            </a:endParaRPr>
          </a:p>
          <a:p>
            <a:r>
              <a:rPr lang="es-ES" sz="882" kern="1200" dirty="0">
                <a:solidFill>
                  <a:schemeClr val="tx1"/>
                </a:solidFill>
                <a:effectLst/>
                <a:latin typeface="Segoe Sans Display" pitchFamily="2" charset="0"/>
                <a:ea typeface="+mn-ea"/>
                <a:cs typeface="+mn-cs"/>
              </a:rPr>
              <a:t>Porque eso sigue pasando. El agente te da velocidad… pero no te quita el criterio. Y en cuanto bajas la guardia… te cuela una </a:t>
            </a:r>
            <a:r>
              <a:rPr lang="es-ES" sz="882" kern="1200" dirty="0" err="1">
                <a:solidFill>
                  <a:schemeClr val="tx1"/>
                </a:solidFill>
                <a:effectLst/>
                <a:latin typeface="Segoe Sans Display" pitchFamily="2" charset="0"/>
                <a:ea typeface="+mn-ea"/>
                <a:cs typeface="+mn-cs"/>
              </a:rPr>
              <a:t>slide</a:t>
            </a:r>
            <a:r>
              <a:rPr lang="es-ES" sz="882" kern="1200" dirty="0">
                <a:solidFill>
                  <a:schemeClr val="tx1"/>
                </a:solidFill>
                <a:effectLst/>
                <a:latin typeface="Segoe Sans Display" pitchFamily="2" charset="0"/>
                <a:ea typeface="+mn-ea"/>
                <a:cs typeface="+mn-cs"/>
              </a:rPr>
              <a:t> que parece lógica hasta que la lees dos veces y dices: “vale, esto no hay por dónde cogerlo”. Así que sí, ganas tiempo. Mucho. Pero lo cambias por algo bastante más útil: tener que pensar sobre lo que tienes delante en vez de sufrir para generarlo.</a:t>
            </a:r>
            <a:endParaRPr lang="en-US" dirty="0"/>
          </a:p>
        </p:txBody>
      </p:sp>
      <p:sp>
        <p:nvSpPr>
          <p:cNvPr id="4" name="Slide Number Placeholder 3">
            <a:extLst>
              <a:ext uri="{FF2B5EF4-FFF2-40B4-BE49-F238E27FC236}">
                <a16:creationId xmlns:a16="http://schemas.microsoft.com/office/drawing/2014/main" id="{135C4405-7E6C-6F02-C1E2-9005C2B0198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4477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BFBB55-DF85-340C-1D2A-A8657C32C2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D9DDBB-D73E-B016-BA00-7209B55AAD83}"/>
              </a:ext>
            </a:extLst>
          </p:cNvPr>
          <p:cNvSpPr>
            <a:spLocks noGrp="1" noRot="1" noChangeAspect="1"/>
          </p:cNvSpPr>
          <p:nvPr>
            <p:ph type="sldImg"/>
          </p:nvPr>
        </p:nvSpPr>
        <p:spPr>
          <a:xfrm>
            <a:off x="747713" y="1181100"/>
            <a:ext cx="5667375" cy="3189288"/>
          </a:xfrm>
        </p:spPr>
      </p:sp>
      <p:sp>
        <p:nvSpPr>
          <p:cNvPr id="3" name="Notes Placeholder 2">
            <a:extLst>
              <a:ext uri="{FF2B5EF4-FFF2-40B4-BE49-F238E27FC236}">
                <a16:creationId xmlns:a16="http://schemas.microsoft.com/office/drawing/2014/main" id="{F7C6FA4A-6762-045C-4B7D-70EA557EEBA1}"/>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kern="1200" dirty="0">
                <a:solidFill>
                  <a:schemeClr val="tx1"/>
                </a:solidFill>
                <a:effectLst/>
                <a:latin typeface="Segoe Sans Display" pitchFamily="2" charset="0"/>
                <a:ea typeface="+mn-ea"/>
                <a:cs typeface="+mn-cs"/>
              </a:rPr>
              <a:t>Aquí lo que tenéis no es una idea. Es un catálogo. Agentes que operan sobre texto, sobre datos, sobre reuniones, sobre contenido… cada uno optimizado para un tipo de problema concreto. Algunos están más orientados a </a:t>
            </a:r>
            <a:r>
              <a:rPr lang="es-ES" sz="882" b="0" kern="1200" dirty="0" err="1">
                <a:solidFill>
                  <a:schemeClr val="tx1"/>
                </a:solidFill>
                <a:effectLst/>
                <a:latin typeface="Segoe Sans Display" pitchFamily="2" charset="0"/>
                <a:ea typeface="+mn-ea"/>
                <a:cs typeface="+mn-cs"/>
              </a:rPr>
              <a:t>grounding</a:t>
            </a:r>
            <a:r>
              <a:rPr lang="es-ES" sz="882" b="0" kern="1200" dirty="0">
                <a:solidFill>
                  <a:schemeClr val="tx1"/>
                </a:solidFill>
                <a:effectLst/>
                <a:latin typeface="Segoe Sans Display" pitchFamily="2" charset="0"/>
                <a:ea typeface="+mn-ea"/>
                <a:cs typeface="+mn-cs"/>
              </a:rPr>
              <a:t> intensivo y razonamiento iterativo, como </a:t>
            </a:r>
            <a:r>
              <a:rPr lang="es-ES" sz="882" b="0" kern="1200" dirty="0" err="1">
                <a:solidFill>
                  <a:schemeClr val="tx1"/>
                </a:solidFill>
                <a:effectLst/>
                <a:latin typeface="Segoe Sans Display" pitchFamily="2" charset="0"/>
                <a:ea typeface="+mn-ea"/>
                <a:cs typeface="+mn-cs"/>
              </a:rPr>
              <a:t>Researcher</a:t>
            </a:r>
            <a:r>
              <a:rPr lang="es-ES" sz="882" b="0" kern="1200" dirty="0">
                <a:solidFill>
                  <a:schemeClr val="tx1"/>
                </a:solidFill>
                <a:effectLst/>
                <a:latin typeface="Segoe Sans Display" pitchFamily="2" charset="0"/>
                <a:ea typeface="+mn-ea"/>
                <a:cs typeface="+mn-cs"/>
              </a:rPr>
              <a:t>. Otros ejecutan pipelines de cálculo reales, como </a:t>
            </a:r>
            <a:r>
              <a:rPr lang="es-ES" sz="882" b="0" kern="1200" dirty="0" err="1">
                <a:solidFill>
                  <a:schemeClr val="tx1"/>
                </a:solidFill>
                <a:effectLst/>
                <a:latin typeface="Segoe Sans Display" pitchFamily="2" charset="0"/>
                <a:ea typeface="+mn-ea"/>
                <a:cs typeface="+mn-cs"/>
              </a:rPr>
              <a:t>Analyst</a:t>
            </a:r>
            <a:r>
              <a:rPr lang="es-ES" sz="882" b="0" kern="1200" dirty="0">
                <a:solidFill>
                  <a:schemeClr val="tx1"/>
                </a:solidFill>
                <a:effectLst/>
                <a:latin typeface="Segoe Sans Display" pitchFamily="2" charset="0"/>
                <a:ea typeface="+mn-ea"/>
                <a:cs typeface="+mn-cs"/>
              </a:rPr>
              <a:t>. Otros trabajan más cerca del flujo de interacción, como reuniones o contenido. Cada uno está afinado para un tipo de </a:t>
            </a:r>
            <a:r>
              <a:rPr lang="es-ES" sz="882" b="0" kern="1200" dirty="0" err="1">
                <a:solidFill>
                  <a:schemeClr val="tx1"/>
                </a:solidFill>
                <a:effectLst/>
                <a:latin typeface="Segoe Sans Display" pitchFamily="2" charset="0"/>
                <a:ea typeface="+mn-ea"/>
                <a:cs typeface="+mn-cs"/>
              </a:rPr>
              <a:t>workload</a:t>
            </a:r>
            <a:r>
              <a:rPr lang="es-ES" sz="882" b="0" kern="1200" dirty="0">
                <a:solidFill>
                  <a:schemeClr val="tx1"/>
                </a:solidFill>
                <a:effectLst/>
                <a:latin typeface="Segoe Sans Display" pitchFamily="2" charset="0"/>
                <a:ea typeface="+mn-ea"/>
                <a:cs typeface="+mn-cs"/>
              </a:rPr>
              <a:t> distinto. No es casualidad, es diseño. Por debajo están usando el mismo tipo de modelo, pero no se comportan igual porque no están limitados igual. Cambian las fuentes, cambian las reglas, cambia el tipo de inferencia que hacen y cambia hasta dónde pueden llegar antes de devolverte algo. Y eso es lo importante de esta lista. No es que tengas muchas opciones. Es que cada una está pensada para hacer una cosa concreta… sin pedirte permiso. Esto no es una navaja suiza. Es una caja de herramientas donde cada herramienta está diseñada para algo distinto.</a:t>
            </a:r>
            <a:endParaRPr lang="en-US" sz="882" b="1" kern="1200" dirty="0">
              <a:solidFill>
                <a:schemeClr val="tx1"/>
              </a:solidFill>
              <a:effectLst/>
              <a:latin typeface="Segoe Sans Display" pitchFamily="2" charset="0"/>
              <a:ea typeface="+mn-ea"/>
              <a:cs typeface="+mn-cs"/>
            </a:endParaRPr>
          </a:p>
          <a:p>
            <a:endParaRPr lang="en-US" dirty="0"/>
          </a:p>
        </p:txBody>
      </p:sp>
      <p:sp>
        <p:nvSpPr>
          <p:cNvPr id="4" name="Slide Number Placeholder 3">
            <a:extLst>
              <a:ext uri="{FF2B5EF4-FFF2-40B4-BE49-F238E27FC236}">
                <a16:creationId xmlns:a16="http://schemas.microsoft.com/office/drawing/2014/main" id="{88CA6FF6-9038-7AF8-6D44-478C083070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48001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Antes de empezar, quiero recordaros que teneis disponible el sitio web del Centro de clientes. Ahi encontrareis las proximas sesiones, novedades y contenido a demanda. Os animo a que lo visiteis y escaneis el codigo QR que aparece en pantalla para acceder directamente. Es un recurso muy valioso para manteneros al dia con todo lo que vamos lanzand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8638801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Ahora vamos a ver algo muy practico: como encontrar los agentes que realmente os sirven. Porque tener muchas opciones esta muy bien, pero lo importante es saber filtrar y quedarte con lo que de verdad encaja en tu forma de trabajar. Aqui es donde el Agent Store cobra sentido: no es una tienda, es un filtro para que esto no se convierta en un circo de agentes sin control.</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9251602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kern="1200" dirty="0">
                <a:solidFill>
                  <a:schemeClr val="tx1"/>
                </a:solidFill>
                <a:effectLst/>
                <a:latin typeface="Segoe Sans Display" pitchFamily="2" charset="0"/>
                <a:ea typeface="+mn-ea"/>
                <a:cs typeface="+mn-cs"/>
              </a:rPr>
              <a:t>Aquí es donde esto deja de ser divertido. Porque hasta ahora estás viendo agentes… pero en cuanto quieres usarlos en serio, aparece el problema real: hay muchos. Y el Agent Store no es una tienda, es un filtro para que esto no se convierta en un circo. Ahí decides qué agentes existen en tu entorno, quién los usa y qué acceso tienen. Que suena básico… hasta que tienes cinco equipos usando cosas distintas sobre los mismos datos y nadie entiende por qué no cuadran los resultados. Técnicamente, esto es control de superficie: cada agente accede a contexto, ejecuta lógica y genera resultados que alguien va a usar para tomar decisiones. Si no controlas eso, no tienes un ecosistema… tienes ruido a escala. El Store mete orden: lo que entra está validado, lo que se usa está controlado y lo que circula en la organización no es lo primero que alguien montó en una tarde. Porque en cuanto esto crece sin control, pasa lo de siempre: duplicados, inconsistencias y decisiones basadas en cosas que no sabes de dónde han salido. Así que no es un escaparate. Es el sitio que evita que todo esto se convierta en un problema… bastante rápido</a:t>
            </a:r>
            <a:endParaRPr lang="en-US" sz="882" b="1" kern="1200" dirty="0">
              <a:solidFill>
                <a:schemeClr val="tx1"/>
              </a:solidFill>
              <a:effectLst/>
              <a:latin typeface="Segoe Sans Display" pitchFamily="2" charset="0"/>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540143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Entramos ahora en la parte de construccion. Las plantillas son la forma mas rapida de empezar a crear agentes, pero no os dejeis enganar por la simplicidad aparente. Por debajo hay decisiones de diseno bastante serias: el prompt, el alcance del conocimiento, las capacidades habilitadas... todo eso ya viene definido. Y cuando empezais a tocar, entrais en terreno tecnico de verda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7952919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91423-F160-E8D1-D345-B9B41F7CD5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AEED69-99B7-C828-D2E6-6034C67BC9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34D21B-CE48-630A-92E4-73C11C90F652}"/>
              </a:ext>
            </a:extLst>
          </p:cNvPr>
          <p:cNvSpPr>
            <a:spLocks noGrp="1"/>
          </p:cNvSpPr>
          <p:nvPr>
            <p:ph type="body" idx="1"/>
          </p:nvPr>
        </p:nvSpPr>
        <p:spPr/>
        <p:txBody>
          <a:bodyPr/>
          <a:lstStyle/>
          <a:p>
            <a:r>
              <a:rPr lang="es-ES" sz="882" kern="1200" dirty="0">
                <a:solidFill>
                  <a:schemeClr val="tx1"/>
                </a:solidFill>
                <a:effectLst/>
                <a:latin typeface="Segoe Sans Display" pitchFamily="2" charset="0"/>
                <a:ea typeface="+mn-ea"/>
                <a:cs typeface="+mn-cs"/>
              </a:rPr>
              <a:t>Las plantillas parecen rápidas, pero en realidad lo que tienes ahí es un agente ya definido con bastante criterio detrás. No es solo una base para empezar, es un conjunto de decisiones encapsuladas sobre cómo debe comportarse el agente: un </a:t>
            </a:r>
            <a:r>
              <a:rPr lang="es-ES" sz="882" kern="1200" dirty="0" err="1">
                <a:solidFill>
                  <a:schemeClr val="tx1"/>
                </a:solidFill>
                <a:effectLst/>
                <a:latin typeface="Segoe Sans Display" pitchFamily="2" charset="0"/>
                <a:ea typeface="+mn-ea"/>
                <a:cs typeface="+mn-cs"/>
              </a:rPr>
              <a:t>prompt</a:t>
            </a:r>
            <a:r>
              <a:rPr lang="es-ES" sz="882" kern="1200" dirty="0">
                <a:solidFill>
                  <a:schemeClr val="tx1"/>
                </a:solidFill>
                <a:effectLst/>
                <a:latin typeface="Segoe Sans Display" pitchFamily="2" charset="0"/>
                <a:ea typeface="+mn-ea"/>
                <a:cs typeface="+mn-cs"/>
              </a:rPr>
              <a:t> de sistema estructurado con objetivos y restricciones, un esquema de </a:t>
            </a:r>
            <a:r>
              <a:rPr lang="es-ES" sz="882" kern="1200" dirty="0" err="1">
                <a:solidFill>
                  <a:schemeClr val="tx1"/>
                </a:solidFill>
                <a:effectLst/>
                <a:latin typeface="Segoe Sans Display" pitchFamily="2" charset="0"/>
                <a:ea typeface="+mn-ea"/>
                <a:cs typeface="+mn-cs"/>
              </a:rPr>
              <a:t>grounding</a:t>
            </a:r>
            <a:r>
              <a:rPr lang="es-ES" sz="882" kern="1200" dirty="0">
                <a:solidFill>
                  <a:schemeClr val="tx1"/>
                </a:solidFill>
                <a:effectLst/>
                <a:latin typeface="Segoe Sans Display" pitchFamily="2" charset="0"/>
                <a:ea typeface="+mn-ea"/>
                <a:cs typeface="+mn-cs"/>
              </a:rPr>
              <a:t> que define qué fuentes va a usar, un conjunto de capacidades habilitadas y un patrón de interacción bastante acotado. Todo eso hace que el comportamiento sea relativamente estable… mientras no lo toques.</a:t>
            </a:r>
            <a:endParaRPr lang="en-US" sz="882" kern="1200" dirty="0">
              <a:solidFill>
                <a:schemeClr val="tx1"/>
              </a:solidFill>
              <a:effectLst/>
              <a:latin typeface="Segoe Sans Display" pitchFamily="2" charset="0"/>
              <a:ea typeface="+mn-ea"/>
              <a:cs typeface="+mn-cs"/>
            </a:endParaRPr>
          </a:p>
          <a:p>
            <a:r>
              <a:rPr lang="es-ES" sz="882" kern="1200" dirty="0">
                <a:solidFill>
                  <a:schemeClr val="tx1"/>
                </a:solidFill>
                <a:effectLst/>
                <a:latin typeface="Segoe Sans Display" pitchFamily="2" charset="0"/>
                <a:ea typeface="+mn-ea"/>
                <a:cs typeface="+mn-cs"/>
              </a:rPr>
              <a:t>En el momento en que empiezas a modificar la plantilla, entras en terreno técnico de verdad. Cambiar las instrucciones no es cosmético, es alterar cómo el modelo prioriza contexto y resuelve ambigüedad. Tocar el conocimiento no es añadir datos, es cambiar el espacio semántico en el que el agente toma decisiones, con el riesgo de meter ruido sin darte cuenta. Y en cuanto activas capacidades, ya no estás solo generando texto: estás invocando lógica externa, con llamadas, latencias y posibles errores reales.</a:t>
            </a:r>
            <a:endParaRPr lang="en-US" sz="882" kern="1200" dirty="0">
              <a:solidFill>
                <a:schemeClr val="tx1"/>
              </a:solidFill>
              <a:effectLst/>
              <a:latin typeface="Segoe Sans Display" pitchFamily="2" charset="0"/>
              <a:ea typeface="+mn-ea"/>
              <a:cs typeface="+mn-cs"/>
            </a:endParaRPr>
          </a:p>
          <a:p>
            <a:r>
              <a:rPr lang="es-ES" sz="882" kern="1200" dirty="0">
                <a:solidFill>
                  <a:schemeClr val="tx1"/>
                </a:solidFill>
                <a:effectLst/>
                <a:latin typeface="Segoe Sans Display" pitchFamily="2" charset="0"/>
                <a:ea typeface="+mn-ea"/>
                <a:cs typeface="+mn-cs"/>
              </a:rPr>
              <a:t>Todo esto ocurre además dentro de un sistema no determinista, así que no tienes un comportamiento fijo, tienes un rango de comportamiento condicionado por cómo has ajustado cada pieza. Por eso las plantillas funcionan bien al principio: porque operas dentro de un equilibrio que ya está afinado. En cuanto empiezas a tocar sin entender cómo se relacionan esos elementos, aparece ese punto clásico donde antes funcionaba y ahora no sabes muy bien por qué.</a:t>
            </a:r>
            <a:endParaRPr lang="en-US" sz="882" kern="1200" dirty="0">
              <a:solidFill>
                <a:schemeClr val="tx1"/>
              </a:solidFill>
              <a:effectLst/>
              <a:latin typeface="Segoe Sans Display" pitchFamily="2" charset="0"/>
              <a:ea typeface="+mn-ea"/>
              <a:cs typeface="+mn-cs"/>
            </a:endParaRPr>
          </a:p>
          <a:p>
            <a:r>
              <a:rPr lang="es-ES" sz="882" kern="1200" dirty="0">
                <a:solidFill>
                  <a:schemeClr val="tx1"/>
                </a:solidFill>
                <a:effectLst/>
                <a:latin typeface="Segoe Sans Display" pitchFamily="2" charset="0"/>
                <a:ea typeface="+mn-ea"/>
                <a:cs typeface="+mn-cs"/>
              </a:rPr>
              <a:t>Así que más que una forma rápida de construir agentes, las plantillas son una forma bastante eficaz de entender cómo está diseñado uno que funciona. A partir de ahí puedes decidir qué cambias, pero sabiendo que cada ajuste tiene impacto. Porque si no, no estás adaptando una plantilla… estás desconfigurando un sistema sin darte cuenta</a:t>
            </a:r>
            <a:endParaRPr lang="en-US" sz="882" kern="1200" dirty="0">
              <a:solidFill>
                <a:schemeClr val="tx1"/>
              </a:solidFill>
              <a:effectLst/>
              <a:latin typeface="Segoe Sans Display" pitchFamily="2" charset="0"/>
              <a:ea typeface="+mn-ea"/>
              <a:cs typeface="+mn-cs"/>
            </a:endParaRPr>
          </a:p>
          <a:p>
            <a:endParaRPr lang="en-US" dirty="0"/>
          </a:p>
        </p:txBody>
      </p:sp>
      <p:sp>
        <p:nvSpPr>
          <p:cNvPr id="4" name="Header Placeholder 3">
            <a:extLst>
              <a:ext uri="{FF2B5EF4-FFF2-40B4-BE49-F238E27FC236}">
                <a16:creationId xmlns:a16="http://schemas.microsoft.com/office/drawing/2014/main" id="{4F68220F-2AB4-5941-E242-B91E0C13C9B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1215C6D-BC8A-A893-63E3-7FFA1A2F6915}"/>
              </a:ext>
            </a:extLst>
          </p:cNvPr>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a:extLst>
              <a:ext uri="{FF2B5EF4-FFF2-40B4-BE49-F238E27FC236}">
                <a16:creationId xmlns:a16="http://schemas.microsoft.com/office/drawing/2014/main" id="{47FB442C-8C55-593A-73CB-2C2BADB01782}"/>
              </a:ext>
            </a:extLst>
          </p:cNvPr>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a:extLst>
              <a:ext uri="{FF2B5EF4-FFF2-40B4-BE49-F238E27FC236}">
                <a16:creationId xmlns:a16="http://schemas.microsoft.com/office/drawing/2014/main" id="{69A50F65-87F0-B0DC-7ED0-0E649A48460A}"/>
              </a:ext>
            </a:extLst>
          </p:cNvPr>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0971293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35301-7BB2-DAA7-238C-69A8E682D0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311FA8-009D-1C21-199D-F0D0F828F1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245769-B93B-8428-46C1-D1E29F20FCEE}"/>
              </a:ext>
            </a:extLst>
          </p:cNvPr>
          <p:cNvSpPr>
            <a:spLocks noGrp="1"/>
          </p:cNvSpPr>
          <p:nvPr>
            <p:ph type="body" idx="1"/>
          </p:nvPr>
        </p:nvSpPr>
        <p:spPr/>
        <p:txBody>
          <a:bodyPr/>
          <a:lstStyle/>
          <a:p>
            <a:r>
              <a:rPr lang="es-ES" sz="882" b="1" kern="1200" dirty="0">
                <a:solidFill>
                  <a:schemeClr val="tx1"/>
                </a:solidFill>
                <a:effectLst/>
                <a:latin typeface="Segoe Sans Display" pitchFamily="2" charset="0"/>
                <a:ea typeface="+mn-ea"/>
                <a:cs typeface="+mn-cs"/>
              </a:rPr>
              <a:t>Aq</a:t>
            </a:r>
            <a:r>
              <a:rPr lang="es-ES" sz="882" kern="1200" dirty="0">
                <a:solidFill>
                  <a:schemeClr val="tx1"/>
                </a:solidFill>
                <a:effectLst/>
                <a:latin typeface="Segoe Sans Display" pitchFamily="2" charset="0"/>
                <a:ea typeface="+mn-ea"/>
                <a:cs typeface="+mn-cs"/>
              </a:rPr>
              <a:t>uí es donde dejas el PowerPoint y empiezas a trastear con algo que responde.</a:t>
            </a:r>
            <a:r>
              <a:rPr lang="es-ES" sz="882" b="1" kern="1200" dirty="0">
                <a:solidFill>
                  <a:schemeClr val="tx1"/>
                </a:solidFill>
                <a:effectLst/>
                <a:latin typeface="Segoe Sans Display" pitchFamily="2" charset="0"/>
                <a:ea typeface="+mn-ea"/>
                <a:cs typeface="+mn-cs"/>
              </a:rPr>
              <a:t> </a:t>
            </a:r>
            <a:r>
              <a:rPr lang="es-ES" sz="882" kern="1200" dirty="0">
                <a:solidFill>
                  <a:schemeClr val="tx1"/>
                </a:solidFill>
                <a:effectLst/>
                <a:latin typeface="Segoe Sans Display" pitchFamily="2" charset="0"/>
                <a:ea typeface="+mn-ea"/>
                <a:cs typeface="+mn-cs"/>
              </a:rPr>
              <a:t>Te dicen que eliges plantilla, personalizas, pruebas y compartes…</a:t>
            </a:r>
            <a:r>
              <a:rPr lang="es-ES" sz="882" b="1" kern="1200" dirty="0">
                <a:solidFill>
                  <a:schemeClr val="tx1"/>
                </a:solidFill>
                <a:effectLst/>
                <a:latin typeface="Segoe Sans Display" pitchFamily="2" charset="0"/>
                <a:ea typeface="+mn-ea"/>
                <a:cs typeface="+mn-cs"/>
              </a:rPr>
              <a:t> (ya os digo yo que no) </a:t>
            </a:r>
            <a:r>
              <a:rPr lang="es-ES" sz="882" kern="1200" dirty="0">
                <a:solidFill>
                  <a:schemeClr val="tx1"/>
                </a:solidFill>
                <a:effectLst/>
                <a:latin typeface="Segoe Sans Display" pitchFamily="2" charset="0"/>
                <a:ea typeface="+mn-ea"/>
                <a:cs typeface="+mn-cs"/>
              </a:rPr>
              <a:t>Porque cada vez que cambias algo estás tocando tres cosas a la vez: Tocas instrucciones y cambias cómo el modelo interpreta lo que le pides, tocas el conocimiento y cambias el contexto en el que toma decisiones, tocas capacidades y cambias lo que puede ejecutar.. Y eso no es modular. Se mezcla, se pisa y a veces te devuelve algo que no tiene nada que ver con lo que tenías en la cabeza.</a:t>
            </a:r>
            <a:br>
              <a:rPr lang="es-ES" sz="882" b="1"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La diferencia es que aquí el sistema te contesta al momento. No hay esperas. Tocas, pruebas y ves el resultado. Y así, a base de insistir, empiezas a ver qué manda de verdad y qué no pinta nada.</a:t>
            </a:r>
            <a:r>
              <a:rPr lang="es-ES" sz="882" b="1" kern="1200" dirty="0">
                <a:solidFill>
                  <a:schemeClr val="tx1"/>
                </a:solidFill>
                <a:effectLst/>
                <a:latin typeface="Segoe Sans Display" pitchFamily="2" charset="0"/>
                <a:ea typeface="+mn-ea"/>
                <a:cs typeface="+mn-cs"/>
              </a:rPr>
              <a:t> </a:t>
            </a:r>
            <a:r>
              <a:rPr lang="es-ES" sz="882" kern="1200" dirty="0">
                <a:solidFill>
                  <a:schemeClr val="tx1"/>
                </a:solidFill>
                <a:effectLst/>
                <a:latin typeface="Segoe Sans Display" pitchFamily="2" charset="0"/>
                <a:ea typeface="+mn-ea"/>
                <a:cs typeface="+mn-cs"/>
              </a:rPr>
              <a:t>Al principio vas a ciegas.</a:t>
            </a:r>
            <a:r>
              <a:rPr lang="es-ES" sz="882" b="1" kern="1200" dirty="0">
                <a:solidFill>
                  <a:schemeClr val="tx1"/>
                </a:solidFill>
                <a:effectLst/>
                <a:latin typeface="Segoe Sans Display" pitchFamily="2" charset="0"/>
                <a:ea typeface="+mn-ea"/>
                <a:cs typeface="+mn-cs"/>
              </a:rPr>
              <a:t> </a:t>
            </a:r>
            <a:r>
              <a:rPr lang="es-ES" sz="882" kern="1200" dirty="0">
                <a:solidFill>
                  <a:schemeClr val="tx1"/>
                </a:solidFill>
                <a:effectLst/>
                <a:latin typeface="Segoe Sans Display" pitchFamily="2" charset="0"/>
                <a:ea typeface="+mn-ea"/>
                <a:cs typeface="+mn-cs"/>
              </a:rPr>
              <a:t>Y en algún punto ya no estás probando… estás controlando bastante más de lo que parece.</a:t>
            </a:r>
            <a:r>
              <a:rPr lang="es-ES" sz="882" b="1" kern="1200" dirty="0">
                <a:solidFill>
                  <a:schemeClr val="tx1"/>
                </a:solidFill>
                <a:effectLst/>
                <a:latin typeface="Segoe Sans Display" pitchFamily="2" charset="0"/>
                <a:ea typeface="+mn-ea"/>
                <a:cs typeface="+mn-cs"/>
              </a:rPr>
              <a:t> </a:t>
            </a:r>
            <a:r>
              <a:rPr lang="es-ES" sz="882" kern="1200" dirty="0">
                <a:solidFill>
                  <a:schemeClr val="tx1"/>
                </a:solidFill>
                <a:effectLst/>
                <a:latin typeface="Segoe Sans Display" pitchFamily="2" charset="0"/>
                <a:ea typeface="+mn-ea"/>
                <a:cs typeface="+mn-cs"/>
              </a:rPr>
              <a:t>Y ahí es cuando deja de ser un juguete…</a:t>
            </a:r>
            <a:r>
              <a:rPr lang="es-ES" sz="882" b="1" kern="1200" dirty="0">
                <a:solidFill>
                  <a:schemeClr val="tx1"/>
                </a:solidFill>
                <a:effectLst/>
                <a:latin typeface="Segoe Sans Display" pitchFamily="2" charset="0"/>
                <a:ea typeface="+mn-ea"/>
                <a:cs typeface="+mn-cs"/>
              </a:rPr>
              <a:t> </a:t>
            </a:r>
            <a:r>
              <a:rPr lang="es-ES" sz="882" kern="1200" dirty="0">
                <a:solidFill>
                  <a:schemeClr val="tx1"/>
                </a:solidFill>
                <a:effectLst/>
                <a:latin typeface="Segoe Sans Display" pitchFamily="2" charset="0"/>
                <a:ea typeface="+mn-ea"/>
                <a:cs typeface="+mn-cs"/>
              </a:rPr>
              <a:t>y empieza a ser algo al que le puedes pedir cosas sin que te haga quedar mal</a:t>
            </a:r>
            <a:endParaRPr lang="en-US" dirty="0">
              <a:latin typeface="Calibri"/>
              <a:ea typeface="Calibri"/>
              <a:cs typeface="Calibri"/>
            </a:endParaRPr>
          </a:p>
        </p:txBody>
      </p:sp>
      <p:sp>
        <p:nvSpPr>
          <p:cNvPr id="4" name="Header Placeholder 3">
            <a:extLst>
              <a:ext uri="{FF2B5EF4-FFF2-40B4-BE49-F238E27FC236}">
                <a16:creationId xmlns:a16="http://schemas.microsoft.com/office/drawing/2014/main" id="{642D60D2-CFF5-D8F5-413B-67374D09440B}"/>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795B3CBD-22FC-F2A7-F66C-467D5C23B278}"/>
              </a:ext>
            </a:extLst>
          </p:cNvPr>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a:extLst>
              <a:ext uri="{FF2B5EF4-FFF2-40B4-BE49-F238E27FC236}">
                <a16:creationId xmlns:a16="http://schemas.microsoft.com/office/drawing/2014/main" id="{87CBDFC9-994D-5D10-AA73-B3257531C266}"/>
              </a:ext>
            </a:extLst>
          </p:cNvPr>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a:extLst>
              <a:ext uri="{FF2B5EF4-FFF2-40B4-BE49-F238E27FC236}">
                <a16:creationId xmlns:a16="http://schemas.microsoft.com/office/drawing/2014/main" id="{37F611C4-525E-4645-C430-6AAB46EDE38F}"/>
              </a:ext>
            </a:extLst>
          </p:cNvPr>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5929821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7B275-A748-8D91-7509-9935E0C090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20B5D2-8F7E-D955-A979-4ADC2D6E35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6DE39F-3973-4527-9213-A768C719EBFD}"/>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kern="1200" dirty="0">
                <a:solidFill>
                  <a:schemeClr val="tx1"/>
                </a:solidFill>
                <a:effectLst/>
                <a:latin typeface="Segoe Sans Display" pitchFamily="2" charset="0"/>
                <a:ea typeface="+mn-ea"/>
                <a:cs typeface="+mn-cs"/>
              </a:rPr>
              <a:t>Permitidme que me ponga un poco tremendista. Aquí es donde muchos agentes empiezan a irse a la por los cerros de Úbeda… y no es por el modelo. Os lo digo porque lo he sufrido en mis carnes. Es por cómo están configurados. Un agente son cuatro piezas: </a:t>
            </a:r>
            <a:r>
              <a:rPr lang="es-ES" sz="882" b="1" kern="1200" dirty="0">
                <a:solidFill>
                  <a:schemeClr val="tx1"/>
                </a:solidFill>
                <a:effectLst/>
                <a:latin typeface="Segoe Sans Display" pitchFamily="2" charset="0"/>
                <a:ea typeface="+mn-ea"/>
                <a:cs typeface="+mn-cs"/>
              </a:rPr>
              <a:t>instrucciones, conocimiento, capacidades e interacción</a:t>
            </a:r>
            <a:r>
              <a:rPr lang="es-ES" sz="882" kern="1200" dirty="0">
                <a:solidFill>
                  <a:schemeClr val="tx1"/>
                </a:solidFill>
                <a:effectLst/>
                <a:latin typeface="Segoe Sans Display" pitchFamily="2" charset="0"/>
                <a:ea typeface="+mn-ea"/>
                <a:cs typeface="+mn-cs"/>
              </a:rPr>
              <a:t>.</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Y el problema es que aquí no vale hacerlo “más o menos bien”.</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Si las </a:t>
            </a:r>
            <a:r>
              <a:rPr lang="es-ES" sz="882" b="1" kern="1200" dirty="0">
                <a:solidFill>
                  <a:schemeClr val="tx1"/>
                </a:solidFill>
                <a:effectLst/>
                <a:latin typeface="Segoe Sans Display" pitchFamily="2" charset="0"/>
                <a:ea typeface="+mn-ea"/>
                <a:cs typeface="+mn-cs"/>
              </a:rPr>
              <a:t>instrucciones</a:t>
            </a:r>
            <a:r>
              <a:rPr lang="es-ES" sz="882" kern="1200" dirty="0">
                <a:solidFill>
                  <a:schemeClr val="tx1"/>
                </a:solidFill>
                <a:effectLst/>
                <a:latin typeface="Segoe Sans Display" pitchFamily="2" charset="0"/>
                <a:ea typeface="+mn-ea"/>
                <a:cs typeface="+mn-cs"/>
              </a:rPr>
              <a:t> están flojas, el agente improvisa.</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Si el </a:t>
            </a:r>
            <a:r>
              <a:rPr lang="es-ES" sz="882" b="1" kern="1200" dirty="0">
                <a:solidFill>
                  <a:schemeClr val="tx1"/>
                </a:solidFill>
                <a:effectLst/>
                <a:latin typeface="Segoe Sans Display" pitchFamily="2" charset="0"/>
                <a:ea typeface="+mn-ea"/>
                <a:cs typeface="+mn-cs"/>
              </a:rPr>
              <a:t>conocimiento</a:t>
            </a:r>
            <a:r>
              <a:rPr lang="es-ES" sz="882" kern="1200" dirty="0">
                <a:solidFill>
                  <a:schemeClr val="tx1"/>
                </a:solidFill>
                <a:effectLst/>
                <a:latin typeface="Segoe Sans Display" pitchFamily="2" charset="0"/>
                <a:ea typeface="+mn-ea"/>
                <a:cs typeface="+mn-cs"/>
              </a:rPr>
              <a:t> es ruido, el agente se contamina.</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Si las </a:t>
            </a:r>
            <a:r>
              <a:rPr lang="es-ES" sz="882" b="1" kern="1200" dirty="0">
                <a:solidFill>
                  <a:schemeClr val="tx1"/>
                </a:solidFill>
                <a:effectLst/>
                <a:latin typeface="Segoe Sans Display" pitchFamily="2" charset="0"/>
                <a:ea typeface="+mn-ea"/>
                <a:cs typeface="+mn-cs"/>
              </a:rPr>
              <a:t>capacidades</a:t>
            </a:r>
            <a:r>
              <a:rPr lang="es-ES" sz="882" kern="1200" dirty="0">
                <a:solidFill>
                  <a:schemeClr val="tx1"/>
                </a:solidFill>
                <a:effectLst/>
                <a:latin typeface="Segoe Sans Display" pitchFamily="2" charset="0"/>
                <a:ea typeface="+mn-ea"/>
                <a:cs typeface="+mn-cs"/>
              </a:rPr>
              <a:t> no están acotadas, empieza a ejecutar cosas que no debería.</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Y si no controlas cómo interactúa el usuario… le meten inputs que no esperabas y se va por otro lado. Y ahora os hago una pregunta rápida, sin levantar la mano: ¿Cuántos habéis probado un agente y en el minuto dos habéis dicho:</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vale… esto no hace exactamente lo que esperaba’?</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Exacto. </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Eso no es el modelo.</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Eso es configuración.</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Aquí no hay interpretación artística:</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es un sistema donde cada pieza tiene que estar bien cerrada. Porque si una falla… no falla un poco. Falla todo lo demás con bastante entusiasmo.</a:t>
            </a:r>
            <a:endParaRPr lang="en-US" sz="882" kern="1200" dirty="0">
              <a:solidFill>
                <a:schemeClr val="tx1"/>
              </a:solidFill>
              <a:effectLst/>
              <a:latin typeface="Segoe Sans Display" pitchFamily="2" charset="0"/>
              <a:ea typeface="+mn-ea"/>
              <a:cs typeface="+mn-cs"/>
            </a:endParaRPr>
          </a:p>
          <a:p>
            <a:endParaRPr lang="en-US" b="1" dirty="0"/>
          </a:p>
        </p:txBody>
      </p:sp>
      <p:sp>
        <p:nvSpPr>
          <p:cNvPr id="4" name="Slide Number Placeholder 3">
            <a:extLst>
              <a:ext uri="{FF2B5EF4-FFF2-40B4-BE49-F238E27FC236}">
                <a16:creationId xmlns:a16="http://schemas.microsoft.com/office/drawing/2014/main" id="{A9BF7F92-25E5-2BE6-DB62-4854C5C531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CF901-0983-4D47-BE4C-9E07E1C79155}"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119209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6B7CA-1CD3-4EA2-D901-0748B2AEE9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61163A-1DD3-CB07-B871-8C928E985C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EE9F03-2BDB-FA84-A32A-C9AA50956D13}"/>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kern="1200" dirty="0">
                <a:solidFill>
                  <a:schemeClr val="tx1"/>
                </a:solidFill>
                <a:effectLst/>
                <a:latin typeface="Segoe Sans Display" pitchFamily="2" charset="0"/>
                <a:ea typeface="+mn-ea"/>
                <a:cs typeface="+mn-cs"/>
              </a:rPr>
              <a:t>En esta fase es donde normalmente el agente se desmadra… y no es culpa suya, es nuestra. Las instrucciones son el contrato de comportamiento, sí, pero también son el sitio donde más fácil es meter ambigüedad sin darte cuenta. Tú crees que has sido claro… y en realidad le has dejado tres caminos abiertos y ninguno bien definido. Técnicamente, aquí estás definiendo cómo prioriza contexto, cómo resuelve ambigüedad y qué considera una respuesta válida. Y si eso no está bien acotado, el modelo hace lo que mejor sabe hacer: </a:t>
            </a:r>
            <a:r>
              <a:rPr lang="es-ES" sz="882" b="1" kern="1200" dirty="0">
                <a:solidFill>
                  <a:schemeClr val="tx1"/>
                </a:solidFill>
                <a:effectLst/>
                <a:latin typeface="Segoe Sans Display" pitchFamily="2" charset="0"/>
                <a:ea typeface="+mn-ea"/>
                <a:cs typeface="+mn-cs"/>
              </a:rPr>
              <a:t>rellenar huecos con creatividad</a:t>
            </a:r>
            <a:r>
              <a:rPr lang="es-ES" sz="882" kern="1200" dirty="0">
                <a:solidFill>
                  <a:schemeClr val="tx1"/>
                </a:solidFill>
                <a:effectLst/>
                <a:latin typeface="Segoe Sans Display" pitchFamily="2" charset="0"/>
                <a:ea typeface="+mn-ea"/>
                <a:cs typeface="+mn-cs"/>
              </a:rPr>
              <a:t>. Que está muy bien para escribir una historia… pero es justo lo que no quieres en un proceso de negocio.</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Y aquí viene el golpe de realidad: cuanto más vagas son las instrucciones, más “listo” parece el agente… y más probabilidades tienes de que en el momento crítico te cuente una historia perfectamente coherente… y perfectamente equivocada. La buena noticia es que esto es controlable. No necesitas escribir mejor, necesitas </a:t>
            </a:r>
            <a:r>
              <a:rPr lang="es-ES" sz="882" b="1" kern="1200" dirty="0">
                <a:solidFill>
                  <a:schemeClr val="tx1"/>
                </a:solidFill>
                <a:effectLst/>
                <a:latin typeface="Segoe Sans Display" pitchFamily="2" charset="0"/>
                <a:ea typeface="+mn-ea"/>
                <a:cs typeface="+mn-cs"/>
              </a:rPr>
              <a:t>cerrar mejor</a:t>
            </a:r>
            <a:r>
              <a:rPr lang="es-ES" sz="882" kern="1200" dirty="0">
                <a:solidFill>
                  <a:schemeClr val="tx1"/>
                </a:solidFill>
                <a:effectLst/>
                <a:latin typeface="Segoe Sans Display" pitchFamily="2" charset="0"/>
                <a:ea typeface="+mn-ea"/>
                <a:cs typeface="+mn-cs"/>
              </a:rPr>
              <a:t>: objetivos claros, límites claros y menos margen para interpretación. En cuanto haces eso, el agente deja de ponerse creativo donde no debe… y empieza a comportarse como un sistema, no como un poeta inspirado</a:t>
            </a:r>
            <a:endParaRPr lang="en-US" sz="882" kern="1200" dirty="0">
              <a:solidFill>
                <a:schemeClr val="tx1"/>
              </a:solidFill>
              <a:effectLst/>
              <a:latin typeface="Segoe Sans Display" pitchFamily="2" charset="0"/>
              <a:ea typeface="+mn-ea"/>
              <a:cs typeface="+mn-cs"/>
            </a:endParaRPr>
          </a:p>
          <a:p>
            <a:endParaRPr lang="en-US" dirty="0"/>
          </a:p>
        </p:txBody>
      </p:sp>
      <p:sp>
        <p:nvSpPr>
          <p:cNvPr id="7" name="Slide Number Placeholder 6">
            <a:extLst>
              <a:ext uri="{FF2B5EF4-FFF2-40B4-BE49-F238E27FC236}">
                <a16:creationId xmlns:a16="http://schemas.microsoft.com/office/drawing/2014/main" id="{9974A85E-BBE1-7018-D3AF-CF0D0ABC53E4}"/>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Date Placeholder 10">
            <a:extLst>
              <a:ext uri="{FF2B5EF4-FFF2-40B4-BE49-F238E27FC236}">
                <a16:creationId xmlns:a16="http://schemas.microsoft.com/office/drawing/2014/main" id="{1DB52775-2F4A-609C-209F-CB2710E541F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FBCFFA-9B06-4A63-A22F-3E29B68646D7}"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26 9:28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 name="Footer Placeholder 3">
            <a:extLst>
              <a:ext uri="{FF2B5EF4-FFF2-40B4-BE49-F238E27FC236}">
                <a16:creationId xmlns:a16="http://schemas.microsoft.com/office/drawing/2014/main" id="{82D2BB1A-AD99-9854-B9E8-955BD351B9FB}"/>
              </a:ext>
            </a:extLst>
          </p:cNvPr>
          <p:cNvSpPr>
            <a:spLocks noGrp="1"/>
          </p:cNvSpPr>
          <p:nvPr>
            <p:ph type="ftr" sz="quarter" idx="15"/>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s-e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OFRECE GARANTÍAS, YA SEAN EXPRESAS, IMPLÍCITAS O PREVISTAS POR LA LEY, CON RESPECTO A LA INFORMACIÓN DE ESTA PRESENTACIÓN.</a:t>
            </a:r>
          </a:p>
        </p:txBody>
      </p:sp>
      <p:sp>
        <p:nvSpPr>
          <p:cNvPr id="5" name="Header Placeholder 4">
            <a:extLst>
              <a:ext uri="{FF2B5EF4-FFF2-40B4-BE49-F238E27FC236}">
                <a16:creationId xmlns:a16="http://schemas.microsoft.com/office/drawing/2014/main" id="{7E2305A9-48EA-472B-E453-815B46469DC8}"/>
              </a:ext>
            </a:extLst>
          </p:cNvPr>
          <p:cNvSpPr>
            <a:spLocks noGrp="1"/>
          </p:cNvSpPr>
          <p:nvPr>
            <p:ph type="hd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376578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C0343-2245-AC13-CAC4-A20FAE89E2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8A67D2-A1F6-92CB-F0AC-EE1AC082F4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5AA1B2-DE26-33F3-0E2A-F2C109654404}"/>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kern="1200" dirty="0">
                <a:solidFill>
                  <a:schemeClr val="tx1"/>
                </a:solidFill>
                <a:effectLst/>
                <a:latin typeface="Segoe Sans Display" pitchFamily="2" charset="0"/>
                <a:ea typeface="+mn-ea"/>
                <a:cs typeface="+mn-cs"/>
              </a:rPr>
              <a:t>No hace falta que os aprendáis ninguna metodología rara para escribir instrucciones. Esto no es un examen. Pero sí hay tres cosas que, si no hacéis, el agente se os va a subir a la chepa bastante rápido. La primera: si no le dices exactamente qué es y para qué existe, te contesta como un asistente genérico. Y eso vale para todo… y por tanto no vale para nada. La segunda: si no le marcas límites claros, se pone creativo. Y cuando se pone creativo sin contexto suficiente, empieza a rellenar huecos con confianza. Que es precioso… hasta que no cuadra nada. Y la tercera: si no le defines cómo quieres la salida, cada respuesta es distinta. Un día te da algo útil y otro día te da algo que parece hecho para otra persona. Y ya está. No hay misterio. Objetivo claro, límites claros y salida clara. Todo lo demás es ruido… y cuanto más ruido, más probabilidades de que el agente haga algo que técnicamente es correcto… pero a ti no te sirve para absolutamente nada.</a:t>
            </a:r>
            <a:endParaRPr lang="en-US" sz="882" b="1" kern="1200" dirty="0">
              <a:solidFill>
                <a:schemeClr val="tx1"/>
              </a:solidFill>
              <a:effectLst/>
              <a:latin typeface="Segoe Sans Display" pitchFamily="2" charset="0"/>
              <a:ea typeface="+mn-ea"/>
              <a:cs typeface="+mn-cs"/>
            </a:endParaRPr>
          </a:p>
          <a:p>
            <a:endParaRPr lang="en-US" dirty="0"/>
          </a:p>
        </p:txBody>
      </p:sp>
      <p:sp>
        <p:nvSpPr>
          <p:cNvPr id="7" name="Slide Number Placeholder 6">
            <a:extLst>
              <a:ext uri="{FF2B5EF4-FFF2-40B4-BE49-F238E27FC236}">
                <a16:creationId xmlns:a16="http://schemas.microsoft.com/office/drawing/2014/main" id="{621914A6-A7C2-9B6B-0512-3018E87B337A}"/>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Date Placeholder 10">
            <a:extLst>
              <a:ext uri="{FF2B5EF4-FFF2-40B4-BE49-F238E27FC236}">
                <a16:creationId xmlns:a16="http://schemas.microsoft.com/office/drawing/2014/main" id="{A7D325B6-A61D-5128-7A88-07DE53056639}"/>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FBCFFA-9B06-4A63-A22F-3E29B68646D7}"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26 9:28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 name="Footer Placeholder 3">
            <a:extLst>
              <a:ext uri="{FF2B5EF4-FFF2-40B4-BE49-F238E27FC236}">
                <a16:creationId xmlns:a16="http://schemas.microsoft.com/office/drawing/2014/main" id="{A3E7B3BF-26F6-5014-75B6-0880393FD09A}"/>
              </a:ext>
            </a:extLst>
          </p:cNvPr>
          <p:cNvSpPr>
            <a:spLocks noGrp="1"/>
          </p:cNvSpPr>
          <p:nvPr>
            <p:ph type="ftr" sz="quarter" idx="15"/>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s-e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OFRECE GARANTÍAS, YA SEAN EXPRESAS, IMPLÍCITAS O PREVISTAS POR LA LEY, CON RESPECTO A LA INFORMACIÓN DE ESTA PRESENTACIÓN.</a:t>
            </a:r>
          </a:p>
        </p:txBody>
      </p:sp>
      <p:sp>
        <p:nvSpPr>
          <p:cNvPr id="5" name="Header Placeholder 4">
            <a:extLst>
              <a:ext uri="{FF2B5EF4-FFF2-40B4-BE49-F238E27FC236}">
                <a16:creationId xmlns:a16="http://schemas.microsoft.com/office/drawing/2014/main" id="{673C9D12-5A12-EF3B-395A-7CF15A65F6A5}"/>
              </a:ext>
            </a:extLst>
          </p:cNvPr>
          <p:cNvSpPr>
            <a:spLocks noGrp="1"/>
          </p:cNvSpPr>
          <p:nvPr>
            <p:ph type="hd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880954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Pasamos ahora a los ejemplos de agentes. Aqui ya no estamos viendo la mecanica de como se construye un agente, sino como se usa para resolver problemas reales. Los ejemplos vienen con el problema ya modelado: objetivo claro, contexto definido, tipo de salida controlado. Es donde dejas de pensar en que hace el agente y empiezas a pensar en que problema estas encapsuland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35049933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105D9-E37E-E512-CD5D-21A1760D2D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004E6A-93A9-C848-AC38-358219A9A1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3F3975-F788-E090-1D4C-90DD63460453}"/>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kern="1200" dirty="0">
                <a:solidFill>
                  <a:schemeClr val="tx1"/>
                </a:solidFill>
                <a:effectLst/>
                <a:latin typeface="Segoe Sans Display" pitchFamily="2" charset="0"/>
                <a:ea typeface="+mn-ea"/>
                <a:cs typeface="+mn-cs"/>
              </a:rPr>
              <a:t>Aquí pasas de ver cómo se construye un agente… a ver cómo se usa para algo que existe fuera del PowerPoint. Las plantillas te enseñan la mecánica.</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Los ejemplos ya vienen con el problema modelado: objetivo claro, contexto definido, tipo de salida bastante controlado y un flujo de interacción que tiene sentido en un escenario real. Y eso se nota técnicamente. No estás tocando piezas sueltas, estás viendo cómo se combinan: cómo se estructura el contexto, cómo se condiciona la respuesta y hasta dónde se deja al modelo decidir sin que se desmadre. Aquí es donde cambia la cabeza. Dejas de pensar en “qué hace el agente”… y empiezas a pensar en “qué problema estoy encapsulando y con qué límites”. Algunos ejemplos encajan tal cual. Otros te duran cinco minutos antes de que veas por dónde no van. Pero ese no es el punto. El punto es que aquí ya no estás probando capacidades. Estás viendo cómo se empaqueta un caso real… y hasta dónde aguanta antes de que tengas que meter mano</a:t>
            </a:r>
            <a:endParaRPr lang="en-US" sz="882" kern="1200" dirty="0">
              <a:solidFill>
                <a:schemeClr val="tx1"/>
              </a:solidFill>
              <a:effectLst/>
              <a:latin typeface="Segoe Sans Display" pitchFamily="2" charset="0"/>
              <a:ea typeface="+mn-ea"/>
              <a:cs typeface="+mn-cs"/>
            </a:endParaRPr>
          </a:p>
          <a:p>
            <a:endParaRPr lang="en-US" dirty="0"/>
          </a:p>
        </p:txBody>
      </p:sp>
      <p:sp>
        <p:nvSpPr>
          <p:cNvPr id="4" name="Header Placeholder 3">
            <a:extLst>
              <a:ext uri="{FF2B5EF4-FFF2-40B4-BE49-F238E27FC236}">
                <a16:creationId xmlns:a16="http://schemas.microsoft.com/office/drawing/2014/main" id="{B1CFDCD6-92E8-ABD2-F58A-8DDD37C7B745}"/>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E7F3B12C-BCD8-2F15-DB8D-2F4ED4D4C58D}"/>
              </a:ext>
            </a:extLst>
          </p:cNvPr>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a:extLst>
              <a:ext uri="{FF2B5EF4-FFF2-40B4-BE49-F238E27FC236}">
                <a16:creationId xmlns:a16="http://schemas.microsoft.com/office/drawing/2014/main" id="{3BC24357-3CFF-34FE-8017-A1927E0FCB7D}"/>
              </a:ext>
            </a:extLst>
          </p:cNvPr>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a:extLst>
              <a:ext uri="{FF2B5EF4-FFF2-40B4-BE49-F238E27FC236}">
                <a16:creationId xmlns:a16="http://schemas.microsoft.com/office/drawing/2014/main" id="{1385CDC4-3E7D-AD8A-8E4B-8237A8763523}"/>
              </a:ext>
            </a:extLst>
          </p:cNvPr>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19096741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Un par de cosas logisticas rapidas. Durante la presentacion, vamos a silenciar los microfonos para que todo fluya bien. Si quereis hacer preguntas, usad el chat de Q&amp;A, que iremos respondiendo a todas, ya sea en directo o despues de la sesion. Cuando lleguemos a la parte de preguntas abiertas, levantad la mano y os daremos la palabra para que activeis el microfono. Asi nos aseguramos de que todo el mundo pueda participar sin problema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1688289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kern="1200" dirty="0">
                <a:solidFill>
                  <a:schemeClr val="tx1"/>
                </a:solidFill>
                <a:effectLst/>
                <a:latin typeface="Segoe Sans Display" pitchFamily="2" charset="0"/>
                <a:ea typeface="+mn-ea"/>
                <a:cs typeface="+mn-cs"/>
              </a:rPr>
              <a:t>En el enlace tenéis varios ejemplos en vídeo de cómo configurar e instruir a vuestro propio agente</a:t>
            </a:r>
            <a:endParaRPr lang="en-US" sz="882" b="1" kern="1200" dirty="0">
              <a:solidFill>
                <a:schemeClr val="tx1"/>
              </a:solidFill>
              <a:effectLst/>
              <a:latin typeface="Segoe Sans Display" pitchFamily="2" charset="0"/>
              <a:ea typeface="+mn-ea"/>
              <a:cs typeface="+mn-cs"/>
            </a:endParaRPr>
          </a:p>
          <a:p>
            <a:endParaRPr lang="en-IN"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8508469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D8F3E0-06F8-6998-4EC8-602A3AB209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4754D5-4C25-40EE-529A-77D10AEFAD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D753FF-50AD-9517-6CA7-2DA2E11EAF03}"/>
              </a:ext>
            </a:extLst>
          </p:cNvPr>
          <p:cNvSpPr>
            <a:spLocks noGrp="1"/>
          </p:cNvSpPr>
          <p:nvPr>
            <p:ph type="body" idx="1"/>
          </p:nvPr>
        </p:nvSpPr>
        <p:spPr/>
        <p:txBody>
          <a:bodyPr/>
          <a:lstStyle/>
          <a:p>
            <a:r>
              <a:rPr lang="es-ES" sz="882" kern="1200" dirty="0">
                <a:solidFill>
                  <a:schemeClr val="tx1"/>
                </a:solidFill>
                <a:effectLst/>
                <a:latin typeface="Segoe Sans Display" pitchFamily="2" charset="0"/>
                <a:ea typeface="+mn-ea"/>
                <a:cs typeface="+mn-cs"/>
              </a:rPr>
              <a:t>Aquí no partes de una plantilla, partes de algo que ya tiene lógica de negocio metida. Y eso cambia el juego, porque ya no estás inventando el comportamiento… estás metiendo mano a algo que ya hace cosas concretas. Tocas las mismas piezas que antes —instrucciones, contexto, capacidades— pero ahora cualquier cambio se nota más. No estás ajustando un genérico, estás alterando un flujo que ya tenía sentido. Quitas una condición y el agente deja de cubrir un caso. Metes otra fuente y empieza a mezclar cosas que antes tenía controladas.</a:t>
            </a:r>
            <a:br>
              <a:rPr lang="es-ES" sz="882" kern="1200" dirty="0">
                <a:solidFill>
                  <a:schemeClr val="tx1"/>
                </a:solidFill>
                <a:effectLst/>
                <a:latin typeface="Segoe Sans Display" pitchFamily="2" charset="0"/>
                <a:ea typeface="+mn-ea"/>
                <a:cs typeface="+mn-cs"/>
              </a:rPr>
            </a:br>
            <a:r>
              <a:rPr lang="es-ES" sz="882" kern="1200" dirty="0">
                <a:solidFill>
                  <a:schemeClr val="tx1"/>
                </a:solidFill>
                <a:effectLst/>
                <a:latin typeface="Segoe Sans Display" pitchFamily="2" charset="0"/>
                <a:ea typeface="+mn-ea"/>
                <a:cs typeface="+mn-cs"/>
              </a:rPr>
              <a:t>Ajustas el output y de repente ya no encaja con cómo se usa después. Esto es menos “voy a ver qué pasa” y más “voy a ver qué he roto”.</a:t>
            </a:r>
            <a:endParaRPr lang="en-US" sz="882" kern="1200" dirty="0">
              <a:solidFill>
                <a:schemeClr val="tx1"/>
              </a:solidFill>
              <a:effectLst/>
              <a:latin typeface="Segoe Sans Display" pitchFamily="2" charset="0"/>
              <a:ea typeface="+mn-ea"/>
              <a:cs typeface="+mn-cs"/>
            </a:endParaRPr>
          </a:p>
          <a:p>
            <a:r>
              <a:rPr lang="es-ES" sz="882" kern="1200" dirty="0">
                <a:solidFill>
                  <a:schemeClr val="tx1"/>
                </a:solidFill>
                <a:effectLst/>
                <a:latin typeface="Segoe Sans Display" pitchFamily="2" charset="0"/>
                <a:ea typeface="+mn-ea"/>
                <a:cs typeface="+mn-cs"/>
              </a:rPr>
              <a:t>Pero también aprendes más rápido. Porque aquí no estás diseñando… estás afinando algo que ya estaba vivo. Y cuando algo ya estaba vivo, cada ajuste tiene consecuencias reales, no teóricas. Así que sí, es más sensible… pero también es donde empiezas a entender de verdad qué narices estás tocando.</a:t>
            </a:r>
            <a:endParaRPr lang="en-US" sz="882" kern="1200" dirty="0">
              <a:solidFill>
                <a:schemeClr val="tx1"/>
              </a:solidFill>
              <a:effectLst/>
              <a:latin typeface="Segoe Sans Display" pitchFamily="2" charset="0"/>
              <a:ea typeface="+mn-ea"/>
              <a:cs typeface="+mn-cs"/>
            </a:endParaRPr>
          </a:p>
          <a:p>
            <a:endParaRPr lang="en-US" dirty="0"/>
          </a:p>
        </p:txBody>
      </p:sp>
      <p:sp>
        <p:nvSpPr>
          <p:cNvPr id="4" name="Header Placeholder 3">
            <a:extLst>
              <a:ext uri="{FF2B5EF4-FFF2-40B4-BE49-F238E27FC236}">
                <a16:creationId xmlns:a16="http://schemas.microsoft.com/office/drawing/2014/main" id="{48E735BF-8A33-DD71-D0D6-779DEAA33E3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F0903750-5528-8170-48DD-AD81B2A0272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s-e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Todos los derechos reservados. MICROSOFT NO OFRECE GARANTÍAS, YA SEAN EXPRESAS, IMPLÍCITAS O PREVISTAS POR LA LEY, CON RESPECTO A LA INFORMACIÓN DE ESTA PRESENTACIÓN.</a:t>
            </a:r>
          </a:p>
        </p:txBody>
      </p:sp>
      <p:sp>
        <p:nvSpPr>
          <p:cNvPr id="6" name="Date Placeholder 5">
            <a:extLst>
              <a:ext uri="{FF2B5EF4-FFF2-40B4-BE49-F238E27FC236}">
                <a16:creationId xmlns:a16="http://schemas.microsoft.com/office/drawing/2014/main" id="{D5249A64-14C0-C484-EC91-CB34D484F2C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2026 9:28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26B7CC82-233C-BD8F-B476-01CCDCF93DC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144241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6D745-0250-DC7D-1049-01AAE22FF7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3C080D-BF2F-934E-BE24-0CBBED7F98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CED40E-0C0E-5D5E-FF58-1469B68925EE}"/>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kern="1200" dirty="0">
                <a:solidFill>
                  <a:schemeClr val="tx1"/>
                </a:solidFill>
                <a:effectLst/>
                <a:latin typeface="Segoe Sans Display" pitchFamily="2" charset="0"/>
                <a:ea typeface="+mn-ea"/>
                <a:cs typeface="+mn-cs"/>
              </a:rPr>
              <a:t>En cuanto empiezas a combinar agentes, dejas de usar IA como herramienta y pasas a montar una pequeña arquitectura, aunque no la llames así.</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Ya no tienes una única inferencia, tienes varios nodos de procesamiento con su contexto, su </a:t>
            </a:r>
            <a:r>
              <a:rPr lang="es-ES" sz="882" b="0" kern="1200" dirty="0" err="1">
                <a:solidFill>
                  <a:schemeClr val="tx1"/>
                </a:solidFill>
                <a:effectLst/>
                <a:latin typeface="Segoe Sans Display" pitchFamily="2" charset="0"/>
                <a:ea typeface="+mn-ea"/>
                <a:cs typeface="+mn-cs"/>
              </a:rPr>
              <a:t>prompt</a:t>
            </a:r>
            <a:r>
              <a:rPr lang="es-ES" sz="882" b="0" kern="1200" dirty="0">
                <a:solidFill>
                  <a:schemeClr val="tx1"/>
                </a:solidFill>
                <a:effectLst/>
                <a:latin typeface="Segoe Sans Display" pitchFamily="2" charset="0"/>
                <a:ea typeface="+mn-ea"/>
                <a:cs typeface="+mn-cs"/>
              </a:rPr>
              <a:t> de sistema y su función clara. Lo que construyes es un pipeline: ingestión, enriquecimiento, procesamiento y salida, pero con un modelo probabilístico en medio en lugar de lógica rígid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La ventaja es que reduces ambigüedad. En lugar de un solo agente intentando hacerlo todo, divides responsabilidades. Cada uno trabaja con un </a:t>
            </a:r>
            <a:r>
              <a:rPr lang="es-ES" sz="882" b="0" kern="1200" dirty="0" err="1">
                <a:solidFill>
                  <a:schemeClr val="tx1"/>
                </a:solidFill>
                <a:effectLst/>
                <a:latin typeface="Segoe Sans Display" pitchFamily="2" charset="0"/>
                <a:ea typeface="+mn-ea"/>
                <a:cs typeface="+mn-cs"/>
              </a:rPr>
              <a:t>scope</a:t>
            </a:r>
            <a:r>
              <a:rPr lang="es-ES" sz="882" b="0" kern="1200" dirty="0">
                <a:solidFill>
                  <a:schemeClr val="tx1"/>
                </a:solidFill>
                <a:effectLst/>
                <a:latin typeface="Segoe Sans Display" pitchFamily="2" charset="0"/>
                <a:ea typeface="+mn-ea"/>
                <a:cs typeface="+mn-cs"/>
              </a:rPr>
              <a:t> acotado y el resultado se vuelve más consistente porque la información pasa por varias capas de transformación.</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Aquí lo interesante es que no encadenas respuestas, compones capacidades. El output de uno se convierte en input estructurado del siguiente, y eso te permite procesar la información en etapas en lugar de pedir una única respuesta milagrosa.</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n ese punto ya no es conversación.</a:t>
            </a:r>
            <a:br>
              <a:rPr lang="es-ES" sz="882" b="0" kern="1200" dirty="0">
                <a:solidFill>
                  <a:schemeClr val="tx1"/>
                </a:solidFill>
                <a:effectLst/>
                <a:latin typeface="Segoe Sans Display" pitchFamily="2" charset="0"/>
                <a:ea typeface="+mn-ea"/>
                <a:cs typeface="+mn-cs"/>
              </a:rPr>
            </a:br>
            <a:r>
              <a:rPr lang="es-ES" sz="882" b="0" kern="1200" dirty="0">
                <a:solidFill>
                  <a:schemeClr val="tx1"/>
                </a:solidFill>
                <a:effectLst/>
                <a:latin typeface="Segoe Sans Display" pitchFamily="2" charset="0"/>
                <a:ea typeface="+mn-ea"/>
                <a:cs typeface="+mn-cs"/>
              </a:rPr>
              <a:t>Es un flujo de trabajo que procesa información… y cuando está bien planteado, se nota.</a:t>
            </a:r>
            <a:endParaRPr lang="en-US" sz="882" b="1" kern="1200" dirty="0">
              <a:solidFill>
                <a:schemeClr val="tx1"/>
              </a:solidFill>
              <a:effectLst/>
              <a:latin typeface="Segoe Sans Display" pitchFamily="2" charset="0"/>
              <a:ea typeface="+mn-ea"/>
              <a:cs typeface="+mn-cs"/>
            </a:endParaRPr>
          </a:p>
          <a:p>
            <a:endParaRPr lang="en-US" dirty="0"/>
          </a:p>
        </p:txBody>
      </p:sp>
      <p:sp>
        <p:nvSpPr>
          <p:cNvPr id="4" name="Header Placeholder 3">
            <a:extLst>
              <a:ext uri="{FF2B5EF4-FFF2-40B4-BE49-F238E27FC236}">
                <a16:creationId xmlns:a16="http://schemas.microsoft.com/office/drawing/2014/main" id="{8A81960F-019F-0B04-B716-515BAEFECE37}"/>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CE40380C-FC44-C2B0-ECB1-0DCB67EEDC9F}"/>
              </a:ext>
            </a:extLst>
          </p:cNvPr>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a:extLst>
              <a:ext uri="{FF2B5EF4-FFF2-40B4-BE49-F238E27FC236}">
                <a16:creationId xmlns:a16="http://schemas.microsoft.com/office/drawing/2014/main" id="{DEFE1796-B66C-1F64-08E7-DE2561E48C6F}"/>
              </a:ext>
            </a:extLst>
          </p:cNvPr>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a:extLst>
              <a:ext uri="{FF2B5EF4-FFF2-40B4-BE49-F238E27FC236}">
                <a16:creationId xmlns:a16="http://schemas.microsoft.com/office/drawing/2014/main" id="{A2F2C4A2-4F91-ECA4-C57F-51E31367CACF}"/>
              </a:ext>
            </a:extLst>
          </p:cNvPr>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553026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b="0" kern="1200" dirty="0">
                <a:solidFill>
                  <a:schemeClr val="tx1"/>
                </a:solidFill>
                <a:effectLst/>
                <a:latin typeface="Segoe Sans Display" pitchFamily="2" charset="0"/>
                <a:ea typeface="+mn-ea"/>
                <a:cs typeface="+mn-cs"/>
              </a:rPr>
              <a:t>Aquí es donde la mayoría se la pega… sin darse cuenta. Compartir un agente no es compartir un archivo. Es exponer lógica, contexto y permisos a otro usuario. Y en ese momento entran en juego cosas bastante menos simpáticas: control de acceso, alcance de datos, consistencia de comportamiento y responsabilidad sobre lo que se ejecuta.</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Porque sí, esto pasa muy rápido: lo que tú usabas bien… lo usa otro fuera de contexto y empieza a comportarse distinto. Y ahí ya no es experiencia de usuario. Es operación de un sistema. Ahora, cuando esto está bien planteado… cambia todo. Porque deja de ser “mi agente” y pasa a ser algo que el equipo utiliza con confianza. Y ahí es cuando sabes que no has construido una prueba… has construido algo que encaja de verdad en cómo se trabaja.</a:t>
            </a:r>
            <a:endParaRPr lang="en-US" sz="882" b="1" kern="1200">
              <a:solidFill>
                <a:schemeClr val="tx1"/>
              </a:solidFill>
              <a:effectLst/>
              <a:latin typeface="Segoe Sans Display" pitchFamily="2" charset="0"/>
              <a:ea typeface="+mn-ea"/>
              <a:cs typeface="+mn-cs"/>
            </a:endParaRPr>
          </a:p>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9604428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Vale, ya hemos recorrido todo el camino: desde que es un agente hasta como construirlo, probarlo y compartirlo. Ahora viene la parte importante: que hagais algo con todo esto. No os quedeis en la teoria. Probad, experimentad, romped cosas. Es la unica forma de entender de verdad como funciona este ecosistema. Y recordad: lo que mejor funciona no es lo mas espectacular, es lo que esta bien disenad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20378707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Os recomiendo visitar el Centro de agentes de IA. Ahi encontrareis contenido que os ayudara a planificar, gestionar y crear agentes. Es un recurso centralizado con guias, mejores practicas y todo lo que necesitais para empezar con buen pie. Aprovechadlo, porque tener un sitio de referencia marca la diferencia entre experimentar a ciegas y construir con criteri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41401387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Microsoft tiene varias inversiones para ayudaros a acelerar este camino. Teneis el Directorio de socios de Microsoft 365 Copilot para encontrar ayuda con la extensibilidad. Los clientes elegibles pueden solicitar asistencia tecnica a traves de Microsoft FastTrack. Y si quereis servicios dirigidos por expertos, esta Microsoft Unified. No teneis que hacerlo solos: hay un ecosistema de soporte disenado para que esto funcione desde el principi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84FA68-8F4B-422B-AD27-9639E86175E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99164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De nuevo, recordad visitar el Centro de clientes. Ahi teneis todas las proximas sesiones, novedades y contenido a demanda. Es vuestro punto de referencia para seguir aprendiendo y estar al dia con todo lo que va saliendo. Escaneadlo con el QR o visitad el enlace directament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30396860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Y si de verdad quereis marcar la diferencia, os animo a uniros al programa de Champions. Es gratuito y os permite aprovechar al maximo Copilot y Microsoft 365, ayudar a otras personas a hacer lo mismo, y ampliar vuestros conocimientos y carrera profesional. Es una comunidad de expertos que comparten conocimiento y experiencia real con Copilot. Unios en el enlace que aparece en pantalla.</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41317913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Muchas gracias por vuestra atencion y por acompanarnos en esta sesion. Vuestros comentarios son esenciales para nosotros. Antes de iros, dedicad un momento a enviarnos vuestro feedback a traves de la encuesta del Centro de clientes. Cada opinion cuenta y nos ayuda a mejorar e innovar para las proximas sesion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13939252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dirty="0">
                <a:solidFill>
                  <a:schemeClr val="tx1"/>
                </a:solidFill>
                <a:effectLst/>
                <a:latin typeface="Segoe Sans Display" pitchFamily="2" charset="0"/>
                <a:ea typeface="+mn-ea"/>
                <a:cs typeface="+mn-cs"/>
              </a:rPr>
              <a:t>Vale,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es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amo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recorr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nsadl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un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scomposició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écnica</a:t>
            </a:r>
            <a:r>
              <a:rPr lang="en-US" sz="882" b="0" i="0" kern="1200" dirty="0">
                <a:solidFill>
                  <a:schemeClr val="tx1"/>
                </a:solidFill>
                <a:effectLst/>
                <a:latin typeface="Segoe Sans Display" pitchFamily="2" charset="0"/>
                <a:ea typeface="+mn-ea"/>
                <a:cs typeface="+mn-cs"/>
              </a:rPr>
              <a:t> de alg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luego </a:t>
            </a:r>
            <a:r>
              <a:rPr lang="en-US" sz="882" b="0" i="0" kern="1200" dirty="0" err="1">
                <a:solidFill>
                  <a:schemeClr val="tx1"/>
                </a:solidFill>
                <a:effectLst/>
                <a:latin typeface="Segoe Sans Display" pitchFamily="2" charset="0"/>
                <a:ea typeface="+mn-ea"/>
                <a:cs typeface="+mn-cs"/>
              </a:rPr>
              <a:t>vai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ten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usar de </a:t>
            </a:r>
            <a:r>
              <a:rPr lang="en-US" sz="882" b="0" i="0" kern="1200" dirty="0" err="1">
                <a:solidFill>
                  <a:schemeClr val="tx1"/>
                </a:solidFill>
                <a:effectLst/>
                <a:latin typeface="Segoe Sans Display" pitchFamily="2" charset="0"/>
                <a:ea typeface="+mn-ea"/>
                <a:cs typeface="+mn-cs"/>
              </a:rPr>
              <a:t>verdad</a:t>
            </a:r>
            <a:r>
              <a:rPr lang="en-US" sz="882" b="0" i="0" kern="1200" dirty="0">
                <a:solidFill>
                  <a:schemeClr val="tx1"/>
                </a:solidFill>
                <a:effectLst/>
                <a:latin typeface="Segoe Sans Display" pitchFamily="2" charset="0"/>
                <a:ea typeface="+mn-ea"/>
                <a:cs typeface="+mn-cs"/>
              </a:rPr>
              <a:t>.</a:t>
            </a:r>
          </a:p>
          <a:p>
            <a:r>
              <a:rPr lang="en-US" sz="882" b="0" i="0" kern="1200" dirty="0">
                <a:solidFill>
                  <a:schemeClr val="tx1"/>
                </a:solidFill>
                <a:effectLst/>
                <a:latin typeface="Segoe Sans Display" pitchFamily="2" charset="0"/>
                <a:ea typeface="+mn-ea"/>
                <a:cs typeface="+mn-cs"/>
              </a:rPr>
              <a:t>Primero </a:t>
            </a:r>
            <a:r>
              <a:rPr lang="en-US" sz="882" b="0" i="0" kern="1200" dirty="0" err="1">
                <a:solidFill>
                  <a:schemeClr val="tx1"/>
                </a:solidFill>
                <a:effectLst/>
                <a:latin typeface="Segoe Sans Display" pitchFamily="2" charset="0"/>
                <a:ea typeface="+mn-ea"/>
                <a:cs typeface="+mn-cs"/>
              </a:rPr>
              <a:t>vamo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aterriz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es un </a:t>
            </a:r>
            <a:r>
              <a:rPr lang="en-US" sz="882" b="0" i="0" kern="1200" dirty="0" err="1">
                <a:solidFill>
                  <a:schemeClr val="tx1"/>
                </a:solidFill>
                <a:effectLst/>
                <a:latin typeface="Segoe Sans Display" pitchFamily="2" charset="0"/>
                <a:ea typeface="+mn-ea"/>
                <a:cs typeface="+mn-cs"/>
              </a:rPr>
              <a:t>ag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ero</a:t>
            </a:r>
            <a:r>
              <a:rPr lang="en-US" sz="882" b="0" i="0" kern="1200" dirty="0">
                <a:solidFill>
                  <a:schemeClr val="tx1"/>
                </a:solidFill>
                <a:effectLst/>
                <a:latin typeface="Segoe Sans Display" pitchFamily="2" charset="0"/>
                <a:ea typeface="+mn-ea"/>
                <a:cs typeface="+mn-cs"/>
              </a:rPr>
              <a:t> sin </a:t>
            </a:r>
            <a:r>
              <a:rPr lang="en-US" sz="882" b="0" i="0" kern="1200" dirty="0" err="1">
                <a:solidFill>
                  <a:schemeClr val="tx1"/>
                </a:solidFill>
                <a:effectLst/>
                <a:latin typeface="Segoe Sans Display" pitchFamily="2" charset="0"/>
                <a:ea typeface="+mn-ea"/>
                <a:cs typeface="+mn-cs"/>
              </a:rPr>
              <a:t>teorí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bonita</a:t>
            </a:r>
            <a:r>
              <a:rPr lang="en-US" sz="882" b="0" i="0" kern="1200" dirty="0">
                <a:solidFill>
                  <a:schemeClr val="tx1"/>
                </a:solidFill>
                <a:effectLst/>
                <a:latin typeface="Segoe Sans Display" pitchFamily="2" charset="0"/>
                <a:ea typeface="+mn-ea"/>
                <a:cs typeface="+mn-cs"/>
              </a:rPr>
              <a:t>. Vamos a </a:t>
            </a:r>
            <a:r>
              <a:rPr lang="en-US" sz="882" b="0" i="0" kern="1200" dirty="0" err="1">
                <a:solidFill>
                  <a:schemeClr val="tx1"/>
                </a:solidFill>
                <a:effectLst/>
                <a:latin typeface="Segoe Sans Display" pitchFamily="2" charset="0"/>
                <a:ea typeface="+mn-ea"/>
                <a:cs typeface="+mn-cs"/>
              </a:rPr>
              <a:t>hablar</a:t>
            </a:r>
            <a:r>
              <a:rPr lang="en-US" sz="882" b="0" i="0" kern="1200" dirty="0">
                <a:solidFill>
                  <a:schemeClr val="tx1"/>
                </a:solidFill>
                <a:effectLst/>
                <a:latin typeface="Segoe Sans Display" pitchFamily="2" charset="0"/>
                <a:ea typeface="+mn-ea"/>
                <a:cs typeface="+mn-cs"/>
              </a:rPr>
              <a:t> de </a:t>
            </a:r>
            <a:r>
              <a:rPr lang="en-US" sz="882" b="1" i="0" kern="1200" dirty="0" err="1">
                <a:solidFill>
                  <a:schemeClr val="tx1"/>
                </a:solidFill>
                <a:effectLst/>
                <a:latin typeface="Segoe Sans Display" pitchFamily="2" charset="0"/>
                <a:ea typeface="+mn-ea"/>
                <a:cs typeface="+mn-cs"/>
              </a:rPr>
              <a:t>sistema</a:t>
            </a:r>
            <a:r>
              <a:rPr lang="en-US" sz="882" b="1"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compuesto</a:t>
            </a:r>
            <a:r>
              <a:rPr lang="en-US" sz="882" b="1"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por</a:t>
            </a:r>
            <a:r>
              <a:rPr lang="en-US" sz="882" b="1"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modelo</a:t>
            </a:r>
            <a:r>
              <a:rPr lang="en-US" sz="882" b="1"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instrucciones</a:t>
            </a:r>
            <a:r>
              <a:rPr lang="en-US" sz="882" b="1"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contexto</a:t>
            </a:r>
            <a:r>
              <a:rPr lang="en-US" sz="882" b="1" i="0" kern="1200" dirty="0">
                <a:solidFill>
                  <a:schemeClr val="tx1"/>
                </a:solidFill>
                <a:effectLst/>
                <a:latin typeface="Segoe Sans Display" pitchFamily="2" charset="0"/>
                <a:ea typeface="+mn-ea"/>
                <a:cs typeface="+mn-cs"/>
              </a:rPr>
              <a:t> y </a:t>
            </a:r>
            <a:r>
              <a:rPr lang="en-US" sz="882" b="1" i="0" kern="1200" dirty="0" err="1">
                <a:solidFill>
                  <a:schemeClr val="tx1"/>
                </a:solidFill>
                <a:effectLst/>
                <a:latin typeface="Segoe Sans Display" pitchFamily="2" charset="0"/>
                <a:ea typeface="+mn-ea"/>
                <a:cs typeface="+mn-cs"/>
              </a:rPr>
              <a:t>capacidades</a:t>
            </a:r>
            <a:r>
              <a:rPr lang="en-US" sz="882" b="0" i="0" kern="1200" dirty="0">
                <a:solidFill>
                  <a:schemeClr val="tx1"/>
                </a:solidFill>
                <a:effectLst/>
                <a:latin typeface="Segoe Sans Display" pitchFamily="2" charset="0"/>
                <a:ea typeface="+mn-ea"/>
                <a:cs typeface="+mn-cs"/>
              </a:rPr>
              <a:t>, y de </a:t>
            </a:r>
            <a:r>
              <a:rPr lang="en-US" sz="882" b="0" i="0" kern="1200" dirty="0" err="1">
                <a:solidFill>
                  <a:schemeClr val="tx1"/>
                </a:solidFill>
                <a:effectLst/>
                <a:latin typeface="Segoe Sans Display" pitchFamily="2" charset="0"/>
                <a:ea typeface="+mn-ea"/>
                <a:cs typeface="+mn-cs"/>
              </a:rPr>
              <a:t>có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o</a:t>
            </a:r>
            <a:r>
              <a:rPr lang="en-US" sz="882" b="0" i="0" kern="1200" dirty="0">
                <a:solidFill>
                  <a:schemeClr val="tx1"/>
                </a:solidFill>
                <a:effectLst/>
                <a:latin typeface="Segoe Sans Display" pitchFamily="2" charset="0"/>
                <a:ea typeface="+mn-ea"/>
                <a:cs typeface="+mn-cs"/>
              </a:rPr>
              <a:t> genera </a:t>
            </a:r>
            <a:r>
              <a:rPr lang="en-US" sz="882" b="0" i="0" kern="1200" dirty="0" err="1">
                <a:solidFill>
                  <a:schemeClr val="tx1"/>
                </a:solidFill>
                <a:effectLst/>
                <a:latin typeface="Segoe Sans Display" pitchFamily="2" charset="0"/>
                <a:ea typeface="+mn-ea"/>
                <a:cs typeface="+mn-cs"/>
              </a:rPr>
              <a:t>comportamiento</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deci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á</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as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realm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uando</a:t>
            </a:r>
            <a:r>
              <a:rPr lang="en-US" sz="882" b="0" i="0" kern="1200" dirty="0">
                <a:solidFill>
                  <a:schemeClr val="tx1"/>
                </a:solidFill>
                <a:effectLst/>
                <a:latin typeface="Segoe Sans Display" pitchFamily="2" charset="0"/>
                <a:ea typeface="+mn-ea"/>
                <a:cs typeface="+mn-cs"/>
              </a:rPr>
              <a:t> dices “</a:t>
            </a:r>
            <a:r>
              <a:rPr lang="en-US" sz="882" b="0" i="0" kern="1200" dirty="0" err="1">
                <a:solidFill>
                  <a:schemeClr val="tx1"/>
                </a:solidFill>
                <a:effectLst/>
                <a:latin typeface="Segoe Sans Display" pitchFamily="2" charset="0"/>
                <a:ea typeface="+mn-ea"/>
                <a:cs typeface="+mn-cs"/>
              </a:rPr>
              <a:t>haz</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po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vec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respon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ieres</a:t>
            </a:r>
            <a:r>
              <a:rPr lang="en-US" sz="882" b="0" i="0" kern="1200" dirty="0">
                <a:solidFill>
                  <a:schemeClr val="tx1"/>
                </a:solidFill>
                <a:effectLst/>
                <a:latin typeface="Segoe Sans Display" pitchFamily="2" charset="0"/>
                <a:ea typeface="+mn-ea"/>
                <a:cs typeface="+mn-cs"/>
              </a:rPr>
              <a:t>… y a </a:t>
            </a:r>
            <a:r>
              <a:rPr lang="en-US" sz="882" b="0" i="0" kern="1200" dirty="0" err="1">
                <a:solidFill>
                  <a:schemeClr val="tx1"/>
                </a:solidFill>
                <a:effectLst/>
                <a:latin typeface="Segoe Sans Display" pitchFamily="2" charset="0"/>
                <a:ea typeface="+mn-ea"/>
                <a:cs typeface="+mn-cs"/>
              </a:rPr>
              <a:t>veces</a:t>
            </a:r>
            <a:r>
              <a:rPr lang="en-US" sz="882" b="0" i="0" kern="1200" dirty="0">
                <a:solidFill>
                  <a:schemeClr val="tx1"/>
                </a:solidFill>
                <a:effectLst/>
                <a:latin typeface="Segoe Sans Display" pitchFamily="2" charset="0"/>
                <a:ea typeface="+mn-ea"/>
                <a:cs typeface="+mn-cs"/>
              </a:rPr>
              <a:t> se pone </a:t>
            </a:r>
            <a:r>
              <a:rPr lang="en-US" sz="882" b="0" i="0" kern="1200" dirty="0" err="1">
                <a:solidFill>
                  <a:schemeClr val="tx1"/>
                </a:solidFill>
                <a:effectLst/>
                <a:latin typeface="Segoe Sans Display" pitchFamily="2" charset="0"/>
                <a:ea typeface="+mn-ea"/>
                <a:cs typeface="+mn-cs"/>
              </a:rPr>
              <a:t>creativ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onde</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toca</a:t>
            </a:r>
            <a:r>
              <a:rPr lang="en-US" sz="882" b="0" i="0" kern="1200" dirty="0">
                <a:solidFill>
                  <a:schemeClr val="tx1"/>
                </a:solidFill>
                <a:effectLst/>
                <a:latin typeface="Segoe Sans Display" pitchFamily="2" charset="0"/>
                <a:ea typeface="+mn-ea"/>
                <a:cs typeface="+mn-cs"/>
              </a:rPr>
              <a:t>.</a:t>
            </a:r>
          </a:p>
          <a:p>
            <a:r>
              <a:rPr lang="en-US" sz="882" b="0" i="0" kern="1200" dirty="0" err="1">
                <a:solidFill>
                  <a:schemeClr val="tx1"/>
                </a:solidFill>
                <a:effectLst/>
                <a:latin typeface="Segoe Sans Display" pitchFamily="2" charset="0"/>
                <a:ea typeface="+mn-ea"/>
                <a:cs typeface="+mn-cs"/>
              </a:rPr>
              <a:t>Despué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ete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gent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xis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ntro</a:t>
            </a:r>
            <a:r>
              <a:rPr lang="en-US" sz="882" b="0" i="0" kern="1200" dirty="0">
                <a:solidFill>
                  <a:schemeClr val="tx1"/>
                </a:solidFill>
                <a:effectLst/>
                <a:latin typeface="Segoe Sans Display" pitchFamily="2" charset="0"/>
                <a:ea typeface="+mn-ea"/>
                <a:cs typeface="+mn-cs"/>
              </a:rPr>
              <a:t> de Copilot, no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atálog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n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implementaciones</a:t>
            </a:r>
            <a:r>
              <a:rPr lang="en-US" sz="882" b="1"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concretas</a:t>
            </a:r>
            <a:r>
              <a:rPr lang="en-US" sz="882" b="1" i="0" kern="1200" dirty="0">
                <a:solidFill>
                  <a:schemeClr val="tx1"/>
                </a:solidFill>
                <a:effectLst/>
                <a:latin typeface="Segoe Sans Display" pitchFamily="2" charset="0"/>
                <a:ea typeface="+mn-ea"/>
                <a:cs typeface="+mn-cs"/>
              </a:rPr>
              <a:t> de ese </a:t>
            </a:r>
            <a:r>
              <a:rPr lang="en-US" sz="882" b="1" i="0" kern="1200" dirty="0" err="1">
                <a:solidFill>
                  <a:schemeClr val="tx1"/>
                </a:solidFill>
                <a:effectLst/>
                <a:latin typeface="Segoe Sans Display" pitchFamily="2" charset="0"/>
                <a:ea typeface="+mn-ea"/>
                <a:cs typeface="+mn-cs"/>
              </a:rPr>
              <a:t>sistem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ó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á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cotad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ipo</a:t>
            </a:r>
            <a:r>
              <a:rPr lang="en-US" sz="882" b="0" i="0" kern="1200" dirty="0">
                <a:solidFill>
                  <a:schemeClr val="tx1"/>
                </a:solidFill>
                <a:effectLst/>
                <a:latin typeface="Segoe Sans Display" pitchFamily="2" charset="0"/>
                <a:ea typeface="+mn-ea"/>
                <a:cs typeface="+mn-cs"/>
              </a:rPr>
              <a:t> de grounding </a:t>
            </a:r>
            <a:r>
              <a:rPr lang="en-US" sz="882" b="0" i="0" kern="1200" dirty="0" err="1">
                <a:solidFill>
                  <a:schemeClr val="tx1"/>
                </a:solidFill>
                <a:effectLst/>
                <a:latin typeface="Segoe Sans Display" pitchFamily="2" charset="0"/>
                <a:ea typeface="+mn-ea"/>
                <a:cs typeface="+mn-cs"/>
              </a:rPr>
              <a:t>utiliza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grado</a:t>
            </a:r>
            <a:r>
              <a:rPr lang="en-US" sz="882" b="0" i="0" kern="1200" dirty="0">
                <a:solidFill>
                  <a:schemeClr val="tx1"/>
                </a:solidFill>
                <a:effectLst/>
                <a:latin typeface="Segoe Sans Display" pitchFamily="2" charset="0"/>
                <a:ea typeface="+mn-ea"/>
                <a:cs typeface="+mn-cs"/>
              </a:rPr>
              <a:t> de control </a:t>
            </a:r>
            <a:r>
              <a:rPr lang="en-US" sz="882" b="0" i="0" kern="1200" dirty="0" err="1">
                <a:solidFill>
                  <a:schemeClr val="tx1"/>
                </a:solidFill>
                <a:effectLst/>
                <a:latin typeface="Segoe Sans Display" pitchFamily="2" charset="0"/>
                <a:ea typeface="+mn-ea"/>
                <a:cs typeface="+mn-cs"/>
              </a:rPr>
              <a:t>tien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obr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texto</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partes del </a:t>
            </a:r>
            <a:r>
              <a:rPr lang="en-US" sz="882" b="0" i="0" kern="1200" dirty="0" err="1">
                <a:solidFill>
                  <a:schemeClr val="tx1"/>
                </a:solidFill>
                <a:effectLst/>
                <a:latin typeface="Segoe Sans Display" pitchFamily="2" charset="0"/>
                <a:ea typeface="+mn-ea"/>
                <a:cs typeface="+mn-cs"/>
              </a:rPr>
              <a:t>fluj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lega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odel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frente</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lógic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ructurada</a:t>
            </a:r>
            <a:r>
              <a:rPr lang="en-US" sz="882" b="0" i="0" kern="1200" dirty="0">
                <a:solidFill>
                  <a:schemeClr val="tx1"/>
                </a:solidFill>
                <a:effectLst/>
                <a:latin typeface="Segoe Sans Display" pitchFamily="2" charset="0"/>
                <a:ea typeface="+mn-ea"/>
                <a:cs typeface="+mn-cs"/>
              </a:rPr>
              <a:t>.</a:t>
            </a:r>
          </a:p>
          <a:p>
            <a:r>
              <a:rPr lang="en-US" sz="882" b="0" i="0" kern="1200" dirty="0">
                <a:solidFill>
                  <a:schemeClr val="tx1"/>
                </a:solidFill>
                <a:effectLst/>
                <a:latin typeface="Segoe Sans Display" pitchFamily="2" charset="0"/>
                <a:ea typeface="+mn-ea"/>
                <a:cs typeface="+mn-cs"/>
              </a:rPr>
              <a:t>Luego </a:t>
            </a:r>
            <a:r>
              <a:rPr lang="en-US" sz="882" b="0" i="0" kern="1200" dirty="0" err="1">
                <a:solidFill>
                  <a:schemeClr val="tx1"/>
                </a:solidFill>
                <a:effectLst/>
                <a:latin typeface="Segoe Sans Display" pitchFamily="2" charset="0"/>
                <a:ea typeface="+mn-ea"/>
                <a:cs typeface="+mn-cs"/>
              </a:rPr>
              <a:t>vien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Store,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es </a:t>
            </a:r>
            <a:r>
              <a:rPr lang="en-US" sz="882" b="0" i="0" kern="1200" dirty="0" err="1">
                <a:solidFill>
                  <a:schemeClr val="tx1"/>
                </a:solidFill>
                <a:effectLst/>
                <a:latin typeface="Segoe Sans Display" pitchFamily="2" charset="0"/>
                <a:ea typeface="+mn-ea"/>
                <a:cs typeface="+mn-cs"/>
              </a:rPr>
              <a:t>don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ja</a:t>
            </a:r>
            <a:r>
              <a:rPr lang="en-US" sz="882" b="0" i="0" kern="1200" dirty="0">
                <a:solidFill>
                  <a:schemeClr val="tx1"/>
                </a:solidFill>
                <a:effectLst/>
                <a:latin typeface="Segoe Sans Display" pitchFamily="2" charset="0"/>
                <a:ea typeface="+mn-ea"/>
                <a:cs typeface="+mn-cs"/>
              </a:rPr>
              <a:t> de ser un </a:t>
            </a:r>
            <a:r>
              <a:rPr lang="en-US" sz="882" b="0" i="0" kern="1200" dirty="0" err="1">
                <a:solidFill>
                  <a:schemeClr val="tx1"/>
                </a:solidFill>
                <a:effectLst/>
                <a:latin typeface="Segoe Sans Display" pitchFamily="2" charset="0"/>
                <a:ea typeface="+mn-ea"/>
                <a:cs typeface="+mn-cs"/>
              </a:rPr>
              <a:t>problema</a:t>
            </a:r>
            <a:r>
              <a:rPr lang="en-US" sz="882" b="0" i="0" kern="1200" dirty="0">
                <a:solidFill>
                  <a:schemeClr val="tx1"/>
                </a:solidFill>
                <a:effectLst/>
                <a:latin typeface="Segoe Sans Display" pitchFamily="2" charset="0"/>
                <a:ea typeface="+mn-ea"/>
                <a:cs typeface="+mn-cs"/>
              </a:rPr>
              <a:t> local y </a:t>
            </a:r>
            <a:r>
              <a:rPr lang="en-US" sz="882" b="0" i="0" kern="1200" dirty="0" err="1">
                <a:solidFill>
                  <a:schemeClr val="tx1"/>
                </a:solidFill>
                <a:effectLst/>
                <a:latin typeface="Segoe Sans Display" pitchFamily="2" charset="0"/>
                <a:ea typeface="+mn-ea"/>
                <a:cs typeface="+mn-cs"/>
              </a:rPr>
              <a:t>pasa</a:t>
            </a:r>
            <a:r>
              <a:rPr lang="en-US" sz="882" b="0" i="0" kern="1200" dirty="0">
                <a:solidFill>
                  <a:schemeClr val="tx1"/>
                </a:solidFill>
                <a:effectLst/>
                <a:latin typeface="Segoe Sans Display" pitchFamily="2" charset="0"/>
                <a:ea typeface="+mn-ea"/>
                <a:cs typeface="+mn-cs"/>
              </a:rPr>
              <a:t> a ser </a:t>
            </a:r>
            <a:r>
              <a:rPr lang="en-US" sz="882" b="1" i="0" kern="1200" dirty="0">
                <a:solidFill>
                  <a:schemeClr val="tx1"/>
                </a:solidFill>
                <a:effectLst/>
                <a:latin typeface="Segoe Sans Display" pitchFamily="2" charset="0"/>
                <a:ea typeface="+mn-ea"/>
                <a:cs typeface="+mn-cs"/>
              </a:rPr>
              <a:t>un </a:t>
            </a:r>
            <a:r>
              <a:rPr lang="en-US" sz="882" b="1" i="0" kern="1200" dirty="0" err="1">
                <a:solidFill>
                  <a:schemeClr val="tx1"/>
                </a:solidFill>
                <a:effectLst/>
                <a:latin typeface="Segoe Sans Display" pitchFamily="2" charset="0"/>
                <a:ea typeface="+mn-ea"/>
                <a:cs typeface="+mn-cs"/>
              </a:rPr>
              <a:t>sistema</a:t>
            </a:r>
            <a:r>
              <a:rPr lang="en-US" sz="882" b="1"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distribuido</a:t>
            </a:r>
            <a:r>
              <a:rPr lang="en-US" sz="882" b="1" i="0" kern="1200" dirty="0">
                <a:solidFill>
                  <a:schemeClr val="tx1"/>
                </a:solidFill>
                <a:effectLst/>
                <a:latin typeface="Segoe Sans Display" pitchFamily="2" charset="0"/>
                <a:ea typeface="+mn-ea"/>
                <a:cs typeface="+mn-cs"/>
              </a:rPr>
              <a:t> con </a:t>
            </a:r>
            <a:r>
              <a:rPr lang="en-US" sz="882" b="1" i="0" kern="1200" dirty="0" err="1">
                <a:solidFill>
                  <a:schemeClr val="tx1"/>
                </a:solidFill>
                <a:effectLst/>
                <a:latin typeface="Segoe Sans Display" pitchFamily="2" charset="0"/>
                <a:ea typeface="+mn-ea"/>
                <a:cs typeface="+mn-cs"/>
              </a:rPr>
              <a:t>múltiples</a:t>
            </a:r>
            <a:r>
              <a:rPr lang="en-US" sz="882" b="1"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instancias</a:t>
            </a:r>
            <a:r>
              <a:rPr lang="en-US" sz="882" b="1" i="0" kern="1200" dirty="0">
                <a:solidFill>
                  <a:schemeClr val="tx1"/>
                </a:solidFill>
                <a:effectLst/>
                <a:latin typeface="Segoe Sans Display" pitchFamily="2" charset="0"/>
                <a:ea typeface="+mn-ea"/>
                <a:cs typeface="+mn-cs"/>
              </a:rPr>
              <a:t> de </a:t>
            </a:r>
            <a:r>
              <a:rPr lang="en-US" sz="882" b="1" i="0" kern="1200" dirty="0" err="1">
                <a:solidFill>
                  <a:schemeClr val="tx1"/>
                </a:solidFill>
                <a:effectLst/>
                <a:latin typeface="Segoe Sans Display" pitchFamily="2" charset="0"/>
                <a:ea typeface="+mn-ea"/>
                <a:cs typeface="+mn-cs"/>
              </a:rPr>
              <a:t>comportamien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istint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cceso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datos</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usuarios</a:t>
            </a:r>
            <a:r>
              <a:rPr lang="en-US" sz="882" b="0" i="0" kern="1200" dirty="0">
                <a:solidFill>
                  <a:schemeClr val="tx1"/>
                </a:solidFill>
                <a:effectLst/>
                <a:latin typeface="Segoe Sans Display" pitchFamily="2" charset="0"/>
                <a:ea typeface="+mn-ea"/>
                <a:cs typeface="+mn-cs"/>
              </a:rPr>
              <a:t> operando </a:t>
            </a:r>
            <a:r>
              <a:rPr lang="en-US" sz="882" b="0" i="0" kern="1200" dirty="0" err="1">
                <a:solidFill>
                  <a:schemeClr val="tx1"/>
                </a:solidFill>
                <a:effectLst/>
                <a:latin typeface="Segoe Sans Display" pitchFamily="2" charset="0"/>
                <a:ea typeface="+mn-ea"/>
                <a:cs typeface="+mn-cs"/>
              </a:rPr>
              <a:t>sobr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ismo</a:t>
            </a:r>
            <a:r>
              <a:rPr lang="en-US" sz="882" b="0" i="0" kern="1200" dirty="0">
                <a:solidFill>
                  <a:schemeClr val="tx1"/>
                </a:solidFill>
                <a:effectLst/>
                <a:latin typeface="Segoe Sans Display" pitchFamily="2" charset="0"/>
                <a:ea typeface="+mn-ea"/>
                <a:cs typeface="+mn-cs"/>
              </a:rPr>
              <a:t> conjunto de </a:t>
            </a:r>
            <a:r>
              <a:rPr lang="en-US" sz="882" b="0" i="0" kern="1200" dirty="0" err="1">
                <a:solidFill>
                  <a:schemeClr val="tx1"/>
                </a:solidFill>
                <a:effectLst/>
                <a:latin typeface="Segoe Sans Display" pitchFamily="2" charset="0"/>
                <a:ea typeface="+mn-ea"/>
                <a:cs typeface="+mn-cs"/>
              </a:rPr>
              <a:t>agent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qu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mpiezan</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import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s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ormalm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gnor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sistenci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uperficie</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acceso</a:t>
            </a:r>
            <a:r>
              <a:rPr lang="en-US" sz="882" b="0" i="0" kern="1200" dirty="0">
                <a:solidFill>
                  <a:schemeClr val="tx1"/>
                </a:solidFill>
                <a:effectLst/>
                <a:latin typeface="Segoe Sans Display" pitchFamily="2" charset="0"/>
                <a:ea typeface="+mn-ea"/>
                <a:cs typeface="+mn-cs"/>
              </a:rPr>
              <a:t> y control de </a:t>
            </a:r>
            <a:r>
              <a:rPr lang="en-US" sz="882" b="0" i="0" kern="1200" dirty="0" err="1">
                <a:solidFill>
                  <a:schemeClr val="tx1"/>
                </a:solidFill>
                <a:effectLst/>
                <a:latin typeface="Segoe Sans Display" pitchFamily="2" charset="0"/>
                <a:ea typeface="+mn-ea"/>
                <a:cs typeface="+mn-cs"/>
              </a:rPr>
              <a:t>quié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hac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con </a:t>
            </a:r>
            <a:r>
              <a:rPr lang="en-US" sz="882" b="0" i="0" kern="1200" dirty="0" err="1">
                <a:solidFill>
                  <a:schemeClr val="tx1"/>
                </a:solidFill>
                <a:effectLst/>
                <a:latin typeface="Segoe Sans Display" pitchFamily="2" charset="0"/>
                <a:ea typeface="+mn-ea"/>
                <a:cs typeface="+mn-cs"/>
              </a:rPr>
              <a:t>qué</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texto</a:t>
            </a:r>
            <a:r>
              <a:rPr lang="en-US" sz="882" b="0" i="0" kern="1200" dirty="0">
                <a:solidFill>
                  <a:schemeClr val="tx1"/>
                </a:solidFill>
                <a:effectLst/>
                <a:latin typeface="Segoe Sans Display" pitchFamily="2" charset="0"/>
                <a:ea typeface="+mn-ea"/>
                <a:cs typeface="+mn-cs"/>
              </a:rPr>
              <a:t>.</a:t>
            </a:r>
          </a:p>
          <a:p>
            <a:r>
              <a:rPr lang="en-US" sz="882" b="0" i="0" kern="1200" dirty="0">
                <a:solidFill>
                  <a:schemeClr val="tx1"/>
                </a:solidFill>
                <a:effectLst/>
                <a:latin typeface="Segoe Sans Display" pitchFamily="2" charset="0"/>
                <a:ea typeface="+mn-ea"/>
                <a:cs typeface="+mn-cs"/>
              </a:rPr>
              <a:t>A </a:t>
            </a:r>
            <a:r>
              <a:rPr lang="en-US" sz="882" b="0" i="0" kern="1200" dirty="0" err="1">
                <a:solidFill>
                  <a:schemeClr val="tx1"/>
                </a:solidFill>
                <a:effectLst/>
                <a:latin typeface="Segoe Sans Display" pitchFamily="2" charset="0"/>
                <a:ea typeface="+mn-ea"/>
                <a:cs typeface="+mn-cs"/>
              </a:rPr>
              <a:t>partir</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ah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tram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strucción</a:t>
            </a:r>
            <a:r>
              <a:rPr lang="en-US" sz="882" b="0" i="0" kern="1200" dirty="0">
                <a:solidFill>
                  <a:schemeClr val="tx1"/>
                </a:solidFill>
                <a:effectLst/>
                <a:latin typeface="Segoe Sans Display" pitchFamily="2" charset="0"/>
                <a:ea typeface="+mn-ea"/>
                <a:cs typeface="+mn-cs"/>
              </a:rPr>
              <a:t>. Primero con </a:t>
            </a:r>
            <a:r>
              <a:rPr lang="en-US" sz="882" b="0" i="0" kern="1200" dirty="0" err="1">
                <a:solidFill>
                  <a:schemeClr val="tx1"/>
                </a:solidFill>
                <a:effectLst/>
                <a:latin typeface="Segoe Sans Display" pitchFamily="2" charset="0"/>
                <a:ea typeface="+mn-ea"/>
                <a:cs typeface="+mn-cs"/>
              </a:rPr>
              <a:t>plantill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fondo</a:t>
            </a:r>
            <a:r>
              <a:rPr lang="en-US" sz="882" b="0" i="0" kern="1200" dirty="0">
                <a:solidFill>
                  <a:schemeClr val="tx1"/>
                </a:solidFill>
                <a:effectLst/>
                <a:latin typeface="Segoe Sans Display" pitchFamily="2" charset="0"/>
                <a:ea typeface="+mn-ea"/>
                <a:cs typeface="+mn-cs"/>
              </a:rPr>
              <a:t> son </a:t>
            </a:r>
            <a:r>
              <a:rPr lang="en-US" sz="882" b="1" i="0" kern="1200" dirty="0" err="1">
                <a:solidFill>
                  <a:schemeClr val="tx1"/>
                </a:solidFill>
                <a:effectLst/>
                <a:latin typeface="Segoe Sans Display" pitchFamily="2" charset="0"/>
                <a:ea typeface="+mn-ea"/>
                <a:cs typeface="+mn-cs"/>
              </a:rPr>
              <a:t>configuraciones</a:t>
            </a:r>
            <a:r>
              <a:rPr lang="en-US" sz="882" b="1"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predefinidas</a:t>
            </a:r>
            <a:r>
              <a:rPr lang="en-US" sz="882" b="1" i="0" kern="1200" dirty="0">
                <a:solidFill>
                  <a:schemeClr val="tx1"/>
                </a:solidFill>
                <a:effectLst/>
                <a:latin typeface="Segoe Sans Display" pitchFamily="2" charset="0"/>
                <a:ea typeface="+mn-ea"/>
                <a:cs typeface="+mn-cs"/>
              </a:rPr>
              <a:t> de ese </a:t>
            </a:r>
            <a:r>
              <a:rPr lang="en-US" sz="882" b="1" i="0" kern="1200" dirty="0" err="1">
                <a:solidFill>
                  <a:schemeClr val="tx1"/>
                </a:solidFill>
                <a:effectLst/>
                <a:latin typeface="Segoe Sans Display" pitchFamily="2" charset="0"/>
                <a:ea typeface="+mn-ea"/>
                <a:cs typeface="+mn-cs"/>
              </a:rPr>
              <a:t>sistem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ienen</a:t>
            </a:r>
            <a:r>
              <a:rPr lang="en-US" sz="882" b="0" i="0" kern="1200" dirty="0">
                <a:solidFill>
                  <a:schemeClr val="tx1"/>
                </a:solidFill>
                <a:effectLst/>
                <a:latin typeface="Segoe Sans Display" pitchFamily="2" charset="0"/>
                <a:ea typeface="+mn-ea"/>
                <a:cs typeface="+mn-cs"/>
              </a:rPr>
              <a:t> con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prompt,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lcance</a:t>
            </a:r>
            <a:r>
              <a:rPr lang="en-US" sz="882" b="0" i="0" kern="1200" dirty="0">
                <a:solidFill>
                  <a:schemeClr val="tx1"/>
                </a:solidFill>
                <a:effectLst/>
                <a:latin typeface="Segoe Sans Display" pitchFamily="2" charset="0"/>
                <a:ea typeface="+mn-ea"/>
                <a:cs typeface="+mn-cs"/>
              </a:rPr>
              <a:t> del </a:t>
            </a:r>
            <a:r>
              <a:rPr lang="en-US" sz="882" b="0" i="0" kern="1200" dirty="0" err="1">
                <a:solidFill>
                  <a:schemeClr val="tx1"/>
                </a:solidFill>
                <a:effectLst/>
                <a:latin typeface="Segoe Sans Display" pitchFamily="2" charset="0"/>
                <a:ea typeface="+mn-ea"/>
                <a:cs typeface="+mn-cs"/>
              </a:rPr>
              <a:t>conocimiento</a:t>
            </a:r>
            <a:r>
              <a:rPr lang="en-US" sz="882" b="0" i="0" kern="1200" dirty="0">
                <a:solidFill>
                  <a:schemeClr val="tx1"/>
                </a:solidFill>
                <a:effectLst/>
                <a:latin typeface="Segoe Sans Display" pitchFamily="2" charset="0"/>
                <a:ea typeface="+mn-ea"/>
                <a:cs typeface="+mn-cs"/>
              </a:rPr>
              <a:t> y las </a:t>
            </a:r>
            <a:r>
              <a:rPr lang="en-US" sz="882" b="0" i="0" kern="1200" dirty="0" err="1">
                <a:solidFill>
                  <a:schemeClr val="tx1"/>
                </a:solidFill>
                <a:effectLst/>
                <a:latin typeface="Segoe Sans Display" pitchFamily="2" charset="0"/>
                <a:ea typeface="+mn-ea"/>
                <a:cs typeface="+mn-cs"/>
              </a:rPr>
              <a:t>capacidad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justadas</a:t>
            </a:r>
            <a:r>
              <a:rPr lang="en-US" sz="882" b="0" i="0" kern="1200" dirty="0">
                <a:solidFill>
                  <a:schemeClr val="tx1"/>
                </a:solidFill>
                <a:effectLst/>
                <a:latin typeface="Segoe Sans Display" pitchFamily="2" charset="0"/>
                <a:ea typeface="+mn-ea"/>
                <a:cs typeface="+mn-cs"/>
              </a:rPr>
              <a:t>. Luego con </a:t>
            </a:r>
            <a:r>
              <a:rPr lang="en-US" sz="882" b="0" i="0" kern="1200" dirty="0" err="1">
                <a:solidFill>
                  <a:schemeClr val="tx1"/>
                </a:solidFill>
                <a:effectLst/>
                <a:latin typeface="Segoe Sans Display" pitchFamily="2" charset="0"/>
                <a:ea typeface="+mn-ea"/>
                <a:cs typeface="+mn-cs"/>
              </a:rPr>
              <a:t>ejempl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ond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ya</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ve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iez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uelt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n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l</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roblem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odelado</a:t>
            </a:r>
            <a:r>
              <a:rPr lang="en-US" sz="882" b="0" i="0" kern="1200" dirty="0">
                <a:solidFill>
                  <a:schemeClr val="tx1"/>
                </a:solidFill>
                <a:effectLst/>
                <a:latin typeface="Segoe Sans Display" pitchFamily="2" charset="0"/>
                <a:ea typeface="+mn-ea"/>
                <a:cs typeface="+mn-cs"/>
              </a:rPr>
              <a:t> de extremo a extremo </a:t>
            </a:r>
            <a:r>
              <a:rPr lang="en-US" sz="882" b="0" i="0" kern="1200" dirty="0" err="1">
                <a:solidFill>
                  <a:schemeClr val="tx1"/>
                </a:solidFill>
                <a:effectLst/>
                <a:latin typeface="Segoe Sans Display" pitchFamily="2" charset="0"/>
                <a:ea typeface="+mn-ea"/>
                <a:cs typeface="+mn-cs"/>
              </a:rPr>
              <a:t>dentro</a:t>
            </a:r>
            <a:r>
              <a:rPr lang="en-US" sz="882" b="0" i="0" kern="1200" dirty="0">
                <a:solidFill>
                  <a:schemeClr val="tx1"/>
                </a:solidFill>
                <a:effectLst/>
                <a:latin typeface="Segoe Sans Display" pitchFamily="2" charset="0"/>
                <a:ea typeface="+mn-ea"/>
                <a:cs typeface="+mn-cs"/>
              </a:rPr>
              <a:t> de un </a:t>
            </a:r>
            <a:r>
              <a:rPr lang="en-US" sz="882" b="0" i="0" kern="1200" dirty="0" err="1">
                <a:solidFill>
                  <a:schemeClr val="tx1"/>
                </a:solidFill>
                <a:effectLst/>
                <a:latin typeface="Segoe Sans Display" pitchFamily="2" charset="0"/>
                <a:ea typeface="+mn-ea"/>
                <a:cs typeface="+mn-cs"/>
              </a:rPr>
              <a:t>agente</a:t>
            </a:r>
            <a:r>
              <a:rPr lang="en-US" sz="882" b="0" i="0" kern="1200" dirty="0">
                <a:solidFill>
                  <a:schemeClr val="tx1"/>
                </a:solidFill>
                <a:effectLst/>
                <a:latin typeface="Segoe Sans Display" pitchFamily="2" charset="0"/>
                <a:ea typeface="+mn-ea"/>
                <a:cs typeface="+mn-cs"/>
              </a:rPr>
              <a:t>.</a:t>
            </a:r>
          </a:p>
          <a:p>
            <a:r>
              <a:rPr lang="en-US" sz="882" b="0" i="0" kern="1200" dirty="0">
                <a:solidFill>
                  <a:schemeClr val="tx1"/>
                </a:solidFill>
                <a:effectLst/>
                <a:latin typeface="Segoe Sans Display" pitchFamily="2" charset="0"/>
                <a:ea typeface="+mn-ea"/>
                <a:cs typeface="+mn-cs"/>
              </a:rPr>
              <a:t>Y </a:t>
            </a:r>
            <a:r>
              <a:rPr lang="en-US" sz="882" b="0" i="0" kern="1200" dirty="0" err="1">
                <a:solidFill>
                  <a:schemeClr val="tx1"/>
                </a:solidFill>
                <a:effectLst/>
                <a:latin typeface="Segoe Sans Display" pitchFamily="2" charset="0"/>
                <a:ea typeface="+mn-ea"/>
                <a:cs typeface="+mn-cs"/>
              </a:rPr>
              <a:t>terminamos</a:t>
            </a:r>
            <a:r>
              <a:rPr lang="en-US" sz="882" b="0" i="0" kern="1200" dirty="0">
                <a:solidFill>
                  <a:schemeClr val="tx1"/>
                </a:solidFill>
                <a:effectLst/>
                <a:latin typeface="Segoe Sans Display" pitchFamily="2" charset="0"/>
                <a:ea typeface="+mn-ea"/>
                <a:cs typeface="+mn-cs"/>
              </a:rPr>
              <a:t> con la </a:t>
            </a:r>
            <a:r>
              <a:rPr lang="en-US" sz="882" b="0" i="0" kern="1200" dirty="0" err="1">
                <a:solidFill>
                  <a:schemeClr val="tx1"/>
                </a:solidFill>
                <a:effectLst/>
                <a:latin typeface="Segoe Sans Display" pitchFamily="2" charset="0"/>
                <a:ea typeface="+mn-ea"/>
                <a:cs typeface="+mn-cs"/>
              </a:rPr>
              <a:t>par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vier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to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lgo serio: </a:t>
            </a:r>
            <a:r>
              <a:rPr lang="en-US" sz="882" b="0" i="0" kern="1200" dirty="0" err="1">
                <a:solidFill>
                  <a:schemeClr val="tx1"/>
                </a:solidFill>
                <a:effectLst/>
                <a:latin typeface="Segoe Sans Display" pitchFamily="2" charset="0"/>
                <a:ea typeface="+mn-ea"/>
                <a:cs typeface="+mn-cs"/>
              </a:rPr>
              <a:t>compartir</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y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ir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ag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n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mo</a:t>
            </a:r>
            <a:r>
              <a:rPr lang="en-US" sz="882" b="0"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propagar</a:t>
            </a:r>
            <a:r>
              <a:rPr lang="en-US" sz="882" b="1"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comportamiento</a:t>
            </a:r>
            <a:r>
              <a:rPr lang="en-US" sz="882" b="1" i="0" kern="1200" dirty="0">
                <a:solidFill>
                  <a:schemeClr val="tx1"/>
                </a:solidFill>
                <a:effectLst/>
                <a:latin typeface="Segoe Sans Display" pitchFamily="2" charset="0"/>
                <a:ea typeface="+mn-ea"/>
                <a:cs typeface="+mn-cs"/>
              </a:rPr>
              <a:t> </a:t>
            </a:r>
            <a:r>
              <a:rPr lang="en-US" sz="882" b="1" i="0" kern="1200" dirty="0" err="1">
                <a:solidFill>
                  <a:schemeClr val="tx1"/>
                </a:solidFill>
                <a:effectLst/>
                <a:latin typeface="Segoe Sans Display" pitchFamily="2" charset="0"/>
                <a:ea typeface="+mn-ea"/>
                <a:cs typeface="+mn-cs"/>
              </a:rPr>
              <a:t>dentro</a:t>
            </a:r>
            <a:r>
              <a:rPr lang="en-US" sz="882" b="1" i="0" kern="1200" dirty="0">
                <a:solidFill>
                  <a:schemeClr val="tx1"/>
                </a:solidFill>
                <a:effectLst/>
                <a:latin typeface="Segoe Sans Display" pitchFamily="2" charset="0"/>
                <a:ea typeface="+mn-ea"/>
                <a:cs typeface="+mn-cs"/>
              </a:rPr>
              <a:t> de la </a:t>
            </a:r>
            <a:r>
              <a:rPr lang="en-US" sz="882" b="1" i="0" kern="1200" dirty="0" err="1">
                <a:solidFill>
                  <a:schemeClr val="tx1"/>
                </a:solidFill>
                <a:effectLst/>
                <a:latin typeface="Segoe Sans Display" pitchFamily="2" charset="0"/>
                <a:ea typeface="+mn-ea"/>
                <a:cs typeface="+mn-cs"/>
              </a:rPr>
              <a:t>organizació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Por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uan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t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usuari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ntra</a:t>
            </a:r>
            <a:r>
              <a:rPr lang="en-US" sz="882" b="0" i="0" kern="1200" dirty="0">
                <a:solidFill>
                  <a:schemeClr val="tx1"/>
                </a:solidFill>
                <a:effectLst/>
                <a:latin typeface="Segoe Sans Display" pitchFamily="2" charset="0"/>
                <a:ea typeface="+mn-ea"/>
                <a:cs typeface="+mn-cs"/>
              </a:rPr>
              <a:t> con </a:t>
            </a:r>
            <a:r>
              <a:rPr lang="en-US" sz="882" b="0" i="0" kern="1200" dirty="0" err="1">
                <a:solidFill>
                  <a:schemeClr val="tx1"/>
                </a:solidFill>
                <a:effectLst/>
                <a:latin typeface="Segoe Sans Display" pitchFamily="2" charset="0"/>
                <a:ea typeface="+mn-ea"/>
                <a:cs typeface="+mn-cs"/>
              </a:rPr>
              <a:t>ot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ntex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otr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nivel</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conocimiento</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otro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atos</a:t>
            </a:r>
            <a:r>
              <a:rPr lang="en-US" sz="882" b="0" i="0" kern="1200" dirty="0">
                <a:solidFill>
                  <a:schemeClr val="tx1"/>
                </a:solidFill>
                <a:effectLst/>
                <a:latin typeface="Segoe Sans Display" pitchFamily="2" charset="0"/>
                <a:ea typeface="+mn-ea"/>
                <a:cs typeface="+mn-cs"/>
              </a:rPr>
              <a:t>… lo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has </a:t>
            </a:r>
            <a:r>
              <a:rPr lang="en-US" sz="882" b="0" i="0" kern="1200" dirty="0" err="1">
                <a:solidFill>
                  <a:schemeClr val="tx1"/>
                </a:solidFill>
                <a:effectLst/>
                <a:latin typeface="Segoe Sans Display" pitchFamily="2" charset="0"/>
                <a:ea typeface="+mn-ea"/>
                <a:cs typeface="+mn-cs"/>
              </a:rPr>
              <a:t>construi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ja</a:t>
            </a:r>
            <a:r>
              <a:rPr lang="en-US" sz="882" b="0" i="0" kern="1200" dirty="0">
                <a:solidFill>
                  <a:schemeClr val="tx1"/>
                </a:solidFill>
                <a:effectLst/>
                <a:latin typeface="Segoe Sans Display" pitchFamily="2" charset="0"/>
                <a:ea typeface="+mn-ea"/>
                <a:cs typeface="+mn-cs"/>
              </a:rPr>
              <a:t> de </a:t>
            </a:r>
            <a:r>
              <a:rPr lang="en-US" sz="882" b="0" i="0" kern="1200" dirty="0" err="1">
                <a:solidFill>
                  <a:schemeClr val="tx1"/>
                </a:solidFill>
                <a:effectLst/>
                <a:latin typeface="Segoe Sans Display" pitchFamily="2" charset="0"/>
                <a:ea typeface="+mn-ea"/>
                <a:cs typeface="+mn-cs"/>
              </a:rPr>
              <a:t>comportars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xactamen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igual</a:t>
            </a:r>
            <a:r>
              <a:rPr lang="en-US" sz="882" b="0" i="0" kern="1200" dirty="0">
                <a:solidFill>
                  <a:schemeClr val="tx1"/>
                </a:solidFill>
                <a:effectLst/>
                <a:latin typeface="Segoe Sans Display" pitchFamily="2" charset="0"/>
                <a:ea typeface="+mn-ea"/>
                <a:cs typeface="+mn-cs"/>
              </a:rPr>
              <a:t>.</a:t>
            </a:r>
          </a:p>
          <a:p>
            <a:r>
              <a:rPr lang="en-US" sz="882" b="0" i="0" kern="1200" dirty="0" err="1">
                <a:solidFill>
                  <a:schemeClr val="tx1"/>
                </a:solidFill>
                <a:effectLst/>
                <a:latin typeface="Segoe Sans Display" pitchFamily="2" charset="0"/>
                <a:ea typeface="+mn-ea"/>
                <a:cs typeface="+mn-cs"/>
              </a:rPr>
              <a:t>Así</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no </a:t>
            </a:r>
            <a:r>
              <a:rPr lang="en-US" sz="882" b="0" i="0" kern="1200" dirty="0" err="1">
                <a:solidFill>
                  <a:schemeClr val="tx1"/>
                </a:solidFill>
                <a:effectLst/>
                <a:latin typeface="Segoe Sans Display" pitchFamily="2" charset="0"/>
                <a:ea typeface="+mn-ea"/>
                <a:cs typeface="+mn-cs"/>
              </a:rPr>
              <a:t>vamos</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ve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osas</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ueltas</a:t>
            </a:r>
            <a:r>
              <a:rPr lang="en-US" sz="882" b="0" i="0" kern="1200" dirty="0">
                <a:solidFill>
                  <a:schemeClr val="tx1"/>
                </a:solidFill>
                <a:effectLst/>
                <a:latin typeface="Segoe Sans Display" pitchFamily="2" charset="0"/>
                <a:ea typeface="+mn-ea"/>
                <a:cs typeface="+mn-cs"/>
              </a:rPr>
              <a:t>.</a:t>
            </a:r>
            <a:br>
              <a:rPr lang="en-US" sz="882" b="0" i="0" kern="1200" dirty="0">
                <a:solidFill>
                  <a:schemeClr val="tx1"/>
                </a:solidFill>
                <a:effectLst/>
                <a:latin typeface="Segoe Sans Display" pitchFamily="2" charset="0"/>
                <a:ea typeface="+mn-ea"/>
                <a:cs typeface="+mn-cs"/>
              </a:rPr>
            </a:br>
            <a:r>
              <a:rPr lang="en-US" sz="882" b="0" i="0" kern="1200" dirty="0">
                <a:solidFill>
                  <a:schemeClr val="tx1"/>
                </a:solidFill>
                <a:effectLst/>
                <a:latin typeface="Segoe Sans Display" pitchFamily="2" charset="0"/>
                <a:ea typeface="+mn-ea"/>
                <a:cs typeface="+mn-cs"/>
              </a:rPr>
              <a:t>Vamos a </a:t>
            </a:r>
            <a:r>
              <a:rPr lang="en-US" sz="882" b="0" i="0" kern="1200" dirty="0" err="1">
                <a:solidFill>
                  <a:schemeClr val="tx1"/>
                </a:solidFill>
                <a:effectLst/>
                <a:latin typeface="Segoe Sans Display" pitchFamily="2" charset="0"/>
                <a:ea typeface="+mn-ea"/>
                <a:cs typeface="+mn-cs"/>
              </a:rPr>
              <a:t>i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bajand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capa</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capa</a:t>
            </a:r>
            <a:r>
              <a:rPr lang="en-US" sz="882" b="0" i="0" kern="1200" dirty="0">
                <a:solidFill>
                  <a:schemeClr val="tx1"/>
                </a:solidFill>
                <a:effectLst/>
                <a:latin typeface="Segoe Sans Display" pitchFamily="2" charset="0"/>
                <a:ea typeface="+mn-ea"/>
                <a:cs typeface="+mn-cs"/>
              </a:rPr>
              <a:t>… hasta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esto</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deje</a:t>
            </a:r>
            <a:r>
              <a:rPr lang="en-US" sz="882" b="0" i="0" kern="1200" dirty="0">
                <a:solidFill>
                  <a:schemeClr val="tx1"/>
                </a:solidFill>
                <a:effectLst/>
                <a:latin typeface="Segoe Sans Display" pitchFamily="2" charset="0"/>
                <a:ea typeface="+mn-ea"/>
                <a:cs typeface="+mn-cs"/>
              </a:rPr>
              <a:t> de sonar a </a:t>
            </a:r>
            <a:r>
              <a:rPr lang="en-US" sz="882" b="0" i="0" kern="1200" dirty="0" err="1">
                <a:solidFill>
                  <a:schemeClr val="tx1"/>
                </a:solidFill>
                <a:effectLst/>
                <a:latin typeface="Segoe Sans Display" pitchFamily="2" charset="0"/>
                <a:ea typeface="+mn-ea"/>
                <a:cs typeface="+mn-cs"/>
              </a:rPr>
              <a:t>funcionalidad</a:t>
            </a:r>
            <a:r>
              <a:rPr lang="en-US" sz="882" b="0" i="0" kern="1200" dirty="0">
                <a:solidFill>
                  <a:schemeClr val="tx1"/>
                </a:solidFill>
                <a:effectLst/>
                <a:latin typeface="Segoe Sans Display" pitchFamily="2" charset="0"/>
                <a:ea typeface="+mn-ea"/>
                <a:cs typeface="+mn-cs"/>
              </a:rPr>
              <a:t> y </a:t>
            </a:r>
            <a:r>
              <a:rPr lang="en-US" sz="882" b="0" i="0" kern="1200" dirty="0" err="1">
                <a:solidFill>
                  <a:schemeClr val="tx1"/>
                </a:solidFill>
                <a:effectLst/>
                <a:latin typeface="Segoe Sans Display" pitchFamily="2" charset="0"/>
                <a:ea typeface="+mn-ea"/>
                <a:cs typeface="+mn-cs"/>
              </a:rPr>
              <a:t>empiece</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parecer</a:t>
            </a:r>
            <a:r>
              <a:rPr lang="en-US" sz="882" b="0" i="0" kern="1200" dirty="0">
                <a:solidFill>
                  <a:schemeClr val="tx1"/>
                </a:solidFill>
                <a:effectLst/>
                <a:latin typeface="Segoe Sans Display" pitchFamily="2" charset="0"/>
                <a:ea typeface="+mn-ea"/>
                <a:cs typeface="+mn-cs"/>
              </a:rPr>
              <a:t> un </a:t>
            </a:r>
            <a:r>
              <a:rPr lang="en-US" sz="882" b="0" i="0" kern="1200" dirty="0" err="1">
                <a:solidFill>
                  <a:schemeClr val="tx1"/>
                </a:solidFill>
                <a:effectLst/>
                <a:latin typeface="Segoe Sans Display" pitchFamily="2" charset="0"/>
                <a:ea typeface="+mn-ea"/>
                <a:cs typeface="+mn-cs"/>
              </a:rPr>
              <a:t>sistema</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qu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si</a:t>
            </a:r>
            <a:r>
              <a:rPr lang="en-US" sz="882" b="0" i="0" kern="1200" dirty="0">
                <a:solidFill>
                  <a:schemeClr val="tx1"/>
                </a:solidFill>
                <a:effectLst/>
                <a:latin typeface="Segoe Sans Display" pitchFamily="2" charset="0"/>
                <a:ea typeface="+mn-ea"/>
                <a:cs typeface="+mn-cs"/>
              </a:rPr>
              <a:t> no lo </a:t>
            </a:r>
            <a:r>
              <a:rPr lang="en-US" sz="882" b="0" i="0" kern="1200" dirty="0" err="1">
                <a:solidFill>
                  <a:schemeClr val="tx1"/>
                </a:solidFill>
                <a:effectLst/>
                <a:latin typeface="Segoe Sans Display" pitchFamily="2" charset="0"/>
                <a:ea typeface="+mn-ea"/>
                <a:cs typeface="+mn-cs"/>
              </a:rPr>
              <a:t>entiendes</a:t>
            </a:r>
            <a:r>
              <a:rPr lang="en-US" sz="882" b="0" i="0" kern="1200" dirty="0">
                <a:solidFill>
                  <a:schemeClr val="tx1"/>
                </a:solidFill>
                <a:effectLst/>
                <a:latin typeface="Segoe Sans Display" pitchFamily="2" charset="0"/>
                <a:ea typeface="+mn-ea"/>
                <a:cs typeface="+mn-cs"/>
              </a:rPr>
              <a:t> bien, </a:t>
            </a:r>
            <a:r>
              <a:rPr lang="en-US" sz="882" b="0" i="0" kern="1200" dirty="0" err="1">
                <a:solidFill>
                  <a:schemeClr val="tx1"/>
                </a:solidFill>
                <a:effectLst/>
                <a:latin typeface="Segoe Sans Display" pitchFamily="2" charset="0"/>
                <a:ea typeface="+mn-ea"/>
                <a:cs typeface="+mn-cs"/>
              </a:rPr>
              <a:t>te</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va</a:t>
            </a:r>
            <a:r>
              <a:rPr lang="en-US" sz="882" b="0" i="0" kern="1200" dirty="0">
                <a:solidFill>
                  <a:schemeClr val="tx1"/>
                </a:solidFill>
                <a:effectLst/>
                <a:latin typeface="Segoe Sans Display" pitchFamily="2" charset="0"/>
                <a:ea typeface="+mn-ea"/>
                <a:cs typeface="+mn-cs"/>
              </a:rPr>
              <a:t> a </a:t>
            </a:r>
            <a:r>
              <a:rPr lang="en-US" sz="882" b="0" i="0" kern="1200" dirty="0" err="1">
                <a:solidFill>
                  <a:schemeClr val="tx1"/>
                </a:solidFill>
                <a:effectLst/>
                <a:latin typeface="Segoe Sans Display" pitchFamily="2" charset="0"/>
                <a:ea typeface="+mn-ea"/>
                <a:cs typeface="+mn-cs"/>
              </a:rPr>
              <a:t>dar</a:t>
            </a:r>
            <a:r>
              <a:rPr lang="en-US" sz="882" b="0" i="0" kern="1200" dirty="0">
                <a:solidFill>
                  <a:schemeClr val="tx1"/>
                </a:solidFill>
                <a:effectLst/>
                <a:latin typeface="Segoe Sans Display" pitchFamily="2" charset="0"/>
                <a:ea typeface="+mn-ea"/>
                <a:cs typeface="+mn-cs"/>
              </a:rPr>
              <a:t> </a:t>
            </a:r>
            <a:r>
              <a:rPr lang="en-US" sz="882" b="0" i="0" kern="1200" dirty="0" err="1">
                <a:solidFill>
                  <a:schemeClr val="tx1"/>
                </a:solidFill>
                <a:effectLst/>
                <a:latin typeface="Segoe Sans Display" pitchFamily="2" charset="0"/>
                <a:ea typeface="+mn-ea"/>
                <a:cs typeface="+mn-cs"/>
              </a:rPr>
              <a:t>más</a:t>
            </a:r>
            <a:r>
              <a:rPr lang="en-US" sz="882" b="0" i="0" kern="1200" dirty="0">
                <a:solidFill>
                  <a:schemeClr val="tx1"/>
                </a:solidFill>
                <a:effectLst/>
                <a:latin typeface="Segoe Sans Display" pitchFamily="2" charset="0"/>
                <a:ea typeface="+mn-ea"/>
                <a:cs typeface="+mn-cs"/>
              </a:rPr>
              <a:t> de un </a:t>
            </a:r>
            <a:r>
              <a:rPr lang="en-US" sz="882" b="0" i="0" kern="1200" dirty="0" err="1">
                <a:solidFill>
                  <a:schemeClr val="tx1"/>
                </a:solidFill>
                <a:effectLst/>
                <a:latin typeface="Segoe Sans Display" pitchFamily="2" charset="0"/>
                <a:ea typeface="+mn-ea"/>
                <a:cs typeface="+mn-cs"/>
              </a:rPr>
              <a:t>susto</a:t>
            </a:r>
            <a:r>
              <a:rPr lang="en-US" sz="882" b="0" i="0" kern="1200" dirty="0">
                <a:solidFill>
                  <a:schemeClr val="tx1"/>
                </a:solidFill>
                <a:effectLst/>
                <a:latin typeface="Segoe Sans Display" pitchFamily="2" charset="0"/>
                <a:ea typeface="+mn-ea"/>
                <a:cs typeface="+mn-cs"/>
              </a:rPr>
              <a:t>.”</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2982105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Ahora abrimos el turno de preguntas y respuestas. Levantad la mano y activad el microfono cuando se os indique. Si preferis, tambien podeis dejar vuestras preguntas en el chat de Q&amp;A. Intentaremos responder a todas, ya sea ahora o despues de la sesion. No os corteis, que para eso estamos aqui.</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23121201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a:t>Con esto cerramos la sesion de hoy. Recordad que la grabacion estara disponible, asi como la presentacion que hemos compartido. Si os surgen dudas despues, no dudeis en contactarnos. Muchas gracias a todos y hasta la proxima.</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18797024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kern="1200" dirty="0">
                <a:solidFill>
                  <a:schemeClr val="tx1"/>
                </a:solidFill>
                <a:effectLst/>
                <a:latin typeface="Segoe Sans Display" pitchFamily="2" charset="0"/>
                <a:ea typeface="+mn-ea"/>
                <a:cs typeface="+mn-cs"/>
              </a:rPr>
              <a:t>Ahora sí, entramos en materia. Y aquí es donde conviene parar un segundo y alinear expectativas. Cuando hablamos de M365 </a:t>
            </a:r>
            <a:r>
              <a:rPr lang="es-ES" sz="882" kern="1200" dirty="0" err="1">
                <a:solidFill>
                  <a:schemeClr val="tx1"/>
                </a:solidFill>
                <a:effectLst/>
                <a:latin typeface="Segoe Sans Display" pitchFamily="2" charset="0"/>
                <a:ea typeface="+mn-ea"/>
                <a:cs typeface="+mn-cs"/>
              </a:rPr>
              <a:t>Copilot</a:t>
            </a:r>
            <a:r>
              <a:rPr lang="es-ES" sz="882" kern="1200" dirty="0">
                <a:solidFill>
                  <a:schemeClr val="tx1"/>
                </a:solidFill>
                <a:effectLst/>
                <a:latin typeface="Segoe Sans Display" pitchFamily="2" charset="0"/>
                <a:ea typeface="+mn-ea"/>
                <a:cs typeface="+mn-cs"/>
              </a:rPr>
              <a:t> no estamos hablando de una funcionalidad más que añadir al </a:t>
            </a:r>
            <a:r>
              <a:rPr lang="es-ES" sz="882" kern="1200" dirty="0" err="1">
                <a:solidFill>
                  <a:schemeClr val="tx1"/>
                </a:solidFill>
                <a:effectLst/>
                <a:latin typeface="Segoe Sans Display" pitchFamily="2" charset="0"/>
                <a:ea typeface="+mn-ea"/>
                <a:cs typeface="+mn-cs"/>
              </a:rPr>
              <a:t>stack</a:t>
            </a:r>
            <a:r>
              <a:rPr lang="es-ES" sz="882" kern="1200" dirty="0">
                <a:solidFill>
                  <a:schemeClr val="tx1"/>
                </a:solidFill>
                <a:effectLst/>
                <a:latin typeface="Segoe Sans Display" pitchFamily="2" charset="0"/>
                <a:ea typeface="+mn-ea"/>
                <a:cs typeface="+mn-cs"/>
              </a:rPr>
              <a:t>, estamos hablando de un cambio en la forma de trabajar. No es una herramienta, es una capa que se mete en todo lo que ya hacemos. </a:t>
            </a:r>
            <a:r>
              <a:rPr lang="es-ES" sz="882" kern="1200" dirty="0" err="1">
                <a:solidFill>
                  <a:schemeClr val="tx1"/>
                </a:solidFill>
                <a:effectLst/>
                <a:latin typeface="Segoe Sans Display" pitchFamily="2" charset="0"/>
                <a:ea typeface="+mn-ea"/>
                <a:cs typeface="+mn-cs"/>
              </a:rPr>
              <a:t>Copilot</a:t>
            </a:r>
            <a:r>
              <a:rPr lang="es-ES" sz="882" kern="1200" dirty="0">
                <a:solidFill>
                  <a:schemeClr val="tx1"/>
                </a:solidFill>
                <a:effectLst/>
                <a:latin typeface="Segoe Sans Display" pitchFamily="2" charset="0"/>
                <a:ea typeface="+mn-ea"/>
                <a:cs typeface="+mn-cs"/>
              </a:rPr>
              <a:t> no viene a sustituir lo que haces, viene a meterse en medio y acelerar absolutamente todo. Y aquí es donde empieza la conversación interesante: porque el valor real no está en que responda preguntas, está en que entiende el contexto en el que trabajas cada día.</a:t>
            </a:r>
            <a:endParaRPr lang="en-US" sz="882" kern="1200" dirty="0">
              <a:solidFill>
                <a:schemeClr val="tx1"/>
              </a:solidFill>
              <a:effectLst/>
              <a:latin typeface="Segoe Sans Display" pitchFamily="2" charset="0"/>
              <a:ea typeface="+mn-ea"/>
              <a:cs typeface="+mn-cs"/>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2349749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92D6E7-4C55-4CB5-ACCD-27E1C87E86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CBCE55-51E4-2858-0C15-9EB19A9E47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B0AB13-3FB8-D1E7-9FDA-A544B7EA331C}"/>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s-ES" sz="882" b="0" kern="1200" dirty="0">
                <a:solidFill>
                  <a:schemeClr val="tx1"/>
                </a:solidFill>
                <a:effectLst/>
                <a:latin typeface="Segoe Sans Display" pitchFamily="2" charset="0"/>
                <a:ea typeface="+mn-ea"/>
                <a:cs typeface="+mn-cs"/>
              </a:rPr>
              <a:t>Mira, aquí hay que poner orden porque si no, en cinco minutos estamos todos mezclando conceptos y luego vienen las decepciones. </a:t>
            </a:r>
            <a:r>
              <a:rPr lang="es-ES" sz="882" b="0" kern="1200" dirty="0" err="1">
                <a:solidFill>
                  <a:schemeClr val="tx1"/>
                </a:solidFill>
                <a:effectLst/>
                <a:latin typeface="Segoe Sans Display" pitchFamily="2" charset="0"/>
                <a:ea typeface="+mn-ea"/>
                <a:cs typeface="+mn-cs"/>
              </a:rPr>
              <a:t>Copilot</a:t>
            </a:r>
            <a:r>
              <a:rPr lang="es-ES" sz="882" b="0" kern="1200" dirty="0">
                <a:solidFill>
                  <a:schemeClr val="tx1"/>
                </a:solidFill>
                <a:effectLst/>
                <a:latin typeface="Segoe Sans Display" pitchFamily="2" charset="0"/>
                <a:ea typeface="+mn-ea"/>
                <a:cs typeface="+mn-cs"/>
              </a:rPr>
              <a:t>… es un asistente. Muy potente, sí. Le preguntas cosas, te responde, te ayuda… perfecto. Pero no hace nada si tú no tiras de él. Es como ese proceso interno que existe, que podría aportar valor… pero si nadie lo activa, ahí se queda, mirando al infinito y ocupando espacio. Luego está </a:t>
            </a:r>
            <a:r>
              <a:rPr lang="es-ES" sz="882" b="0" kern="1200" dirty="0" err="1">
                <a:solidFill>
                  <a:schemeClr val="tx1"/>
                </a:solidFill>
                <a:effectLst/>
                <a:latin typeface="Segoe Sans Display" pitchFamily="2" charset="0"/>
                <a:ea typeface="+mn-ea"/>
                <a:cs typeface="+mn-cs"/>
              </a:rPr>
              <a:t>Copilot</a:t>
            </a:r>
            <a:r>
              <a:rPr lang="es-ES" sz="882" b="0" kern="1200" dirty="0">
                <a:solidFill>
                  <a:schemeClr val="tx1"/>
                </a:solidFill>
                <a:effectLst/>
                <a:latin typeface="Segoe Sans Display" pitchFamily="2" charset="0"/>
                <a:ea typeface="+mn-ea"/>
                <a:cs typeface="+mn-cs"/>
              </a:rPr>
              <a:t> Studio, que es cuando dices: vale, dejo de hacer pruebas y empiezo a tocar cosas de verdad. Aquí ya decides con qué datos trabaja, qué sistemas toca, qué puede hacer y qué no. Aquí ya pasas de usuario a alguien que construye. Pero donde se rompe la baraja de verdad son los agentes. Porque los agentes son los que hacen que esto deje de depender de ti preguntando constantemente. Son los que cogen un proceso —con sus pasos, sus excepciones, sus momentos en los que todo se tuerce— y empiezan a ejecutarlo contigo. Y aquí viene la parte que normalmente no te cuentan: una cosa es estar en el chat flipando con lo que te devuelve… y otra muy distinta es meter esto en algo que tiene plazos, gente encima, errores y consecuencias. Los agentes son el paso de la demo bonita al barro. De “qué bien resume esto” a “oye, esto ya está tirando del proceso sin que yo esté detrás”. Y cuando eso pasa… es cuando empieza lo serio. Porque mientras estás preguntando, estás entretenido. Cuando esto empieza a hacer trabajo por ti… ya estás cambiando cómo trabajas</a:t>
            </a:r>
            <a:endParaRPr lang="en-US" sz="882" b="1" kern="1200" dirty="0">
              <a:solidFill>
                <a:schemeClr val="tx1"/>
              </a:solidFill>
              <a:effectLst/>
              <a:latin typeface="Segoe Sans Display" pitchFamily="2" charset="0"/>
              <a:ea typeface="+mn-ea"/>
              <a:cs typeface="+mn-cs"/>
            </a:endParaRPr>
          </a:p>
          <a:p>
            <a:endParaRPr lang="en-US" dirty="0"/>
          </a:p>
        </p:txBody>
      </p:sp>
      <p:sp>
        <p:nvSpPr>
          <p:cNvPr id="4" name="Slide Number Placeholder 3">
            <a:extLst>
              <a:ext uri="{FF2B5EF4-FFF2-40B4-BE49-F238E27FC236}">
                <a16:creationId xmlns:a16="http://schemas.microsoft.com/office/drawing/2014/main" id="{275C867E-9430-84F2-146C-B6652E60A10A}"/>
              </a:ext>
            </a:extLst>
          </p:cNvPr>
          <p:cNvSpPr>
            <a:spLocks noGrp="1"/>
          </p:cNvSpPr>
          <p:nvPr>
            <p:ph type="sldNum" sz="quarter" idx="5"/>
          </p:nvPr>
        </p:nvSpPr>
        <p:spPr/>
        <p:txBody>
          <a:bodyPr/>
          <a:lstStyle/>
          <a:p>
            <a:pPr marL="0" marR="0" lvl="0" indent="0" algn="r" defTabSz="1786473"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86473"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92094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b="0" kern="1200" dirty="0">
                <a:solidFill>
                  <a:schemeClr val="tx1"/>
                </a:solidFill>
                <a:effectLst/>
                <a:latin typeface="Segoe Sans Display" pitchFamily="2" charset="0"/>
                <a:ea typeface="+mn-ea"/>
                <a:cs typeface="+mn-cs"/>
              </a:rPr>
              <a:t>Esto al final no va de que el modelo sea más o menos listo… que eso ya lo damos por hecho. La diferencia de verdad es que no trabaja con contexto genérico, trabaja con lo tuyo. Con tus documentos, tus mails, tus reuniones… con todo ese ecosistema que ya tienes, para bien y para mal. Porque claro, tú vas a una IA cualquiera en internet y te responde muy bien… pero sin saber de qué estás hablando realmente. Te da algo correcto… pero genérico y bastante inútil en dura dos minutos. </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Aquí lo que cambia es que tiene acceso al contexto. Sabe —o puede llegar a saber— en qué proyecto estás, qué se discutió, qué documentos hay alrededor. Ahora bien… tampoco nos vengamos arriba: no siempre acierta, no siempre tiene toda la película, y no siempre interpreta bien lo que encuentra. Y aquí es donde entra la parte incómoda pero clave: esto no sustituye tu criterio. Te da velocidad, te da una primera versión, te da conexiones que igual tú no harías tan rápido… pero la responsabilidad de decir “esto tiene sentido o esto es un despropósito” sigue siendo tuya. La diferencia es que pasas de empezar desde cero… a empezar desde algo que en muchos casos ya está bastante encaminado. Y eso, bien usado, es una ventaja enorme. Mal usado… es un problema que aparece más rápido.</a:t>
            </a:r>
            <a:endParaRPr lang="en-US" sz="882" b="1" kern="1200" dirty="0">
              <a:solidFill>
                <a:schemeClr val="tx1"/>
              </a:solidFill>
              <a:effectLst/>
              <a:latin typeface="Segoe Sans Display" pitchFamily="2" charset="0"/>
              <a:ea typeface="+mn-ea"/>
              <a:cs typeface="+mn-cs"/>
            </a:endParaRPr>
          </a:p>
          <a:p>
            <a:pPr>
              <a:spcAft>
                <a:spcPts val="999"/>
              </a:spcAft>
              <a:defRPr/>
            </a:pPr>
            <a:endParaRPr lang="en-US" dirty="0"/>
          </a:p>
        </p:txBody>
      </p:sp>
      <p:sp>
        <p:nvSpPr>
          <p:cNvPr id="4" name="Header Placeholder 3"/>
          <p:cNvSpPr>
            <a:spLocks noGrp="1"/>
          </p:cNvSpPr>
          <p:nvPr>
            <p:ph type="hdr" sz="quarter"/>
          </p:nvPr>
        </p:nvSpPr>
        <p:spPr/>
        <p:txBody>
          <a:bodyPr/>
          <a:lstStyle/>
          <a:p>
            <a:pPr defTabSz="942255">
              <a:defRPr/>
            </a:pPr>
            <a:endParaRPr lang="en-US">
              <a:solidFill>
                <a:prstClr val="black"/>
              </a:solidFill>
              <a:latin typeface="Segoe UI" pitchFamily="34" charset="0"/>
            </a:endParaRPr>
          </a:p>
        </p:txBody>
      </p:sp>
      <p:sp>
        <p:nvSpPr>
          <p:cNvPr id="5" name="Footer Placeholder 4"/>
          <p:cNvSpPr>
            <a:spLocks noGrp="1"/>
          </p:cNvSpPr>
          <p:nvPr>
            <p:ph type="ftr" sz="quarter" idx="4"/>
          </p:nvPr>
        </p:nvSpPr>
        <p:spPr/>
        <p:txBody>
          <a:bodyPr/>
          <a:lstStyle/>
          <a:p>
            <a:pPr defTabSz="941979" eaLnBrk="0" hangingPunct="0">
              <a:defRPr/>
            </a:pPr>
            <a:r>
              <a:rPr lang="es-e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pPr defTabSz="942255">
              <a:defRPr/>
            </a:pPr>
            <a:fld id="{386CE63F-9E7F-4C04-9D0D-FCA25A8E9E86}" type="datetime8">
              <a:rPr lang="en-US">
                <a:solidFill>
                  <a:prstClr val="black"/>
                </a:solidFill>
                <a:latin typeface="Segoe UI" pitchFamily="34" charset="0"/>
              </a:rPr>
              <a:pPr defTabSz="942255">
                <a:defRPr/>
              </a:pPr>
              <a:t>7/7/2026 9:28 AM</a:t>
            </a:fld>
            <a:endParaRPr lang="en-US">
              <a:solidFill>
                <a:prstClr val="black"/>
              </a:solidFill>
              <a:latin typeface="Segoe UI" pitchFamily="34" charset="0"/>
            </a:endParaRPr>
          </a:p>
        </p:txBody>
      </p:sp>
      <p:sp>
        <p:nvSpPr>
          <p:cNvPr id="7" name="Slide Number Placeholder 6"/>
          <p:cNvSpPr>
            <a:spLocks noGrp="1"/>
          </p:cNvSpPr>
          <p:nvPr>
            <p:ph type="sldNum" sz="quarter" idx="5"/>
          </p:nvPr>
        </p:nvSpPr>
        <p:spPr/>
        <p:txBody>
          <a:bodyPr/>
          <a:lstStyle/>
          <a:p>
            <a:pPr defTabSz="942255">
              <a:defRPr/>
            </a:pPr>
            <a:fld id="{B4008EB6-D09E-4580-8CD6-DDB14511944F}" type="slidenum">
              <a:rPr lang="en-US">
                <a:solidFill>
                  <a:prstClr val="black"/>
                </a:solidFill>
                <a:latin typeface="Segoe UI" pitchFamily="34" charset="0"/>
              </a:rPr>
              <a:pPr defTabSz="942255">
                <a:defRPr/>
              </a:pPr>
              <a:t>7</a:t>
            </a:fld>
            <a:endParaRPr lang="en-US">
              <a:solidFill>
                <a:prstClr val="black"/>
              </a:solidFill>
              <a:latin typeface="Segoe UI" pitchFamily="34" charset="0"/>
            </a:endParaRPr>
          </a:p>
        </p:txBody>
      </p:sp>
    </p:spTree>
    <p:extLst>
      <p:ext uri="{BB962C8B-B14F-4D97-AF65-F5344CB8AC3E}">
        <p14:creationId xmlns:p14="http://schemas.microsoft.com/office/powerpoint/2010/main" val="20632017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b="0" kern="1200" dirty="0">
                <a:solidFill>
                  <a:schemeClr val="tx1"/>
                </a:solidFill>
                <a:effectLst/>
                <a:latin typeface="Segoe Sans Display" pitchFamily="2" charset="0"/>
                <a:ea typeface="+mn-ea"/>
                <a:cs typeface="+mn-cs"/>
              </a:rPr>
              <a:t>Y aquí es donde cambia la película de verdad. Hasta ahora estamos hablando de </a:t>
            </a:r>
            <a:r>
              <a:rPr lang="es-ES" sz="882" b="0" kern="1200" dirty="0" err="1">
                <a:solidFill>
                  <a:schemeClr val="tx1"/>
                </a:solidFill>
                <a:effectLst/>
                <a:latin typeface="Segoe Sans Display" pitchFamily="2" charset="0"/>
                <a:ea typeface="+mn-ea"/>
                <a:cs typeface="+mn-cs"/>
              </a:rPr>
              <a:t>Copilot</a:t>
            </a:r>
            <a:r>
              <a:rPr lang="es-ES" sz="882" b="0" kern="1200" dirty="0">
                <a:solidFill>
                  <a:schemeClr val="tx1"/>
                </a:solidFill>
                <a:effectLst/>
                <a:latin typeface="Segoe Sans Display" pitchFamily="2" charset="0"/>
                <a:ea typeface="+mn-ea"/>
                <a:cs typeface="+mn-cs"/>
              </a:rPr>
              <a:t> como asistente. Tú le preguntas, te responde, y más o menos te apañas. Los agentes no van de eso.</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Los agentes van de coger algo que haces siempre —un proceso, aunque sea pequeño— y darle estructura. Decirle: esto se hace así, con estos pasos, con estos datos… y que deje de depender de que tú te acuerdes de todo cada vez. No es que sea más listo. Es que está más acotado. Y eso, aunque parezca menos espectacular… es justo lo que hace que funcione mejor en el día a día.</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Porque en el trabajo real no necesitas algo que sepa de todo. Necesitas algo que haga bien una cosa concreta… y que no te haga pensar demasiado mientras lo hace</a:t>
            </a:r>
            <a:endParaRPr lang="en-US" sz="882" b="1" kern="1200" dirty="0">
              <a:solidFill>
                <a:schemeClr val="tx1"/>
              </a:solidFill>
              <a:effectLst/>
              <a:latin typeface="Segoe Sans Display" pitchFamily="2" charset="0"/>
              <a:ea typeface="+mn-ea"/>
              <a:cs typeface="+mn-cs"/>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s-es" sz="400">
                <a:gradFill>
                  <a:gsLst>
                    <a:gs pos="0">
                      <a:prstClr val="black"/>
                    </a:gs>
                    <a:gs pos="100000">
                      <a:prstClr val="black"/>
                    </a:gs>
                  </a:gsLst>
                  <a:lin ang="5400000" scaled="0"/>
                </a:gradFill>
                <a:ea typeface="Segoe UI" pitchFamily="34" charset="0"/>
              </a:rPr>
              <a:t>© Microsoft Corporation. Todos los derechos reservados. MICROSOFT NO OFRECE GARANTÍAS, YA SEAN EXPRESAS, IMPLÍCITAS O PREVISTAS POR LA LEY, CON RESPECTO A LA INFORMACIÓN DE ESTA PRESENTACIÓN.</a:t>
            </a:r>
          </a:p>
        </p:txBody>
      </p:sp>
      <p:sp>
        <p:nvSpPr>
          <p:cNvPr id="6" name="Date Placeholder 5"/>
          <p:cNvSpPr>
            <a:spLocks noGrp="1"/>
          </p:cNvSpPr>
          <p:nvPr>
            <p:ph type="dt" idx="1"/>
          </p:nvPr>
        </p:nvSpPr>
        <p:spPr/>
        <p:txBody>
          <a:bodyPr/>
          <a:lstStyle/>
          <a:p>
            <a:fld id="{386CE63F-9E7F-4C04-9D0D-FCA25A8E9E86}" type="datetime8">
              <a:rPr lang="en-US" smtClean="0"/>
              <a:pPr/>
              <a:t>7/7/2026 9:2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0795281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882" b="0" kern="1200" dirty="0">
                <a:solidFill>
                  <a:schemeClr val="tx1"/>
                </a:solidFill>
                <a:effectLst/>
                <a:latin typeface="Segoe Sans Display" pitchFamily="2" charset="0"/>
                <a:ea typeface="+mn-ea"/>
                <a:cs typeface="+mn-cs"/>
              </a:rPr>
              <a:t>Aquí es donde los agentes empiezan a tener sentido de negocio, de verdad. Cuando se habla de ‘más conocimiento, más habilidades y automatización’, no es una forma bonita de decir que hacen más cosas. Es bastante más concreto que eso.</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Más conocimiento no es que sepan más… es que saben lo que toca en ese contexto. No están tirando de algo genérico, están mirando las fuentes que tú has definido: tus datos, tus documentos, tus sistemas. Eso reduce ruido. No lo elimina, pero lo reduce.</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Más habilidades significa que no se quedan en responder. Pueden ejecutar pasos: llamar a un conector, lanzar un flujo, escribir en un sistema… Es decir, pasan de ser algo que opina a algo que interviene en el proceso.</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Y la automatización aquí no es ‘apagamos la luz y que esto funcione solo’. Es más bien estructurar partes del trabajo que ya haces para que no dependan de memoria humana ni de repetir siempre lo mismo.</a:t>
            </a:r>
            <a:endParaRPr lang="en-US" sz="882" b="1" kern="1200" dirty="0">
              <a:solidFill>
                <a:schemeClr val="tx1"/>
              </a:solidFill>
              <a:effectLst/>
              <a:latin typeface="Segoe Sans Display" pitchFamily="2" charset="0"/>
              <a:ea typeface="+mn-ea"/>
              <a:cs typeface="+mn-cs"/>
            </a:endParaRPr>
          </a:p>
          <a:p>
            <a:r>
              <a:rPr lang="es-ES" sz="882" b="0" kern="1200" dirty="0">
                <a:solidFill>
                  <a:schemeClr val="tx1"/>
                </a:solidFill>
                <a:effectLst/>
                <a:latin typeface="Segoe Sans Display" pitchFamily="2" charset="0"/>
                <a:ea typeface="+mn-ea"/>
                <a:cs typeface="+mn-cs"/>
              </a:rPr>
              <a:t>Por eso el cambio importante no es técnico, es operativo. Porque de repente dejas de usar </a:t>
            </a:r>
            <a:r>
              <a:rPr lang="es-ES" sz="882" b="0" kern="1200" dirty="0" err="1">
                <a:solidFill>
                  <a:schemeClr val="tx1"/>
                </a:solidFill>
                <a:effectLst/>
                <a:latin typeface="Segoe Sans Display" pitchFamily="2" charset="0"/>
                <a:ea typeface="+mn-ea"/>
                <a:cs typeface="+mn-cs"/>
              </a:rPr>
              <a:t>Copilot</a:t>
            </a:r>
            <a:r>
              <a:rPr lang="es-ES" sz="882" b="0" kern="1200" dirty="0">
                <a:solidFill>
                  <a:schemeClr val="tx1"/>
                </a:solidFill>
                <a:effectLst/>
                <a:latin typeface="Segoe Sans Display" pitchFamily="2" charset="0"/>
                <a:ea typeface="+mn-ea"/>
                <a:cs typeface="+mn-cs"/>
              </a:rPr>
              <a:t> como un sitio donde preguntas cosas… y empiezas a usar agentes en puntos concretos del proceso donde sabes que siempre se te va el tiempo: recopilar información, preparar algo, validar, mover datos… Y ahí, aunque no sea perfecto —que no lo es—, ya aporta valor. Porque te quita carga cognitiva y te reduce trabajo repetitivo. No sustituye el proceso. Ni sustituye tu criterio. Pero empieza a quitarte de en medio partes del trabajo que, siendo honestos, nadie echa de menos hacer a mano.</a:t>
            </a:r>
            <a:endParaRPr lang="en-US" sz="882" b="1" kern="1200" dirty="0">
              <a:solidFill>
                <a:schemeClr val="tx1"/>
              </a:solidFill>
              <a:effectLst/>
              <a:latin typeface="Segoe Sans Display" pitchFamily="2"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defTabSz="942289">
              <a:defRPr/>
            </a:pPr>
            <a:fld id="{F7021451-1387-4CA6-816F-3879F97B5CBC}" type="slidenum">
              <a:rPr lang="en-US">
                <a:solidFill>
                  <a:prstClr val="black"/>
                </a:solidFill>
                <a:latin typeface="Calibri" panose="020F0502020204030204"/>
              </a:rPr>
              <a:pPr defTabSz="942289">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emf"/><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emf"/><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slideMaster" Target="../slideMasters/slideMaster3.xml"/><Relationship Id="rId4" Type="http://schemas.openxmlformats.org/officeDocument/2006/relationships/image" Target="../media/image65.jpe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1.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1.jpeg"/><Relationship Id="rId1" Type="http://schemas.openxmlformats.org/officeDocument/2006/relationships/slideMaster" Target="../slideMasters/slideMaster4.xml"/><Relationship Id="rId4" Type="http://schemas.openxmlformats.org/officeDocument/2006/relationships/image" Target="../media/image65.jpe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20.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1.jpeg"/><Relationship Id="rId1" Type="http://schemas.openxmlformats.org/officeDocument/2006/relationships/slideMaster" Target="../slideMasters/slideMaster5.xml"/><Relationship Id="rId4" Type="http://schemas.openxmlformats.org/officeDocument/2006/relationships/image" Target="../media/image65.jpe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7.emf"/></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1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6.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1.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6.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34.png"/><Relationship Id="rId4" Type="http://schemas.openxmlformats.org/officeDocument/2006/relationships/image" Target="../media/image33.jpeg"/></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1.xml"/><Relationship Id="rId4" Type="http://schemas.openxmlformats.org/officeDocument/2006/relationships/image" Target="../media/image34.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4.png"/><Relationship Id="rId7" Type="http://schemas.openxmlformats.org/officeDocument/2006/relationships/image" Target="../media/image12.sv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sv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7.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9.svg"/><Relationship Id="rId4" Type="http://schemas.microsoft.com/office/2007/relationships/hdphoto" Target="../media/hdphoto1.wdp"/></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9.svg"/><Relationship Id="rId4" Type="http://schemas.openxmlformats.org/officeDocument/2006/relationships/image" Target="../media/image4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12.sv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43.png"/><Relationship Id="rId7" Type="http://schemas.openxmlformats.org/officeDocument/2006/relationships/image" Target="../media/image12.sv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38.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40.png"/><Relationship Id="rId4" Type="http://schemas.openxmlformats.org/officeDocument/2006/relationships/image" Target="../media/image39.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1.emf"/><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7.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6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7.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48.png"/></Relationships>
</file>

<file path=ppt/slideLayouts/_rels/slideLayout62.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4.jpeg"/><Relationship Id="rId1" Type="http://schemas.openxmlformats.org/officeDocument/2006/relationships/slideMaster" Target="../slideMasters/slideMaster1.xml"/><Relationship Id="rId4" Type="http://schemas.openxmlformats.org/officeDocument/2006/relationships/image" Target="../media/image27.emf"/></Relationships>
</file>

<file path=ppt/slideLayouts/_rels/slideLayout7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9.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5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54.jpe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1.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54.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34.png"/><Relationship Id="rId4" Type="http://schemas.openxmlformats.org/officeDocument/2006/relationships/image" Target="../media/image33.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8.png"/><Relationship Id="rId4" Type="http://schemas.openxmlformats.org/officeDocument/2006/relationships/image" Target="../media/image7.png"/></Relationships>
</file>

<file path=ppt/slideLayouts/_rels/slideLayout8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6.png"/><Relationship Id="rId1" Type="http://schemas.openxmlformats.org/officeDocument/2006/relationships/slideMaster" Target="../slideMasters/slideMaster1.xml"/><Relationship Id="rId6" Type="http://schemas.openxmlformats.org/officeDocument/2006/relationships/image" Target="../media/image1.emf"/><Relationship Id="rId5" Type="http://schemas.microsoft.com/office/2007/relationships/hdphoto" Target="../media/hdphoto1.wdp"/><Relationship Id="rId4" Type="http://schemas.openxmlformats.org/officeDocument/2006/relationships/image" Target="../media/image4.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8.sv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8.sv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8.sv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8.sv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sv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0.sv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835" t="-3489" r="308" b="3489"/>
          <a:stretch>
            <a:fillRect/>
          </a:stretch>
        </p:blipFill>
        <p:spPr>
          <a:xfrm rot="5400000" flipV="1">
            <a:off x="5793471" y="281511"/>
            <a:ext cx="6730538" cy="6125480"/>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pic>
        <p:nvPicPr>
          <p:cNvPr id="5" name="Graphic 8">
            <a:extLst>
              <a:ext uri="{FF2B5EF4-FFF2-40B4-BE49-F238E27FC236}">
                <a16:creationId xmlns:a16="http://schemas.microsoft.com/office/drawing/2014/main" id="{BE5AA630-C956-B93D-CEB7-C65C71A18F38}"/>
              </a:ext>
            </a:extLst>
          </p:cNvPr>
          <p:cNvPicPr>
            <a:picLocks noChangeAspect="1"/>
          </p:cNvPicPr>
          <p:nvPr userDrawn="1"/>
        </p:nvPicPr>
        <p:blipFill>
          <a:blip r:embed="rId6"/>
          <a:srcRect/>
          <a:stretch/>
        </p:blipFill>
        <p:spPr>
          <a:xfrm>
            <a:off x="481040" y="907479"/>
            <a:ext cx="2971802" cy="704088"/>
          </a:xfrm>
          <a:prstGeom prst="rect">
            <a:avLst/>
          </a:prstGeom>
        </p:spPr>
      </p:pic>
    </p:spTree>
    <p:extLst>
      <p:ext uri="{BB962C8B-B14F-4D97-AF65-F5344CB8AC3E}">
        <p14:creationId xmlns:p14="http://schemas.microsoft.com/office/powerpoint/2010/main" val="3149975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93548173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1279118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917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739199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824383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93050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968104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0129906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39986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7949065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9884528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13827527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1606780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37407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128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4543817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134243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1129543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4532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311441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260208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7566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r="-43958"/>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228772451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262990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53554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07129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3645120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844218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2203522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659474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ayout 1">
    <p:bg>
      <p:bgPr>
        <a:solidFill>
          <a:srgbClr val="FFF9F3"/>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036C5E3-1C9B-8F43-9E7C-7124F0477707}"/>
              </a:ext>
              <a:ext uri="{C183D7F6-B498-43B3-948B-1728B52AA6E4}">
                <adec:decorative xmlns:adec="http://schemas.microsoft.com/office/drawing/2017/decorative" val="1"/>
              </a:ext>
            </a:extLst>
          </p:cNvPr>
          <p:cNvSpPr>
            <a:spLocks/>
          </p:cNvSpPr>
          <p:nvPr userDrawn="1"/>
        </p:nvSpPr>
        <p:spPr bwMode="auto">
          <a:xfrm>
            <a:off x="573126" y="1100097"/>
            <a:ext cx="11035281" cy="5451037"/>
          </a:xfrm>
          <a:prstGeom prst="roundRect">
            <a:avLst>
              <a:gd name="adj" fmla="val 3603"/>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latin typeface="Segoe UI"/>
              <a:cs typeface="Segoe UI" pitchFamily="34" charset="0"/>
            </a:endParaRPr>
          </a:p>
        </p:txBody>
      </p:sp>
      <p:pic>
        <p:nvPicPr>
          <p:cNvPr id="5" name="Picture 4">
            <a:extLst>
              <a:ext uri="{FF2B5EF4-FFF2-40B4-BE49-F238E27FC236}">
                <a16:creationId xmlns:a16="http://schemas.microsoft.com/office/drawing/2014/main" id="{3DF811F8-4A6F-396F-1DD4-FA9EBCA07340}"/>
              </a:ext>
              <a:ext uri="{C183D7F6-B498-43B3-948B-1728B52AA6E4}">
                <adec:decorative xmlns:adec="http://schemas.microsoft.com/office/drawing/2017/decorative" val="1"/>
              </a:ext>
            </a:extLst>
          </p:cNvPr>
          <p:cNvPicPr>
            <a:picLocks/>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p:spPr>
      </p:pic>
      <p:sp>
        <p:nvSpPr>
          <p:cNvPr id="6" name="Freeform: Shape 5">
            <a:extLst>
              <a:ext uri="{FF2B5EF4-FFF2-40B4-BE49-F238E27FC236}">
                <a16:creationId xmlns:a16="http://schemas.microsoft.com/office/drawing/2014/main" id="{DB940884-550E-6BD2-C8DB-ED9A07667067}"/>
              </a:ext>
            </a:extLst>
          </p:cNvPr>
          <p:cNvSpPr>
            <a:spLocks/>
          </p:cNvSpPr>
          <p:nvPr userDrawn="1"/>
        </p:nvSpPr>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Display"/>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marL="0" algn="l" defTabSz="932742" rtl="0" eaLnBrk="1" latinLnBrk="0" hangingPunct="1">
              <a:lnSpc>
                <a:spcPct val="100000"/>
              </a:lnSpc>
              <a:spcBef>
                <a:spcPct val="0"/>
              </a:spcBef>
              <a:spcAft>
                <a:spcPts val="600"/>
              </a:spcAft>
              <a:buNone/>
              <a:defRPr lang="en-US" sz="3600" b="0" kern="1200" cap="none" spc="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8" name="Graphic 34_1">
            <a:extLst>
              <a:ext uri="{FF2B5EF4-FFF2-40B4-BE49-F238E27FC236}">
                <a16:creationId xmlns:a16="http://schemas.microsoft.com/office/drawing/2014/main" id="{E448A26F-C0C9-DB36-2CFE-F7B47B2FAA77}"/>
              </a:ext>
            </a:extLst>
          </p:cNvPr>
          <p:cNvSpPr>
            <a:spLocks/>
          </p:cNvSpPr>
          <p:nvPr userDrawn="1"/>
        </p:nvSpPr>
        <p:spPr>
          <a:xfrm>
            <a:off x="1" y="1358900"/>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Rectangle: Rounded Corners 8">
            <a:extLst>
              <a:ext uri="{FF2B5EF4-FFF2-40B4-BE49-F238E27FC236}">
                <a16:creationId xmlns:a16="http://schemas.microsoft.com/office/drawing/2014/main" id="{431A5C14-682E-DB09-57E9-1C6BC1949611}"/>
              </a:ext>
            </a:extLst>
          </p:cNvPr>
          <p:cNvSpPr>
            <a:spLocks/>
          </p:cNvSpPr>
          <p:nvPr userDrawn="1"/>
        </p:nvSpPr>
        <p:spPr bwMode="auto">
          <a:xfrm>
            <a:off x="6894513" y="1562102"/>
            <a:ext cx="4541795" cy="4838697"/>
          </a:xfrm>
          <a:prstGeom prst="roundRect">
            <a:avLst>
              <a:gd name="adj" fmla="val 2471"/>
            </a:avLst>
          </a:prstGeom>
          <a:solidFill>
            <a:schemeClr val="accent3">
              <a:lumMod val="20000"/>
              <a:lumOff val="80000"/>
              <a:alpha val="50000"/>
            </a:schemeClr>
          </a:solidFill>
          <a:ln w="635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pPr marL="228600" marR="0" lvl="0" indent="-228600" algn="ctr" defTabSz="914367" fontAlgn="auto">
              <a:lnSpc>
                <a:spcPct val="100000"/>
              </a:lnSpc>
              <a:spcBef>
                <a:spcPts val="0"/>
              </a:spcBef>
              <a:spcAft>
                <a:spcPts val="200"/>
              </a:spcAft>
              <a:buClrTx/>
              <a:buSzTx/>
              <a:buFont typeface="Wingdings" panose="05000000000000000000" pitchFamily="2" charset="2"/>
              <a:buNone/>
              <a:tabLst/>
            </a:pPr>
            <a:endParaRPr kumimoji="0" lang="en-US" sz="2800" b="0" i="0" u="none" strike="noStrike" cap="none" spc="0" normalizeH="0" baseline="0">
              <a:ln>
                <a:noFill/>
              </a:ln>
              <a:solidFill>
                <a:schemeClr val="tx1"/>
              </a:solidFill>
              <a:effectLst/>
              <a:uLnTx/>
              <a:uFillTx/>
            </a:endParaRPr>
          </a:p>
        </p:txBody>
      </p:sp>
      <p:sp>
        <p:nvSpPr>
          <p:cNvPr id="29" name="Text Placeholder 2">
            <a:extLst>
              <a:ext uri="{FF2B5EF4-FFF2-40B4-BE49-F238E27FC236}">
                <a16:creationId xmlns:a16="http://schemas.microsoft.com/office/drawing/2014/main" id="{202B27A8-F8FC-857E-538F-6BFD7749E765}"/>
              </a:ext>
            </a:extLst>
          </p:cNvPr>
          <p:cNvSpPr>
            <a:spLocks noGrp="1"/>
          </p:cNvSpPr>
          <p:nvPr>
            <p:ph type="body" sz="quarter" idx="13" hasCustomPrompt="1"/>
          </p:nvPr>
        </p:nvSpPr>
        <p:spPr>
          <a:xfrm>
            <a:off x="755691" y="1660199"/>
            <a:ext cx="5921333" cy="659155"/>
          </a:xfrm>
        </p:spPr>
        <p:txBody>
          <a:bodyPr/>
          <a:lstStyle>
            <a:lvl1pPr marL="285750" indent="-285750" algn="l" defTabSz="914400" rtl="0" eaLnBrk="1" latinLnBrk="0" hangingPunct="1">
              <a:buFont typeface="Arial" panose="020B0604020202020204" pitchFamily="34" charset="0"/>
              <a:buChar char="•"/>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a:p>
            <a:pPr marL="0" marR="0" lvl="0" indent="0" algn="l" defTabSz="914367" rtl="0" eaLnBrk="1" fontAlgn="base" latinLnBrk="0" hangingPunct="1">
              <a:lnSpc>
                <a:spcPct val="100000"/>
              </a:lnSpc>
              <a:spcBef>
                <a:spcPts val="1000"/>
              </a:spcBef>
              <a:spcAft>
                <a:spcPts val="300"/>
              </a:spcAft>
              <a:buClrTx/>
              <a:buSzTx/>
              <a:buFontTx/>
              <a:buNone/>
              <a:tabLst/>
              <a:defRPr/>
            </a:pPr>
            <a:endParaRPr lang="en-US"/>
          </a:p>
        </p:txBody>
      </p:sp>
      <p:sp>
        <p:nvSpPr>
          <p:cNvPr id="30" name="Text Placeholder 2">
            <a:extLst>
              <a:ext uri="{FF2B5EF4-FFF2-40B4-BE49-F238E27FC236}">
                <a16:creationId xmlns:a16="http://schemas.microsoft.com/office/drawing/2014/main" id="{29A0E38D-0002-F6AA-D26F-06CF4A87C496}"/>
              </a:ext>
            </a:extLst>
          </p:cNvPr>
          <p:cNvSpPr>
            <a:spLocks noGrp="1"/>
          </p:cNvSpPr>
          <p:nvPr>
            <p:ph type="body" sz="quarter" idx="22" hasCustomPrompt="1"/>
          </p:nvPr>
        </p:nvSpPr>
        <p:spPr>
          <a:xfrm>
            <a:off x="755692" y="2120078"/>
            <a:ext cx="5921333" cy="215444"/>
          </a:xfrm>
        </p:spPr>
        <p:txBody>
          <a:bodyPr vert="horz" wrap="square" lIns="0" tIns="0" rIns="0" bIns="0" rtlCol="0">
            <a:noAutofit/>
          </a:bodyPr>
          <a:lstStyle>
            <a:lvl1pPr marL="0" indent="0">
              <a:buNone/>
              <a:defRPr lang="en-US" sz="1400" dirty="0"/>
            </a:lvl1pPr>
          </a:lstStyle>
          <a:p>
            <a:pPr marL="228600" lvl="0" indent="-228600">
              <a:buSzPct val="100000"/>
            </a:pPr>
            <a:r>
              <a:rPr lang="en-US"/>
              <a:t>Click to edit add text</a:t>
            </a:r>
          </a:p>
        </p:txBody>
      </p:sp>
      <p:sp>
        <p:nvSpPr>
          <p:cNvPr id="35" name="Text Placeholder 2">
            <a:extLst>
              <a:ext uri="{FF2B5EF4-FFF2-40B4-BE49-F238E27FC236}">
                <a16:creationId xmlns:a16="http://schemas.microsoft.com/office/drawing/2014/main" id="{F1027F2E-E6B7-4834-92E3-E7AC2135920B}"/>
              </a:ext>
            </a:extLst>
          </p:cNvPr>
          <p:cNvSpPr>
            <a:spLocks noGrp="1"/>
          </p:cNvSpPr>
          <p:nvPr>
            <p:ph type="body" sz="quarter" idx="24" hasCustomPrompt="1"/>
          </p:nvPr>
        </p:nvSpPr>
        <p:spPr>
          <a:xfrm>
            <a:off x="755691" y="2840023"/>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28" name="Text Placeholder 2">
            <a:extLst>
              <a:ext uri="{FF2B5EF4-FFF2-40B4-BE49-F238E27FC236}">
                <a16:creationId xmlns:a16="http://schemas.microsoft.com/office/drawing/2014/main" id="{DD9D3198-9AA0-5F80-DA12-149E3ECC6310}"/>
              </a:ext>
            </a:extLst>
          </p:cNvPr>
          <p:cNvSpPr>
            <a:spLocks noGrp="1"/>
          </p:cNvSpPr>
          <p:nvPr>
            <p:ph type="body" sz="quarter" idx="18" hasCustomPrompt="1"/>
          </p:nvPr>
        </p:nvSpPr>
        <p:spPr>
          <a:xfrm>
            <a:off x="755692" y="3299903"/>
            <a:ext cx="5921333" cy="646331"/>
          </a:xfrm>
        </p:spPr>
        <p:txBody>
          <a:bodyPr vert="horz" wrap="square" lIns="0" tIns="0" rIns="0" bIns="0" rtlCol="0">
            <a:noAutofit/>
          </a:bodyPr>
          <a:lstStyle>
            <a:lvl1pPr marL="0" indent="0">
              <a:buFont typeface="Arial" panose="020B0604020202020204" pitchFamily="34" charset="0"/>
              <a:buNone/>
              <a:defRPr lang="en-US" sz="1400" dirty="0"/>
            </a:lvl1pPr>
          </a:lstStyle>
          <a:p>
            <a:pPr marL="342900" lvl="0" indent="-342900">
              <a:buSzPct val="100000"/>
            </a:pPr>
            <a:r>
              <a:rPr lang="en-US"/>
              <a:t>Click to edit add text</a:t>
            </a:r>
          </a:p>
        </p:txBody>
      </p:sp>
      <p:sp>
        <p:nvSpPr>
          <p:cNvPr id="36" name="Text Placeholder 2">
            <a:extLst>
              <a:ext uri="{FF2B5EF4-FFF2-40B4-BE49-F238E27FC236}">
                <a16:creationId xmlns:a16="http://schemas.microsoft.com/office/drawing/2014/main" id="{03C5DC12-665A-86E5-C070-8C5F426DC93C}"/>
              </a:ext>
            </a:extLst>
          </p:cNvPr>
          <p:cNvSpPr>
            <a:spLocks noGrp="1"/>
          </p:cNvSpPr>
          <p:nvPr>
            <p:ph type="body" sz="quarter" idx="25" hasCustomPrompt="1"/>
          </p:nvPr>
        </p:nvSpPr>
        <p:spPr>
          <a:xfrm>
            <a:off x="755692" y="4450734"/>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32" name="Text Placeholder 31">
            <a:extLst>
              <a:ext uri="{FF2B5EF4-FFF2-40B4-BE49-F238E27FC236}">
                <a16:creationId xmlns:a16="http://schemas.microsoft.com/office/drawing/2014/main" id="{9D75FB69-4FEE-302B-4B45-772074E5F006}"/>
              </a:ext>
            </a:extLst>
          </p:cNvPr>
          <p:cNvSpPr>
            <a:spLocks noGrp="1"/>
          </p:cNvSpPr>
          <p:nvPr>
            <p:ph type="body" sz="quarter" idx="23"/>
          </p:nvPr>
        </p:nvSpPr>
        <p:spPr>
          <a:xfrm>
            <a:off x="755692" y="4910613"/>
            <a:ext cx="5921333" cy="1437317"/>
          </a:xfrm>
        </p:spPr>
        <p:txBody>
          <a:bodyPr>
            <a:noAutofit/>
          </a:bodyPr>
          <a:lstStyle>
            <a:lvl1pPr marL="195263" indent="-195263">
              <a:spcBef>
                <a:spcPts val="0"/>
              </a:spcBef>
              <a:spcAft>
                <a:spcPts val="600"/>
              </a:spcAft>
              <a:buSzPct val="100000"/>
              <a:buFont typeface="Arial" panose="020B0604020202020204" pitchFamily="34" charset="0"/>
              <a:buChar char="•"/>
              <a:defRPr sz="1400">
                <a:solidFill>
                  <a:schemeClr val="tx1"/>
                </a:solidFill>
              </a:defRPr>
            </a:lvl1pPr>
          </a:lstStyle>
          <a:p>
            <a:pPr lvl="0"/>
            <a:endParaRPr lang="en-US"/>
          </a:p>
        </p:txBody>
      </p:sp>
      <p:sp>
        <p:nvSpPr>
          <p:cNvPr id="7" name="Text Placeholder 6">
            <a:extLst>
              <a:ext uri="{FF2B5EF4-FFF2-40B4-BE49-F238E27FC236}">
                <a16:creationId xmlns:a16="http://schemas.microsoft.com/office/drawing/2014/main" id="{CD39A1C0-83B2-42B8-D6BA-B9E170E9B633}"/>
              </a:ext>
            </a:extLst>
          </p:cNvPr>
          <p:cNvSpPr>
            <a:spLocks noGrp="1"/>
          </p:cNvSpPr>
          <p:nvPr>
            <p:ph type="body" sz="quarter" idx="26"/>
          </p:nvPr>
        </p:nvSpPr>
        <p:spPr>
          <a:xfrm>
            <a:off x="2395536" y="2779200"/>
            <a:ext cx="3163888" cy="580159"/>
          </a:xfrm>
        </p:spPr>
        <p:txBody>
          <a:bodyPr/>
          <a:lstStyle>
            <a:lvl1pPr>
              <a:defRPr kumimoji="0" lang="en-US" sz="1600" b="0" i="0" u="none" strike="noStrike" kern="1200" cap="none" spc="0" normalizeH="0" baseline="0" dirty="0" smtClean="0">
                <a:ln>
                  <a:noFill/>
                </a:ln>
                <a:solidFill>
                  <a:schemeClr val="accent2"/>
                </a:solidFill>
                <a:effectLst/>
                <a:uLnTx/>
                <a:uFillTx/>
                <a:latin typeface="+mj-lt"/>
                <a:ea typeface="+mn-ea"/>
                <a:cs typeface="+mn-cs"/>
              </a:defRPr>
            </a:lvl1pPr>
            <a:lvl2pPr marL="0" indent="0">
              <a:defRPr/>
            </a:lvl2pPr>
            <a:lvl3pPr marL="0" indent="0">
              <a:defRPr/>
            </a:lvl3pPr>
            <a:lvl4pPr marL="0" indent="0">
              <a:defRPr/>
            </a:lvl4pPr>
            <a:lvl5pPr marL="0" indent="0">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Master text styles</a:t>
            </a:r>
          </a:p>
          <a:p>
            <a:pPr marL="228600" marR="0" lvl="0" indent="-228600" algn="l" defTabSz="932742" rtl="0" eaLnBrk="1" fontAlgn="auto" latinLnBrk="0" hangingPunct="1">
              <a:lnSpc>
                <a:spcPct val="100000"/>
              </a:lnSpc>
              <a:spcBef>
                <a:spcPct val="20000"/>
              </a:spcBef>
              <a:spcAft>
                <a:spcPts val="0"/>
              </a:spcAft>
              <a:buClrTx/>
              <a:buSzPct val="100000"/>
              <a:tabLst/>
            </a:pPr>
            <a:r>
              <a:rPr lang="en-US"/>
              <a:t>Second level</a:t>
            </a:r>
          </a:p>
        </p:txBody>
      </p:sp>
    </p:spTree>
    <p:extLst>
      <p:ext uri="{BB962C8B-B14F-4D97-AF65-F5344CB8AC3E}">
        <p14:creationId xmlns:p14="http://schemas.microsoft.com/office/powerpoint/2010/main" val="3233785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68">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200">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7947534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059739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9842472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2850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4209530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902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874953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864803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6651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891953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774626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97158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3890022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009879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572971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8563748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43021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04313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6614339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2411673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7137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ustom Layout">
    <p:bg>
      <p:bgPr>
        <a:gradFill flip="none" rotWithShape="1">
          <a:gsLst>
            <a:gs pos="0">
              <a:schemeClr val="accent2">
                <a:lumMod val="20000"/>
                <a:lumOff val="80000"/>
                <a:alpha val="50000"/>
              </a:schemeClr>
            </a:gs>
            <a:gs pos="92000">
              <a:schemeClr val="accent1">
                <a:lumMod val="20000"/>
                <a:lumOff val="80000"/>
              </a:schemeClr>
            </a:gs>
          </a:gsLst>
          <a:lin ang="18900000" scaled="1"/>
          <a:tileRect/>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D90CDFB-16E7-DFC1-4CCD-89791F65D460}"/>
              </a:ext>
              <a:ext uri="{C183D7F6-B498-43B3-948B-1728B52AA6E4}">
                <adec:decorative xmlns:adec="http://schemas.microsoft.com/office/drawing/2017/decorative" val="1"/>
              </a:ext>
            </a:extLst>
          </p:cNvPr>
          <p:cNvGrpSpPr/>
          <p:nvPr userDrawn="1"/>
        </p:nvGrpSpPr>
        <p:grpSpPr>
          <a:xfrm>
            <a:off x="-1" y="-1"/>
            <a:ext cx="12192001" cy="6980663"/>
            <a:chOff x="-1" y="-1"/>
            <a:chExt cx="12192001" cy="6980663"/>
          </a:xfrm>
        </p:grpSpPr>
        <p:pic>
          <p:nvPicPr>
            <p:cNvPr id="4" name="Picture 3" descr="A picture containing white, design, black and white, art&#10;&#10;Description automatically generated">
              <a:extLst>
                <a:ext uri="{FF2B5EF4-FFF2-40B4-BE49-F238E27FC236}">
                  <a16:creationId xmlns:a16="http://schemas.microsoft.com/office/drawing/2014/main" id="{A6403808-3EE8-C7C4-EA8C-609573961EDE}"/>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C7B8481-6211-E6D7-E8FA-07BB65764CAB}"/>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1"/>
              <a:ext cx="12192001" cy="6980663"/>
            </a:xfrm>
            <a:prstGeom prst="rect">
              <a:avLst/>
            </a:prstGeom>
          </p:spPr>
        </p:pic>
      </p:grpSp>
      <p:sp>
        <p:nvSpPr>
          <p:cNvPr id="2" name="Title 1">
            <a:extLst>
              <a:ext uri="{FF2B5EF4-FFF2-40B4-BE49-F238E27FC236}">
                <a16:creationId xmlns:a16="http://schemas.microsoft.com/office/drawing/2014/main" id="{EDCB96C2-457B-3EBD-8FED-8BB354035EA2}"/>
              </a:ext>
            </a:extLst>
          </p:cNvPr>
          <p:cNvSpPr>
            <a:spLocks noGrp="1"/>
          </p:cNvSpPr>
          <p:nvPr>
            <p:ph type="title"/>
          </p:nvPr>
        </p:nvSpPr>
        <p:spPr>
          <a:xfrm>
            <a:off x="588263" y="458788"/>
            <a:ext cx="11018520" cy="553998"/>
          </a:xfrm>
        </p:spPr>
        <p:txBody>
          <a:bodyPr/>
          <a:lstStyle/>
          <a:p>
            <a:r>
              <a:rPr lang="en-US"/>
              <a:t>Click to edit Master title style</a:t>
            </a:r>
            <a:endParaRPr lang="en-IN"/>
          </a:p>
        </p:txBody>
      </p:sp>
    </p:spTree>
    <p:extLst>
      <p:ext uri="{BB962C8B-B14F-4D97-AF65-F5344CB8AC3E}">
        <p14:creationId xmlns:p14="http://schemas.microsoft.com/office/powerpoint/2010/main" val="152237758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lgn="l" defTabSz="932742" rtl="0" eaLnBrk="1" latinLnBrk="0" hangingPunct="1">
              <a:lnSpc>
                <a:spcPct val="100000"/>
              </a:lnSpc>
              <a:spcBef>
                <a:spcPct val="0"/>
              </a:spcBef>
              <a:buNone/>
              <a:defRPr lang="en-US" sz="3200" b="0" kern="1200" cap="none" spc="-5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600284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8679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00088318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535469"/>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3553458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37723193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0196029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942079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3460549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5985455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406447557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ckground 7 Blank">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383054059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vy Background">
    <p:bg>
      <p:bgPr>
        <a:solidFill>
          <a:srgbClr val="151E4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9841215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84784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66898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25369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8370821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t="-247"/>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26457093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4458403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270301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537"/>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a:extLst>
              <a:ext uri="{96DAC541-7B7A-43D3-8B79-37D633B846F1}">
                <asvg:svgBlip xmlns:asvg="http://schemas.microsoft.com/office/drawing/2016/SVG/main" r:embed="rId4"/>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314936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59043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432382"/>
            <a:ext cx="7331228" cy="1335750"/>
          </a:xfrm>
          <a:prstGeom prst="rect">
            <a:avLst/>
          </a:prstGeom>
          <a:noFill/>
          <a:ln>
            <a:noFill/>
            <a:prstDash/>
          </a:ln>
          <a:effectLst/>
        </p:spPr>
        <p:txBody>
          <a:bodyPr wrap="square" lIns="0" rIns="0">
            <a:spAutoFit/>
          </a:bodyPr>
          <a:lstStyle/>
          <a:p>
            <a:pPr>
              <a:lnSpc>
                <a:spcPct val="80000"/>
              </a:lnSpc>
              <a:spcAft>
                <a:spcPts val="600"/>
              </a:spcAft>
            </a:pPr>
            <a:r>
              <a:rPr lang="en-US" sz="10100" spc="0" baseline="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Gracias!</a:t>
            </a:r>
          </a:p>
        </p:txBody>
      </p:sp>
    </p:spTree>
    <p:extLst>
      <p:ext uri="{BB962C8B-B14F-4D97-AF65-F5344CB8AC3E}">
        <p14:creationId xmlns:p14="http://schemas.microsoft.com/office/powerpoint/2010/main" val="273454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1 - ligh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E53CB7-242F-DE31-5043-E20246F1EB33}"/>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
        <p:nvSpPr>
          <p:cNvPr id="19" name="Title 1">
            <a:extLst>
              <a:ext uri="{FF2B5EF4-FFF2-40B4-BE49-F238E27FC236}">
                <a16:creationId xmlns:a16="http://schemas.microsoft.com/office/drawing/2014/main" id="{72535865-A229-5507-A2C7-11ECB16F392F}"/>
              </a:ext>
            </a:extLst>
          </p:cNvPr>
          <p:cNvSpPr>
            <a:spLocks noGrp="1"/>
          </p:cNvSpPr>
          <p:nvPr>
            <p:ph type="title"/>
          </p:nvPr>
        </p:nvSpPr>
        <p:spPr>
          <a:xfrm>
            <a:off x="588263" y="485481"/>
            <a:ext cx="11018520" cy="498598"/>
          </a:xfrm>
          <a:prstGeom prst="rect">
            <a:avLst/>
          </a:prstGeom>
        </p:spPr>
        <p:txBody>
          <a:bodyPr lIns="0" rIns="0"/>
          <a:lstStyle>
            <a:lvl1pPr>
              <a:defRPr spc="0" baseline="0">
                <a:solidFill>
                  <a:srgbClr val="151E47"/>
                </a:solidFill>
                <a:latin typeface="Segoe Sans Display Semibold" pitchFamily="2" charset="0"/>
                <a:cs typeface="Segoe Sans Display Semibold" pitchFamily="2" charset="0"/>
              </a:defRPr>
            </a:lvl1pPr>
          </a:lstStyle>
          <a:p>
            <a:r>
              <a:rPr lang="en-US"/>
              <a:t>Click to edit Master title style</a:t>
            </a:r>
          </a:p>
        </p:txBody>
      </p:sp>
      <p:sp>
        <p:nvSpPr>
          <p:cNvPr id="21" name="Text Placeholder 3">
            <a:extLst>
              <a:ext uri="{FF2B5EF4-FFF2-40B4-BE49-F238E27FC236}">
                <a16:creationId xmlns:a16="http://schemas.microsoft.com/office/drawing/2014/main" id="{C221563D-9D7D-59D4-15F5-691342AAF2A4}"/>
              </a:ext>
            </a:extLst>
          </p:cNvPr>
          <p:cNvSpPr>
            <a:spLocks noGrp="1"/>
          </p:cNvSpPr>
          <p:nvPr>
            <p:ph idx="1"/>
          </p:nvPr>
        </p:nvSpPr>
        <p:spPr>
          <a:xfrm>
            <a:off x="584200" y="1435503"/>
            <a:ext cx="11018520" cy="1428083"/>
          </a:xfrm>
          <a:prstGeom prst="rect">
            <a:avLst/>
          </a:prstGeom>
        </p:spPr>
        <p:txBody>
          <a:bodyPr vert="horz" wrap="square" lIns="0" tIns="0" rIns="0" bIns="0" rtlCol="0">
            <a:spAutoFit/>
          </a:bodyPr>
          <a:lstStyle>
            <a:lvl1pPr>
              <a:defRPr sz="1600">
                <a:solidFill>
                  <a:srgbClr val="151E47"/>
                </a:solidFill>
              </a:defRPr>
            </a:lvl1pPr>
            <a:lvl2pPr>
              <a:defRPr sz="1600">
                <a:solidFill>
                  <a:srgbClr val="151E47"/>
                </a:solidFill>
              </a:defRPr>
            </a:lvl2pPr>
            <a:lvl3pPr>
              <a:defRPr sz="1600">
                <a:solidFill>
                  <a:srgbClr val="151E47"/>
                </a:solidFill>
              </a:defRPr>
            </a:lvl3pPr>
            <a:lvl4pPr>
              <a:defRPr sz="1600">
                <a:solidFill>
                  <a:srgbClr val="151E47"/>
                </a:solidFill>
              </a:defRPr>
            </a:lvl4pPr>
            <a:lvl5pPr>
              <a:defRPr sz="1600">
                <a:solidFill>
                  <a:srgbClr val="151E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010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2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9C099-894E-0D88-9D9C-CE47048BD8A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 light">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100DC9-F079-8524-5830-3A36378B22B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lumn bullet - light">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D947218-CB56-374F-5584-04BA67C1703D}"/>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86B7CA03-C864-862E-0B28-6FF509BF2D0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6319485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0ECD512D-523B-6987-EBE4-CD6774F2456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9767690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a:extLst>
              <a:ext uri="{96DAC541-7B7A-43D3-8B79-37D633B846F1}">
                <asvg:svgBlip xmlns:asvg="http://schemas.microsoft.com/office/drawing/2016/SVG/main" r:embed="rId7"/>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8"/>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7778110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tx1"/>
                </a:solidFill>
                <a:latin typeface="Segoe Sans Display "/>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0" name="Straight Connector 9">
            <a:extLst>
              <a:ext uri="{FF2B5EF4-FFF2-40B4-BE49-F238E27FC236}">
                <a16:creationId xmlns:a16="http://schemas.microsoft.com/office/drawing/2014/main" id="{4B7175DD-9188-BAB1-B7F0-9EEC45E7818C}"/>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21C4E-BBCB-C499-AD1C-971FBC595AF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6B0A2AA-8A12-72D0-DF65-7636E96E37AC}"/>
              </a:ext>
            </a:extLst>
          </p:cNvPr>
          <p:cNvSpPr>
            <a:spLocks noGrp="1"/>
          </p:cNvSpPr>
          <p:nvPr>
            <p:ph type="dt" sz="half" idx="10"/>
          </p:nvPr>
        </p:nvSpPr>
        <p:spPr/>
        <p:txBody>
          <a:bodyPr/>
          <a:lstStyle/>
          <a:p>
            <a:fld id="{D5E52CCD-87A0-48DA-A1F0-73DFE2A08BB6}" type="datetimeFigureOut">
              <a:rPr lang="en-US" smtClean="0"/>
              <a:t>7/7/2026</a:t>
            </a:fld>
            <a:endParaRPr lang="en-US"/>
          </a:p>
        </p:txBody>
      </p:sp>
      <p:sp>
        <p:nvSpPr>
          <p:cNvPr id="4" name="Footer Placeholder 3">
            <a:extLst>
              <a:ext uri="{FF2B5EF4-FFF2-40B4-BE49-F238E27FC236}">
                <a16:creationId xmlns:a16="http://schemas.microsoft.com/office/drawing/2014/main" id="{41B7489B-64B1-701D-95C7-9F684E2AC40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4DD210C-9856-22DE-4769-841CEABB2CDB}"/>
              </a:ext>
            </a:extLst>
          </p:cNvPr>
          <p:cNvSpPr>
            <a:spLocks noGrp="1"/>
          </p:cNvSpPr>
          <p:nvPr>
            <p:ph type="sldNum" sz="quarter" idx="12"/>
          </p:nvPr>
        </p:nvSpPr>
        <p:spPr/>
        <p:txBody>
          <a:bodyPr/>
          <a:lstStyle/>
          <a:p>
            <a:fld id="{C4346CB8-9CA0-4607-8B35-425E708881BF}" type="slidenum">
              <a:rPr lang="en-US" smtClean="0"/>
              <a:t>‹#›</a:t>
            </a:fld>
            <a:endParaRPr lang="en-US"/>
          </a:p>
        </p:txBody>
      </p:sp>
    </p:spTree>
    <p:extLst>
      <p:ext uri="{BB962C8B-B14F-4D97-AF65-F5344CB8AC3E}">
        <p14:creationId xmlns:p14="http://schemas.microsoft.com/office/powerpoint/2010/main" val="31483886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4092842"/>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0997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a:alphaModFix amt="10000"/>
                <a:extLst>
                  <a:ext uri="{96DAC541-7B7A-43D3-8B79-37D633B846F1}">
                    <asvg:svgBlip xmlns:asvg="http://schemas.microsoft.com/office/drawing/2016/SVG/main" r:embed="rId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1221878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 Square Photo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1"/>
            <a:ext cx="6892925" cy="430887"/>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5" y="457200"/>
            <a:ext cx="4416425" cy="1107996"/>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4" y="1436689"/>
            <a:ext cx="3470275" cy="2043636"/>
          </a:xfrm>
        </p:spPr>
        <p:txBody>
          <a:bodyPr/>
          <a:lstStyle>
            <a:lvl1pPr marL="0" indent="0">
              <a:buFontTx/>
              <a:buNone/>
              <a:defRPr/>
            </a:lvl1pPr>
            <a:lvl2pPr marL="228594" indent="0">
              <a:buFontTx/>
              <a:buNone/>
              <a:defRPr/>
            </a:lvl2pPr>
            <a:lvl3pPr marL="457189" indent="0">
              <a:buFontTx/>
              <a:buNone/>
              <a:defRPr/>
            </a:lvl3pPr>
            <a:lvl4pPr marL="661971" indent="0">
              <a:buFontTx/>
              <a:buNone/>
              <a:defRPr/>
            </a:lvl4pPr>
            <a:lvl5pPr marL="8556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84122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3">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E5D06C1-503A-D707-5B09-8C96159A7A62}"/>
              </a:ext>
            </a:extLst>
          </p:cNvPr>
          <p:cNvSpPr>
            <a:spLocks noGrp="1"/>
          </p:cNvSpPr>
          <p:nvPr>
            <p:ph type="dt" sz="half" idx="10"/>
          </p:nvPr>
        </p:nvSpPr>
        <p:spPr/>
        <p:txBody>
          <a:bodyPr/>
          <a:lstStyle/>
          <a:p>
            <a:fld id="{D5E52CCD-87A0-48DA-A1F0-73DFE2A08BB6}" type="datetimeFigureOut">
              <a:rPr lang="en-US" smtClean="0"/>
              <a:t>7/7/2026</a:t>
            </a:fld>
            <a:endParaRPr lang="en-US"/>
          </a:p>
        </p:txBody>
      </p:sp>
      <p:sp>
        <p:nvSpPr>
          <p:cNvPr id="3" name="Footer Placeholder 2">
            <a:extLst>
              <a:ext uri="{FF2B5EF4-FFF2-40B4-BE49-F238E27FC236}">
                <a16:creationId xmlns:a16="http://schemas.microsoft.com/office/drawing/2014/main" id="{56B9E856-AFCC-B88E-4C7F-CA4B610430B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B833C97-8DE9-B93A-8011-FD6E08861E69}"/>
              </a:ext>
            </a:extLst>
          </p:cNvPr>
          <p:cNvSpPr>
            <a:spLocks noGrp="1"/>
          </p:cNvSpPr>
          <p:nvPr>
            <p:ph type="sldNum" sz="quarter" idx="12"/>
          </p:nvPr>
        </p:nvSpPr>
        <p:spPr/>
        <p:txBody>
          <a:bodyPr/>
          <a:lstStyle/>
          <a:p>
            <a:fld id="{C4346CB8-9CA0-4607-8B35-425E708881BF}" type="slidenum">
              <a:rPr lang="en-US" smtClean="0"/>
              <a:t>‹#›</a:t>
            </a:fld>
            <a:endParaRPr lang="en-US"/>
          </a:p>
        </p:txBody>
      </p:sp>
    </p:spTree>
    <p:extLst>
      <p:ext uri="{BB962C8B-B14F-4D97-AF65-F5344CB8AC3E}">
        <p14:creationId xmlns:p14="http://schemas.microsoft.com/office/powerpoint/2010/main" val="36329476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Title 6">
            <a:extLst>
              <a:ext uri="{FF2B5EF4-FFF2-40B4-BE49-F238E27FC236}">
                <a16:creationId xmlns:a16="http://schemas.microsoft.com/office/drawing/2014/main" id="{0990486E-CB2B-FF34-8E7C-59E21B287A7D}"/>
              </a:ext>
            </a:extLst>
          </p:cNvPr>
          <p:cNvSpPr>
            <a:spLocks noGrp="1"/>
          </p:cNvSpPr>
          <p:nvPr>
            <p:ph type="title"/>
          </p:nvPr>
        </p:nvSpPr>
        <p:spPr>
          <a:xfrm>
            <a:off x="588263" y="494585"/>
            <a:ext cx="11018520" cy="430887"/>
          </a:xfrm>
        </p:spPr>
        <p:txBody>
          <a:bodyPr anchor="t" anchorCtr="0"/>
          <a:lstStyle>
            <a:lvl1pPr algn="l" defTabSz="932742" rtl="0" eaLnBrk="1" latinLnBrk="0" hangingPunct="1">
              <a:lnSpc>
                <a:spcPct val="100000"/>
              </a:lnSpc>
              <a:spcBef>
                <a:spcPct val="0"/>
              </a:spcBef>
              <a:buNone/>
              <a:defRPr lang="en-US" sz="2800" b="0" kern="1200" cap="none" spc="0" baseline="0" dirty="0">
                <a:ln w="3175">
                  <a:noFill/>
                </a:ln>
                <a:solidFill>
                  <a:schemeClr val="accent1">
                    <a:lumMod val="75000"/>
                  </a:schemeClr>
                </a:solidFill>
                <a:effectLst/>
                <a:latin typeface="+mj-lt"/>
                <a:ea typeface="+mn-ea"/>
                <a:cs typeface="Segoe UI Semibold" panose="020B0702040204020203" pitchFamily="34" charset="0"/>
              </a:defRPr>
            </a:lvl1pPr>
          </a:lstStyle>
          <a:p>
            <a:r>
              <a:rPr lang="en-US"/>
              <a:t>Click to edit Master title style</a:t>
            </a:r>
          </a:p>
        </p:txBody>
      </p:sp>
      <p:sp>
        <p:nvSpPr>
          <p:cNvPr id="17" name="Text Placeholder 2">
            <a:extLst>
              <a:ext uri="{FF2B5EF4-FFF2-40B4-BE49-F238E27FC236}">
                <a16:creationId xmlns:a16="http://schemas.microsoft.com/office/drawing/2014/main" id="{5C64DD84-9924-77B4-808F-02B81603CB6B}"/>
              </a:ext>
            </a:extLst>
          </p:cNvPr>
          <p:cNvSpPr>
            <a:spLocks noGrp="1"/>
          </p:cNvSpPr>
          <p:nvPr>
            <p:ph type="body" sz="quarter" idx="11"/>
          </p:nvPr>
        </p:nvSpPr>
        <p:spPr>
          <a:xfrm>
            <a:off x="584518" y="1039270"/>
            <a:ext cx="11018520" cy="276999"/>
          </a:xfrm>
        </p:spPr>
        <p:txBody>
          <a:bodyPr/>
          <a:lstStyle>
            <a:lvl1pPr marL="0" indent="0">
              <a:buNone/>
              <a:defRPr sz="1800">
                <a:latin typeface="+mj-lt"/>
              </a:defRPr>
            </a:lvl1pPr>
          </a:lstStyle>
          <a:p>
            <a:pPr lvl="0"/>
            <a:r>
              <a:rPr lang="en-US"/>
              <a:t>Click to edit Master text styles</a:t>
            </a:r>
          </a:p>
        </p:txBody>
      </p:sp>
    </p:spTree>
    <p:extLst>
      <p:ext uri="{BB962C8B-B14F-4D97-AF65-F5344CB8AC3E}">
        <p14:creationId xmlns:p14="http://schemas.microsoft.com/office/powerpoint/2010/main" val="526616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36">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itle 6">
            <a:extLst>
              <a:ext uri="{FF2B5EF4-FFF2-40B4-BE49-F238E27FC236}">
                <a16:creationId xmlns:a16="http://schemas.microsoft.com/office/drawing/2014/main" id="{51C9B6F3-E735-840E-3BE2-D2B3CC818C47}"/>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6" name="Text Placeholder 2">
            <a:extLst>
              <a:ext uri="{FF2B5EF4-FFF2-40B4-BE49-F238E27FC236}">
                <a16:creationId xmlns:a16="http://schemas.microsoft.com/office/drawing/2014/main" id="{DC5275CD-9BC7-D5C8-CFA6-C95A6628B7BE}"/>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911835100"/>
      </p:ext>
    </p:extLst>
  </p:cSld>
  <p:clrMapOvr>
    <a:masterClrMapping/>
  </p:clrMapOvr>
  <p:transition>
    <p:fade/>
  </p:transition>
  <p:hf hdr="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4460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790108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cstate="email">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59835" t="-3489" r="308" b="3489"/>
          <a:stretch>
            <a:fillRect/>
          </a:stretch>
        </p:blipFill>
        <p:spPr>
          <a:xfrm rot="5400000" flipV="1">
            <a:off x="5793471" y="281511"/>
            <a:ext cx="6730538" cy="6125480"/>
          </a:xfrm>
          <a:prstGeom prst="rect">
            <a:avLst/>
          </a:prstGeom>
        </p:spPr>
      </p:pic>
      <p:pic>
        <p:nvPicPr>
          <p:cNvPr id="9" name="Graphic 8">
            <a:extLst>
              <a:ext uri="{FF2B5EF4-FFF2-40B4-BE49-F238E27FC236}">
                <a16:creationId xmlns:a16="http://schemas.microsoft.com/office/drawing/2014/main" id="{2D81F35F-51EF-1A05-D21F-30E9EB908F37}"/>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7563156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a:extLst>
              <a:ext uri="{96DAC541-7B7A-43D3-8B79-37D633B846F1}">
                <asvg:svgBlip xmlns:asvg="http://schemas.microsoft.com/office/drawing/2016/SVG/main" r:embed="rId5"/>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7849901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email">
            <a:extLst>
              <a:ext uri="{28A0092B-C50C-407E-A947-70E740481C1C}">
                <a14:useLocalDpi xmlns:a14="http://schemas.microsoft.com/office/drawing/2010/main"/>
              </a:ext>
            </a:extLst>
          </a:blip>
          <a:srcRect l="-537"/>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a:extLst>
              <a:ext uri="{96DAC541-7B7A-43D3-8B79-37D633B846F1}">
                <asvg:svgBlip xmlns:asvg="http://schemas.microsoft.com/office/drawing/2016/SVG/main" r:embed="rId4"/>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1016037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a:extLst>
              <a:ext uri="{96DAC541-7B7A-43D3-8B79-37D633B846F1}">
                <asvg:svgBlip xmlns:asvg="http://schemas.microsoft.com/office/drawing/2016/SVG/main" r:embed="rId7"/>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8"/>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8951798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98421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307047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363270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8594530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email">
            <a:extLst>
              <a:ext uri="{28A0092B-C50C-407E-A947-70E740481C1C}">
                <a14:useLocalDpi xmlns:a14="http://schemas.microsoft.com/office/drawing/2010/main"/>
              </a:ext>
            </a:extLst>
          </a:blip>
          <a:srcRect l="-537"/>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1739166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a:src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4923956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241169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413909018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email">
            <a:extLst>
              <a:ext uri="{28A0092B-C50C-407E-A947-70E740481C1C}">
                <a14:useLocalDpi xmlns:a14="http://schemas.microsoft.com/office/drawing/2010/main"/>
              </a:ext>
            </a:extLst>
          </a:blip>
          <a:srcRect r="-43958"/>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288244039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8424428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8725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2813737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9305408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6853770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7010509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8952750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20274819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802955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Background 7 Blank">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00070044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976439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237823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82044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07049760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t="-247"/>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325964720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1371134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6689318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470543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28253001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61471768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817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cstate="email">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13"/>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cstate="email">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139416"/>
            <a:ext cx="7331228" cy="2579168"/>
          </a:xfrm>
          <a:prstGeom prst="rect">
            <a:avLst/>
          </a:prstGeom>
          <a:noFill/>
          <a:ln>
            <a:noFill/>
            <a:prstDash/>
          </a:ln>
          <a:effectLst/>
        </p:spPr>
        <p:txBody>
          <a:bodyPr wrap="square" lIns="0" rIns="0">
            <a:spAutoFit/>
          </a:bodyPr>
          <a:lstStyle/>
          <a:p>
            <a:pPr>
              <a:lnSpc>
                <a:spcPct val="80000"/>
              </a:lnSpc>
              <a:spcAft>
                <a:spcPts val="600"/>
              </a:spcAft>
            </a:pP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Thank</a:t>
            </a:r>
            <a:b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b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      you!</a:t>
            </a:r>
          </a:p>
        </p:txBody>
      </p:sp>
    </p:spTree>
    <p:extLst>
      <p:ext uri="{BB962C8B-B14F-4D97-AF65-F5344CB8AC3E}">
        <p14:creationId xmlns:p14="http://schemas.microsoft.com/office/powerpoint/2010/main" val="1336976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CS TDM Intro">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FC6D84C9-F0D0-2E7D-2082-0E0EAA97BC32}"/>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Rectangle: Single Corner Rounded 6">
            <a:extLst>
              <a:ext uri="{FF2B5EF4-FFF2-40B4-BE49-F238E27FC236}">
                <a16:creationId xmlns:a16="http://schemas.microsoft.com/office/drawing/2014/main" id="{14C1DEFF-1CC8-4FA3-1BA4-C46D4165E041}"/>
              </a:ext>
            </a:extLst>
          </p:cNvPr>
          <p:cNvSpPr/>
          <p:nvPr userDrawn="1"/>
        </p:nvSpPr>
        <p:spPr>
          <a:xfrm rot="10800000">
            <a:off x="6925824" y="-3432"/>
            <a:ext cx="5266175" cy="6864864"/>
          </a:xfrm>
          <a:prstGeom prst="round1Rect">
            <a:avLst>
              <a:gd name="adj" fmla="val 30051"/>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1EE70375-B879-2E04-7DE9-267858168E40}"/>
              </a:ext>
            </a:extLst>
          </p:cNvPr>
          <p:cNvGrpSpPr/>
          <p:nvPr userDrawn="1"/>
        </p:nvGrpSpPr>
        <p:grpSpPr>
          <a:xfrm>
            <a:off x="9687834" y="5133271"/>
            <a:ext cx="2504165" cy="1728160"/>
            <a:chOff x="9687834" y="5133271"/>
            <a:chExt cx="2504165" cy="1728160"/>
          </a:xfrm>
        </p:grpSpPr>
        <p:sp>
          <p:nvSpPr>
            <p:cNvPr id="11" name="Rectangle: Single Corner Rounded 10">
              <a:extLst>
                <a:ext uri="{FF2B5EF4-FFF2-40B4-BE49-F238E27FC236}">
                  <a16:creationId xmlns:a16="http://schemas.microsoft.com/office/drawing/2014/main" id="{3E49D4A0-C4CF-0AA5-5EB4-3D4E52E194CA}"/>
                </a:ext>
              </a:extLst>
            </p:cNvPr>
            <p:cNvSpPr/>
            <p:nvPr/>
          </p:nvSpPr>
          <p:spPr>
            <a:xfrm flipH="1">
              <a:off x="9687834" y="5517291"/>
              <a:ext cx="2120144" cy="1344140"/>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5">
              <a:extLst>
                <a:ext uri="{FF2B5EF4-FFF2-40B4-BE49-F238E27FC236}">
                  <a16:creationId xmlns:a16="http://schemas.microsoft.com/office/drawing/2014/main" id="{21736647-7677-95A4-E03E-CFB1CE5ED12C}"/>
                </a:ext>
              </a:extLst>
            </p:cNvPr>
            <p:cNvSpPr/>
            <p:nvPr/>
          </p:nvSpPr>
          <p:spPr>
            <a:xfrm>
              <a:off x="11807979" y="5133271"/>
              <a:ext cx="384020" cy="384020"/>
            </a:xfrm>
            <a:custGeom>
              <a:avLst/>
              <a:gdLst>
                <a:gd name="connsiteX0" fmla="*/ 0 w 384020"/>
                <a:gd name="connsiteY0" fmla="*/ 0 h 384020"/>
                <a:gd name="connsiteX1" fmla="*/ 384021 w 384020"/>
                <a:gd name="connsiteY1" fmla="*/ 0 h 384020"/>
                <a:gd name="connsiteX2" fmla="*/ 384021 w 384020"/>
                <a:gd name="connsiteY2" fmla="*/ 384021 h 384020"/>
                <a:gd name="connsiteX3" fmla="*/ 0 w 384020"/>
                <a:gd name="connsiteY3" fmla="*/ 384021 h 384020"/>
              </a:gdLst>
              <a:ahLst/>
              <a:cxnLst>
                <a:cxn ang="0">
                  <a:pos x="connsiteX0" y="connsiteY0"/>
                </a:cxn>
                <a:cxn ang="0">
                  <a:pos x="connsiteX1" y="connsiteY1"/>
                </a:cxn>
                <a:cxn ang="0">
                  <a:pos x="connsiteX2" y="connsiteY2"/>
                </a:cxn>
                <a:cxn ang="0">
                  <a:pos x="connsiteX3" y="connsiteY3"/>
                </a:cxn>
              </a:cxnLst>
              <a:rect l="l" t="t" r="r" b="b"/>
              <a:pathLst>
                <a:path w="384020" h="384020">
                  <a:moveTo>
                    <a:pt x="0" y="0"/>
                  </a:moveTo>
                  <a:lnTo>
                    <a:pt x="384021" y="0"/>
                  </a:lnTo>
                  <a:lnTo>
                    <a:pt x="384021" y="384021"/>
                  </a:lnTo>
                  <a:lnTo>
                    <a:pt x="0" y="384021"/>
                  </a:lnTo>
                  <a:close/>
                </a:path>
              </a:pathLst>
            </a:cu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746C5367-4BDF-E244-6A42-C9CC3CDE3E7B}"/>
              </a:ext>
            </a:extLst>
          </p:cNvPr>
          <p:cNvGrpSpPr/>
          <p:nvPr userDrawn="1"/>
        </p:nvGrpSpPr>
        <p:grpSpPr>
          <a:xfrm>
            <a:off x="7795920" y="4037990"/>
            <a:ext cx="1891914" cy="1010359"/>
            <a:chOff x="604894" y="4447838"/>
            <a:chExt cx="1891914" cy="1010359"/>
          </a:xfrm>
        </p:grpSpPr>
        <p:sp>
          <p:nvSpPr>
            <p:cNvPr id="14" name="Freeform: Shape 33">
              <a:extLst>
                <a:ext uri="{FF2B5EF4-FFF2-40B4-BE49-F238E27FC236}">
                  <a16:creationId xmlns:a16="http://schemas.microsoft.com/office/drawing/2014/main" id="{E0E3D134-EDDE-C309-761E-7A2931AE5650}"/>
                </a:ext>
              </a:extLst>
            </p:cNvPr>
            <p:cNvSpPr/>
            <p:nvPr/>
          </p:nvSpPr>
          <p:spPr>
            <a:xfrm>
              <a:off x="60489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34">
              <a:extLst>
                <a:ext uri="{FF2B5EF4-FFF2-40B4-BE49-F238E27FC236}">
                  <a16:creationId xmlns:a16="http://schemas.microsoft.com/office/drawing/2014/main" id="{6A47CC7F-4C9B-37F9-2F89-CCB0E67569F9}"/>
                </a:ext>
              </a:extLst>
            </p:cNvPr>
            <p:cNvSpPr/>
            <p:nvPr/>
          </p:nvSpPr>
          <p:spPr>
            <a:xfrm>
              <a:off x="1045792"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35">
              <a:extLst>
                <a:ext uri="{FF2B5EF4-FFF2-40B4-BE49-F238E27FC236}">
                  <a16:creationId xmlns:a16="http://schemas.microsoft.com/office/drawing/2014/main" id="{ACF1B38E-BE08-FFF5-436A-950B19B40061}"/>
                </a:ext>
              </a:extLst>
            </p:cNvPr>
            <p:cNvSpPr/>
            <p:nvPr/>
          </p:nvSpPr>
          <p:spPr>
            <a:xfrm>
              <a:off x="1486689"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36">
              <a:extLst>
                <a:ext uri="{FF2B5EF4-FFF2-40B4-BE49-F238E27FC236}">
                  <a16:creationId xmlns:a16="http://schemas.microsoft.com/office/drawing/2014/main" id="{ABFC80D3-D60A-0429-7B77-A24B5C3DFA51}"/>
                </a:ext>
              </a:extLst>
            </p:cNvPr>
            <p:cNvSpPr/>
            <p:nvPr/>
          </p:nvSpPr>
          <p:spPr>
            <a:xfrm>
              <a:off x="1927822" y="444783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39">
              <a:extLst>
                <a:ext uri="{FF2B5EF4-FFF2-40B4-BE49-F238E27FC236}">
                  <a16:creationId xmlns:a16="http://schemas.microsoft.com/office/drawing/2014/main" id="{E7099C2F-C30D-0008-8482-90E4D75B82B0}"/>
                </a:ext>
              </a:extLst>
            </p:cNvPr>
            <p:cNvSpPr/>
            <p:nvPr/>
          </p:nvSpPr>
          <p:spPr>
            <a:xfrm>
              <a:off x="236848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40">
              <a:extLst>
                <a:ext uri="{FF2B5EF4-FFF2-40B4-BE49-F238E27FC236}">
                  <a16:creationId xmlns:a16="http://schemas.microsoft.com/office/drawing/2014/main" id="{68B94521-C619-90B6-F6E8-DFDC6F0BF984}"/>
                </a:ext>
              </a:extLst>
            </p:cNvPr>
            <p:cNvSpPr/>
            <p:nvPr/>
          </p:nvSpPr>
          <p:spPr>
            <a:xfrm>
              <a:off x="60489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42">
              <a:extLst>
                <a:ext uri="{FF2B5EF4-FFF2-40B4-BE49-F238E27FC236}">
                  <a16:creationId xmlns:a16="http://schemas.microsoft.com/office/drawing/2014/main" id="{74DFA832-4B4A-BA2C-2D5C-9745C6C0B317}"/>
                </a:ext>
              </a:extLst>
            </p:cNvPr>
            <p:cNvSpPr/>
            <p:nvPr/>
          </p:nvSpPr>
          <p:spPr>
            <a:xfrm>
              <a:off x="1045792"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43">
              <a:extLst>
                <a:ext uri="{FF2B5EF4-FFF2-40B4-BE49-F238E27FC236}">
                  <a16:creationId xmlns:a16="http://schemas.microsoft.com/office/drawing/2014/main" id="{2DF856A0-94CB-B9FD-C649-F20AF5300CED}"/>
                </a:ext>
              </a:extLst>
            </p:cNvPr>
            <p:cNvSpPr/>
            <p:nvPr/>
          </p:nvSpPr>
          <p:spPr>
            <a:xfrm>
              <a:off x="1486689"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44">
              <a:extLst>
                <a:ext uri="{FF2B5EF4-FFF2-40B4-BE49-F238E27FC236}">
                  <a16:creationId xmlns:a16="http://schemas.microsoft.com/office/drawing/2014/main" id="{DE06AA07-F3BC-B873-A606-C2BD8A9F47AE}"/>
                </a:ext>
              </a:extLst>
            </p:cNvPr>
            <p:cNvSpPr/>
            <p:nvPr/>
          </p:nvSpPr>
          <p:spPr>
            <a:xfrm>
              <a:off x="1927822" y="488897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45">
              <a:extLst>
                <a:ext uri="{FF2B5EF4-FFF2-40B4-BE49-F238E27FC236}">
                  <a16:creationId xmlns:a16="http://schemas.microsoft.com/office/drawing/2014/main" id="{1456EC0B-C7F1-3E39-DA0A-FF7791984511}"/>
                </a:ext>
              </a:extLst>
            </p:cNvPr>
            <p:cNvSpPr/>
            <p:nvPr/>
          </p:nvSpPr>
          <p:spPr>
            <a:xfrm>
              <a:off x="236848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46">
              <a:extLst>
                <a:ext uri="{FF2B5EF4-FFF2-40B4-BE49-F238E27FC236}">
                  <a16:creationId xmlns:a16="http://schemas.microsoft.com/office/drawing/2014/main" id="{1B4DC2E8-3BE0-89E9-13BF-80A2FF208436}"/>
                </a:ext>
              </a:extLst>
            </p:cNvPr>
            <p:cNvSpPr/>
            <p:nvPr/>
          </p:nvSpPr>
          <p:spPr>
            <a:xfrm>
              <a:off x="60489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47">
              <a:extLst>
                <a:ext uri="{FF2B5EF4-FFF2-40B4-BE49-F238E27FC236}">
                  <a16:creationId xmlns:a16="http://schemas.microsoft.com/office/drawing/2014/main" id="{C15642AC-59F9-C462-7258-FB00902E3114}"/>
                </a:ext>
              </a:extLst>
            </p:cNvPr>
            <p:cNvSpPr/>
            <p:nvPr/>
          </p:nvSpPr>
          <p:spPr>
            <a:xfrm>
              <a:off x="1045792"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48">
              <a:extLst>
                <a:ext uri="{FF2B5EF4-FFF2-40B4-BE49-F238E27FC236}">
                  <a16:creationId xmlns:a16="http://schemas.microsoft.com/office/drawing/2014/main" id="{B21A83EB-4AA9-A21D-52D4-D024CCDB9964}"/>
                </a:ext>
              </a:extLst>
            </p:cNvPr>
            <p:cNvSpPr/>
            <p:nvPr/>
          </p:nvSpPr>
          <p:spPr>
            <a:xfrm>
              <a:off x="1486689"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49">
              <a:extLst>
                <a:ext uri="{FF2B5EF4-FFF2-40B4-BE49-F238E27FC236}">
                  <a16:creationId xmlns:a16="http://schemas.microsoft.com/office/drawing/2014/main" id="{176D7FDF-1F8E-DA92-6B2B-A040AA076321}"/>
                </a:ext>
              </a:extLst>
            </p:cNvPr>
            <p:cNvSpPr/>
            <p:nvPr/>
          </p:nvSpPr>
          <p:spPr>
            <a:xfrm>
              <a:off x="1927822" y="532986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50">
              <a:extLst>
                <a:ext uri="{FF2B5EF4-FFF2-40B4-BE49-F238E27FC236}">
                  <a16:creationId xmlns:a16="http://schemas.microsoft.com/office/drawing/2014/main" id="{2EEA353D-9DEE-DDFF-8CFD-DAE53A86B0DB}"/>
                </a:ext>
              </a:extLst>
            </p:cNvPr>
            <p:cNvSpPr/>
            <p:nvPr/>
          </p:nvSpPr>
          <p:spPr>
            <a:xfrm>
              <a:off x="236848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Rectangle: Single Corner Rounded 28">
            <a:extLst>
              <a:ext uri="{FF2B5EF4-FFF2-40B4-BE49-F238E27FC236}">
                <a16:creationId xmlns:a16="http://schemas.microsoft.com/office/drawing/2014/main" id="{CD78616E-69AD-9AA7-2097-9EB3C37621F4}"/>
              </a:ext>
            </a:extLst>
          </p:cNvPr>
          <p:cNvSpPr/>
          <p:nvPr userDrawn="1"/>
        </p:nvSpPr>
        <p:spPr>
          <a:xfrm rot="10800000" flipH="1">
            <a:off x="6925823" y="-3435"/>
            <a:ext cx="4882152" cy="2318265"/>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Single Corner Rounded 29">
            <a:extLst>
              <a:ext uri="{FF2B5EF4-FFF2-40B4-BE49-F238E27FC236}">
                <a16:creationId xmlns:a16="http://schemas.microsoft.com/office/drawing/2014/main" id="{1089C2C6-EA1F-2659-9060-91E6A380A8AC}"/>
              </a:ext>
            </a:extLst>
          </p:cNvPr>
          <p:cNvSpPr/>
          <p:nvPr userDrawn="1"/>
        </p:nvSpPr>
        <p:spPr>
          <a:xfrm rot="10800000" flipH="1">
            <a:off x="1" y="1959429"/>
            <a:ext cx="293688" cy="3652320"/>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4" name="Picture 3" descr="A logo on a black background&#10;&#10;AI-generated content may be incorrect.">
            <a:extLst>
              <a:ext uri="{FF2B5EF4-FFF2-40B4-BE49-F238E27FC236}">
                <a16:creationId xmlns:a16="http://schemas.microsoft.com/office/drawing/2014/main" id="{7557D464-9A1C-8C5A-9F8D-5D9E452212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025" y="451050"/>
            <a:ext cx="1901958" cy="852471"/>
          </a:xfrm>
          <a:prstGeom prst="rect">
            <a:avLst/>
          </a:prstGeom>
        </p:spPr>
      </p:pic>
    </p:spTree>
    <p:extLst>
      <p:ext uri="{BB962C8B-B14F-4D97-AF65-F5344CB8AC3E}">
        <p14:creationId xmlns:p14="http://schemas.microsoft.com/office/powerpoint/2010/main" val="2788936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CS BDM Intro">
    <p:bg>
      <p:bgPr>
        <a:solidFill>
          <a:schemeClr val="bg1"/>
        </a:solidFill>
        <a:effectLst/>
      </p:bgPr>
    </p:bg>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DDCD056A-10C4-2885-BB1F-734FC10D464C}"/>
              </a:ext>
            </a:extLst>
          </p:cNvPr>
          <p:cNvSpPr/>
          <p:nvPr/>
        </p:nvSpPr>
        <p:spPr>
          <a:xfrm>
            <a:off x="7919518" y="1729547"/>
            <a:ext cx="5156975" cy="5134490"/>
          </a:xfrm>
          <a:custGeom>
            <a:avLst/>
            <a:gdLst>
              <a:gd name="connsiteX0" fmla="*/ 5156975 w 5156975"/>
              <a:gd name="connsiteY0" fmla="*/ 785571 h 5134490"/>
              <a:gd name="connsiteX1" fmla="*/ 5156975 w 5156975"/>
              <a:gd name="connsiteY1" fmla="*/ 5134491 h 5134490"/>
              <a:gd name="connsiteX2" fmla="*/ 763069 w 5156975"/>
              <a:gd name="connsiteY2" fmla="*/ 5134491 h 5134490"/>
              <a:gd name="connsiteX3" fmla="*/ 160654 w 5156975"/>
              <a:gd name="connsiteY3" fmla="*/ 4532074 h 5134490"/>
              <a:gd name="connsiteX4" fmla="*/ 160654 w 5156975"/>
              <a:gd name="connsiteY4" fmla="*/ 3756253 h 5134490"/>
              <a:gd name="connsiteX5" fmla="*/ 853071 w 5156975"/>
              <a:gd name="connsiteY5" fmla="*/ 3063984 h 5134490"/>
              <a:gd name="connsiteX6" fmla="*/ 3434334 w 5156975"/>
              <a:gd name="connsiteY6" fmla="*/ 482563 h 5134490"/>
              <a:gd name="connsiteX7" fmla="*/ 3756241 w 5156975"/>
              <a:gd name="connsiteY7" fmla="*/ 160654 h 5134490"/>
              <a:gd name="connsiteX8" fmla="*/ 4532061 w 5156975"/>
              <a:gd name="connsiteY8" fmla="*/ 160654 h 5134490"/>
              <a:gd name="connsiteX9" fmla="*/ 5156975 w 5156975"/>
              <a:gd name="connsiteY9" fmla="*/ 785571 h 513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6975" h="5134490">
                <a:moveTo>
                  <a:pt x="5156975" y="785571"/>
                </a:moveTo>
                <a:lnTo>
                  <a:pt x="5156975" y="5134491"/>
                </a:lnTo>
                <a:lnTo>
                  <a:pt x="763069" y="5134491"/>
                </a:lnTo>
                <a:lnTo>
                  <a:pt x="160654" y="4532074"/>
                </a:lnTo>
                <a:cubicBezTo>
                  <a:pt x="-53551" y="4317868"/>
                  <a:pt x="-53551" y="3970609"/>
                  <a:pt x="160654" y="3756253"/>
                </a:cubicBezTo>
                <a:lnTo>
                  <a:pt x="853071" y="3063984"/>
                </a:lnTo>
                <a:lnTo>
                  <a:pt x="3434334" y="482563"/>
                </a:lnTo>
                <a:lnTo>
                  <a:pt x="3756241" y="160654"/>
                </a:lnTo>
                <a:cubicBezTo>
                  <a:pt x="3970447" y="-53551"/>
                  <a:pt x="4317855" y="-53551"/>
                  <a:pt x="4532061" y="160654"/>
                </a:cubicBezTo>
                <a:lnTo>
                  <a:pt x="5156975" y="785571"/>
                </a:ln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2" name="Freeform: Shape 21">
            <a:extLst>
              <a:ext uri="{FF2B5EF4-FFF2-40B4-BE49-F238E27FC236}">
                <a16:creationId xmlns:a16="http://schemas.microsoft.com/office/drawing/2014/main" id="{B4ECF24F-0F5D-BC6B-5106-48717805B5CB}"/>
              </a:ext>
            </a:extLst>
          </p:cNvPr>
          <p:cNvSpPr/>
          <p:nvPr/>
        </p:nvSpPr>
        <p:spPr>
          <a:xfrm>
            <a:off x="9141748" y="0"/>
            <a:ext cx="3934745" cy="2430216"/>
          </a:xfrm>
          <a:custGeom>
            <a:avLst/>
            <a:gdLst>
              <a:gd name="connsiteX0" fmla="*/ 3934746 w 3934745"/>
              <a:gd name="connsiteY0" fmla="*/ 0 h 2430216"/>
              <a:gd name="connsiteX1" fmla="*/ 3934746 w 3934745"/>
              <a:gd name="connsiteY1" fmla="*/ 1380188 h 2430216"/>
              <a:gd name="connsiteX2" fmla="*/ 3367282 w 3934745"/>
              <a:gd name="connsiteY2" fmla="*/ 1947653 h 2430216"/>
              <a:gd name="connsiteX3" fmla="*/ 3045375 w 3934745"/>
              <a:gd name="connsiteY3" fmla="*/ 2269562 h 2430216"/>
              <a:gd name="connsiteX4" fmla="*/ 2269555 w 3934745"/>
              <a:gd name="connsiteY4" fmla="*/ 2269562 h 2430216"/>
              <a:gd name="connsiteX5" fmla="*/ 0 w 3934745"/>
              <a:gd name="connsiteY5" fmla="*/ 0 h 2430216"/>
              <a:gd name="connsiteX6" fmla="*/ 3934746 w 3934745"/>
              <a:gd name="connsiteY6" fmla="*/ 0 h 243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745" h="2430216">
                <a:moveTo>
                  <a:pt x="3934746" y="0"/>
                </a:moveTo>
                <a:lnTo>
                  <a:pt x="3934746" y="1380188"/>
                </a:lnTo>
                <a:lnTo>
                  <a:pt x="3367282" y="1947653"/>
                </a:lnTo>
                <a:lnTo>
                  <a:pt x="3045375" y="2269562"/>
                </a:lnTo>
                <a:cubicBezTo>
                  <a:pt x="2831169" y="2483768"/>
                  <a:pt x="2483761" y="2483768"/>
                  <a:pt x="2269555" y="2269562"/>
                </a:cubicBezTo>
                <a:lnTo>
                  <a:pt x="0" y="0"/>
                </a:lnTo>
                <a:lnTo>
                  <a:pt x="3934746" y="0"/>
                </a:lnTo>
                <a:close/>
              </a:path>
            </a:pathLst>
          </a:custGeom>
          <a:gradFill flip="none" rotWithShape="1">
            <a:gsLst>
              <a:gs pos="0">
                <a:schemeClr val="bg2">
                  <a:lumMod val="60000"/>
                  <a:lumOff val="40000"/>
                </a:schemeClr>
              </a:gs>
              <a:gs pos="73000">
                <a:schemeClr val="bg2">
                  <a:lumMod val="75000"/>
                </a:schemeClr>
              </a:gs>
            </a:gsLst>
            <a:lin ang="7200000" scaled="0"/>
            <a:tileRect/>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9" name="Freeform: Shape 18">
            <a:extLst>
              <a:ext uri="{FF2B5EF4-FFF2-40B4-BE49-F238E27FC236}">
                <a16:creationId xmlns:a16="http://schemas.microsoft.com/office/drawing/2014/main" id="{B47F08FA-B8F4-7F32-9F9A-80F689D50F87}"/>
              </a:ext>
            </a:extLst>
          </p:cNvPr>
          <p:cNvSpPr/>
          <p:nvPr/>
        </p:nvSpPr>
        <p:spPr>
          <a:xfrm>
            <a:off x="5184576" y="0"/>
            <a:ext cx="2360607" cy="1442814"/>
          </a:xfrm>
          <a:custGeom>
            <a:avLst/>
            <a:gdLst>
              <a:gd name="connsiteX0" fmla="*/ 2254180 w 2360607"/>
              <a:gd name="connsiteY0" fmla="*/ 519614 h 1442814"/>
              <a:gd name="connsiteX1" fmla="*/ 1437410 w 2360607"/>
              <a:gd name="connsiteY1" fmla="*/ 1336387 h 1442814"/>
              <a:gd name="connsiteX2" fmla="*/ 923198 w 2360607"/>
              <a:gd name="connsiteY2" fmla="*/ 1336387 h 1442814"/>
              <a:gd name="connsiteX3" fmla="*/ 106428 w 2360607"/>
              <a:gd name="connsiteY3" fmla="*/ 519614 h 1442814"/>
              <a:gd name="connsiteX4" fmla="*/ 106428 w 2360607"/>
              <a:gd name="connsiteY4" fmla="*/ 5550 h 1442814"/>
              <a:gd name="connsiteX5" fmla="*/ 111978 w 2360607"/>
              <a:gd name="connsiteY5" fmla="*/ 0 h 1442814"/>
              <a:gd name="connsiteX6" fmla="*/ 2248630 w 2360607"/>
              <a:gd name="connsiteY6" fmla="*/ 0 h 1442814"/>
              <a:gd name="connsiteX7" fmla="*/ 2254180 w 2360607"/>
              <a:gd name="connsiteY7" fmla="*/ 5550 h 1442814"/>
              <a:gd name="connsiteX8" fmla="*/ 2254180 w 2360607"/>
              <a:gd name="connsiteY8" fmla="*/ 519614 h 144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0607" h="1442814">
                <a:moveTo>
                  <a:pt x="2254180" y="519614"/>
                </a:moveTo>
                <a:lnTo>
                  <a:pt x="1437410" y="1336387"/>
                </a:lnTo>
                <a:cubicBezTo>
                  <a:pt x="1295357" y="1478291"/>
                  <a:pt x="1065251" y="1478291"/>
                  <a:pt x="923198" y="1336387"/>
                </a:cubicBezTo>
                <a:lnTo>
                  <a:pt x="106428" y="519614"/>
                </a:lnTo>
                <a:cubicBezTo>
                  <a:pt x="-35476" y="377560"/>
                  <a:pt x="-35476" y="147454"/>
                  <a:pt x="106428" y="5550"/>
                </a:cubicBezTo>
                <a:lnTo>
                  <a:pt x="111978" y="0"/>
                </a:lnTo>
                <a:lnTo>
                  <a:pt x="2248630" y="0"/>
                </a:lnTo>
                <a:lnTo>
                  <a:pt x="2254180" y="5550"/>
                </a:lnTo>
                <a:cubicBezTo>
                  <a:pt x="2396083" y="147454"/>
                  <a:pt x="2396083" y="377560"/>
                  <a:pt x="2254180" y="519614"/>
                </a:cubicBezTo>
                <a:close/>
              </a:path>
            </a:pathLst>
          </a:custGeom>
          <a:gradFill>
            <a:gsLst>
              <a:gs pos="8000">
                <a:schemeClr val="bg2">
                  <a:lumMod val="60000"/>
                  <a:lumOff val="40000"/>
                </a:schemeClr>
              </a:gs>
              <a:gs pos="100000">
                <a:schemeClr val="bg2">
                  <a:lumMod val="75000"/>
                </a:schemeClr>
              </a:gs>
            </a:gsLst>
            <a:lin ang="18939382" scaled="1"/>
          </a:gradFill>
          <a:ln w="13581"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BF66CDED-93F7-4B57-BDB9-33C706A83F5E}"/>
              </a:ext>
            </a:extLst>
          </p:cNvPr>
          <p:cNvSpPr/>
          <p:nvPr/>
        </p:nvSpPr>
        <p:spPr>
          <a:xfrm rot="2700000">
            <a:off x="6791395" y="1394362"/>
            <a:ext cx="2688966" cy="2688974"/>
          </a:xfrm>
          <a:custGeom>
            <a:avLst/>
            <a:gdLst>
              <a:gd name="connsiteX0" fmla="*/ 2214955 w 2688966"/>
              <a:gd name="connsiteY0" fmla="*/ 0 h 2688974"/>
              <a:gd name="connsiteX1" fmla="*/ 2688966 w 2688966"/>
              <a:gd name="connsiteY1" fmla="*/ 474013 h 2688974"/>
              <a:gd name="connsiteX2" fmla="*/ 2688966 w 2688966"/>
              <a:gd name="connsiteY2" fmla="*/ 2214961 h 2688974"/>
              <a:gd name="connsiteX3" fmla="*/ 2214955 w 2688966"/>
              <a:gd name="connsiteY3" fmla="*/ 2688975 h 2688974"/>
              <a:gd name="connsiteX4" fmla="*/ 474012 w 2688966"/>
              <a:gd name="connsiteY4" fmla="*/ 2688975 h 2688974"/>
              <a:gd name="connsiteX5" fmla="*/ 0 w 2688966"/>
              <a:gd name="connsiteY5" fmla="*/ 2214961 h 2688974"/>
              <a:gd name="connsiteX6" fmla="*/ 0 w 2688966"/>
              <a:gd name="connsiteY6" fmla="*/ 474013 h 2688974"/>
              <a:gd name="connsiteX7" fmla="*/ 474012 w 2688966"/>
              <a:gd name="connsiteY7" fmla="*/ 0 h 268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8966" h="2688974">
                <a:moveTo>
                  <a:pt x="2214955" y="0"/>
                </a:moveTo>
                <a:cubicBezTo>
                  <a:pt x="2476744" y="0"/>
                  <a:pt x="2688966" y="212223"/>
                  <a:pt x="2688966" y="474013"/>
                </a:cubicBezTo>
                <a:lnTo>
                  <a:pt x="2688966" y="2214961"/>
                </a:lnTo>
                <a:cubicBezTo>
                  <a:pt x="2688966" y="2476752"/>
                  <a:pt x="2476744" y="2688975"/>
                  <a:pt x="2214955" y="2688975"/>
                </a:cubicBezTo>
                <a:lnTo>
                  <a:pt x="474012" y="2688975"/>
                </a:lnTo>
                <a:cubicBezTo>
                  <a:pt x="212222" y="2688975"/>
                  <a:pt x="0" y="2476752"/>
                  <a:pt x="0" y="2214961"/>
                </a:cubicBezTo>
                <a:lnTo>
                  <a:pt x="0" y="474013"/>
                </a:lnTo>
                <a:cubicBezTo>
                  <a:pt x="0" y="212223"/>
                  <a:pt x="212222" y="0"/>
                  <a:pt x="474012" y="0"/>
                </a:cubicBez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1" name="Freeform: Shape 20">
            <a:extLst>
              <a:ext uri="{FF2B5EF4-FFF2-40B4-BE49-F238E27FC236}">
                <a16:creationId xmlns:a16="http://schemas.microsoft.com/office/drawing/2014/main" id="{02DAD2B2-A66F-F289-5712-5C7EEAFC9C70}"/>
              </a:ext>
            </a:extLst>
          </p:cNvPr>
          <p:cNvSpPr/>
          <p:nvPr/>
        </p:nvSpPr>
        <p:spPr>
          <a:xfrm>
            <a:off x="7558759" y="0"/>
            <a:ext cx="5517734" cy="6864037"/>
          </a:xfrm>
          <a:custGeom>
            <a:avLst/>
            <a:gdLst>
              <a:gd name="connsiteX0" fmla="*/ 5517734 w 5517734"/>
              <a:gd name="connsiteY0" fmla="*/ 774771 h 6864037"/>
              <a:gd name="connsiteX1" fmla="*/ 5517734 w 5517734"/>
              <a:gd name="connsiteY1" fmla="*/ 5930262 h 6864037"/>
              <a:gd name="connsiteX2" fmla="*/ 4583962 w 5517734"/>
              <a:gd name="connsiteY2" fmla="*/ 6864038 h 6864037"/>
              <a:gd name="connsiteX3" fmla="*/ 3284330 w 5517734"/>
              <a:gd name="connsiteY3" fmla="*/ 6864038 h 6864037"/>
              <a:gd name="connsiteX4" fmla="*/ 160654 w 5517734"/>
              <a:gd name="connsiteY4" fmla="*/ 3740353 h 6864037"/>
              <a:gd name="connsiteX5" fmla="*/ 160654 w 5517734"/>
              <a:gd name="connsiteY5" fmla="*/ 2964681 h 6864037"/>
              <a:gd name="connsiteX6" fmla="*/ 1348233 w 5517734"/>
              <a:gd name="connsiteY6" fmla="*/ 1777249 h 6864037"/>
              <a:gd name="connsiteX7" fmla="*/ 2354157 w 5517734"/>
              <a:gd name="connsiteY7" fmla="*/ 771171 h 6864037"/>
              <a:gd name="connsiteX8" fmla="*/ 3125326 w 5517734"/>
              <a:gd name="connsiteY8" fmla="*/ 0 h 6864037"/>
              <a:gd name="connsiteX9" fmla="*/ 4742965 w 5517734"/>
              <a:gd name="connsiteY9" fmla="*/ 0 h 6864037"/>
              <a:gd name="connsiteX10" fmla="*/ 5517734 w 5517734"/>
              <a:gd name="connsiteY10" fmla="*/ 774771 h 686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17734" h="6864037">
                <a:moveTo>
                  <a:pt x="5517734" y="774771"/>
                </a:moveTo>
                <a:lnTo>
                  <a:pt x="5517734" y="5930262"/>
                </a:lnTo>
                <a:lnTo>
                  <a:pt x="4583962" y="6864038"/>
                </a:lnTo>
                <a:lnTo>
                  <a:pt x="3284330" y="6864038"/>
                </a:lnTo>
                <a:lnTo>
                  <a:pt x="160654" y="3740353"/>
                </a:lnTo>
                <a:cubicBezTo>
                  <a:pt x="-53551" y="3526147"/>
                  <a:pt x="-53551" y="3178887"/>
                  <a:pt x="160654" y="2964681"/>
                </a:cubicBezTo>
                <a:lnTo>
                  <a:pt x="1348233" y="1777249"/>
                </a:lnTo>
                <a:lnTo>
                  <a:pt x="2354157" y="771171"/>
                </a:lnTo>
                <a:lnTo>
                  <a:pt x="3125326" y="0"/>
                </a:lnTo>
                <a:lnTo>
                  <a:pt x="4742965" y="0"/>
                </a:lnTo>
                <a:lnTo>
                  <a:pt x="5517734" y="774771"/>
                </a:lnTo>
                <a:close/>
              </a:path>
            </a:pathLst>
          </a:custGeom>
          <a:solidFill>
            <a:schemeClr val="bg2">
              <a:lumMod val="75000"/>
              <a:alpha val="77000"/>
            </a:schemeClr>
          </a:solidFill>
          <a:ln w="13581" cap="flat">
            <a:noFill/>
            <a:prstDash val="solid"/>
            <a:miter/>
          </a:ln>
        </p:spPr>
        <p:txBody>
          <a:bodyPr rtlCol="0" anchor="ctr"/>
          <a:lstStyle/>
          <a:p>
            <a:endParaRPr lang="en-US"/>
          </a:p>
        </p:txBody>
      </p:sp>
      <p:sp>
        <p:nvSpPr>
          <p:cNvPr id="9" name="Title 1"/>
          <p:cNvSpPr>
            <a:spLocks noGrp="1"/>
          </p:cNvSpPr>
          <p:nvPr>
            <p:ph type="title" hasCustomPrompt="1"/>
          </p:nvPr>
        </p:nvSpPr>
        <p:spPr>
          <a:xfrm>
            <a:off x="604894" y="2183027"/>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64522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04894" y="597820"/>
            <a:ext cx="3068320" cy="292608"/>
          </a:xfrm>
          <a:prstGeom prst="rect">
            <a:avLst/>
          </a:prstGeom>
        </p:spPr>
      </p:pic>
      <p:sp>
        <p:nvSpPr>
          <p:cNvPr id="18" name="Freeform: Shape 17">
            <a:extLst>
              <a:ext uri="{FF2B5EF4-FFF2-40B4-BE49-F238E27FC236}">
                <a16:creationId xmlns:a16="http://schemas.microsoft.com/office/drawing/2014/main" id="{95FDDF92-0B77-728A-5C5C-41FBCAA3333B}"/>
              </a:ext>
            </a:extLst>
          </p:cNvPr>
          <p:cNvSpPr/>
          <p:nvPr/>
        </p:nvSpPr>
        <p:spPr>
          <a:xfrm>
            <a:off x="6284703" y="0"/>
            <a:ext cx="2859782" cy="2035743"/>
          </a:xfrm>
          <a:custGeom>
            <a:avLst/>
            <a:gdLst>
              <a:gd name="connsiteX0" fmla="*/ 2753242 w 2859782"/>
              <a:gd name="connsiteY0" fmla="*/ 862824 h 2035743"/>
              <a:gd name="connsiteX1" fmla="*/ 2230629 w 2859782"/>
              <a:gd name="connsiteY1" fmla="*/ 1385588 h 2035743"/>
              <a:gd name="connsiteX2" fmla="*/ 1686866 w 2859782"/>
              <a:gd name="connsiteY2" fmla="*/ 1929203 h 2035743"/>
              <a:gd name="connsiteX3" fmla="*/ 1172804 w 2859782"/>
              <a:gd name="connsiteY3" fmla="*/ 1929203 h 2035743"/>
              <a:gd name="connsiteX4" fmla="*/ 881947 w 2859782"/>
              <a:gd name="connsiteY4" fmla="*/ 1638345 h 2035743"/>
              <a:gd name="connsiteX5" fmla="*/ 458636 w 2859782"/>
              <a:gd name="connsiteY5" fmla="*/ 1215033 h 2035743"/>
              <a:gd name="connsiteX6" fmla="*/ 106428 w 2859782"/>
              <a:gd name="connsiteY6" fmla="*/ 862824 h 2035743"/>
              <a:gd name="connsiteX7" fmla="*/ 106428 w 2859782"/>
              <a:gd name="connsiteY7" fmla="*/ 348760 h 2035743"/>
              <a:gd name="connsiteX8" fmla="*/ 455186 w 2859782"/>
              <a:gd name="connsiteY8" fmla="*/ 0 h 2035743"/>
              <a:gd name="connsiteX9" fmla="*/ 2404484 w 2859782"/>
              <a:gd name="connsiteY9" fmla="*/ 0 h 2035743"/>
              <a:gd name="connsiteX10" fmla="*/ 2753242 w 2859782"/>
              <a:gd name="connsiteY10" fmla="*/ 348760 h 2035743"/>
              <a:gd name="connsiteX11" fmla="*/ 2753242 w 2859782"/>
              <a:gd name="connsiteY11" fmla="*/ 862824 h 20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9782" h="2035743">
                <a:moveTo>
                  <a:pt x="2753242" y="862824"/>
                </a:moveTo>
                <a:lnTo>
                  <a:pt x="2230629" y="1385588"/>
                </a:lnTo>
                <a:lnTo>
                  <a:pt x="1686866" y="1929203"/>
                </a:lnTo>
                <a:cubicBezTo>
                  <a:pt x="1544963" y="2071257"/>
                  <a:pt x="1314857" y="2071257"/>
                  <a:pt x="1172804" y="1929203"/>
                </a:cubicBezTo>
                <a:lnTo>
                  <a:pt x="881947" y="1638345"/>
                </a:lnTo>
                <a:lnTo>
                  <a:pt x="458636" y="1215033"/>
                </a:lnTo>
                <a:lnTo>
                  <a:pt x="106428" y="862824"/>
                </a:lnTo>
                <a:cubicBezTo>
                  <a:pt x="-35476" y="720920"/>
                  <a:pt x="-35476" y="490663"/>
                  <a:pt x="106428" y="348760"/>
                </a:cubicBezTo>
                <a:lnTo>
                  <a:pt x="455186" y="0"/>
                </a:lnTo>
                <a:lnTo>
                  <a:pt x="2404484" y="0"/>
                </a:lnTo>
                <a:lnTo>
                  <a:pt x="2753242" y="348760"/>
                </a:lnTo>
                <a:cubicBezTo>
                  <a:pt x="2895295" y="490663"/>
                  <a:pt x="2895295" y="720920"/>
                  <a:pt x="2753242" y="862824"/>
                </a:cubicBezTo>
                <a:close/>
              </a:path>
            </a:pathLst>
          </a:custGeom>
          <a:solidFill>
            <a:schemeClr val="bg2">
              <a:lumMod val="75000"/>
              <a:alpha val="65000"/>
            </a:schemeClr>
          </a:solidFill>
          <a:ln w="13581"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5840501-CDEB-31FF-F328-B6D927D0986E}"/>
              </a:ext>
            </a:extLst>
          </p:cNvPr>
          <p:cNvSpPr/>
          <p:nvPr/>
        </p:nvSpPr>
        <p:spPr>
          <a:xfrm>
            <a:off x="5733027" y="5296795"/>
            <a:ext cx="2049387" cy="1567242"/>
          </a:xfrm>
          <a:custGeom>
            <a:avLst/>
            <a:gdLst>
              <a:gd name="connsiteX0" fmla="*/ 1956235 w 2049387"/>
              <a:gd name="connsiteY0" fmla="*/ 1249384 h 1567242"/>
              <a:gd name="connsiteX1" fmla="*/ 1638377 w 2049387"/>
              <a:gd name="connsiteY1" fmla="*/ 1567243 h 1567242"/>
              <a:gd name="connsiteX2" fmla="*/ 410898 w 2049387"/>
              <a:gd name="connsiteY2" fmla="*/ 1567243 h 1567242"/>
              <a:gd name="connsiteX3" fmla="*/ 93040 w 2049387"/>
              <a:gd name="connsiteY3" fmla="*/ 1249384 h 1567242"/>
              <a:gd name="connsiteX4" fmla="*/ 93040 w 2049387"/>
              <a:gd name="connsiteY4" fmla="*/ 799972 h 1567242"/>
              <a:gd name="connsiteX5" fmla="*/ 799857 w 2049387"/>
              <a:gd name="connsiteY5" fmla="*/ 93153 h 1567242"/>
              <a:gd name="connsiteX6" fmla="*/ 1249418 w 2049387"/>
              <a:gd name="connsiteY6" fmla="*/ 93153 h 1567242"/>
              <a:gd name="connsiteX7" fmla="*/ 1956235 w 2049387"/>
              <a:gd name="connsiteY7" fmla="*/ 799972 h 1567242"/>
              <a:gd name="connsiteX8" fmla="*/ 1956235 w 2049387"/>
              <a:gd name="connsiteY8" fmla="*/ 1249384 h 156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9387" h="1567242">
                <a:moveTo>
                  <a:pt x="1956235" y="1249384"/>
                </a:moveTo>
                <a:lnTo>
                  <a:pt x="1638377" y="1567243"/>
                </a:lnTo>
                <a:lnTo>
                  <a:pt x="410898" y="1567243"/>
                </a:lnTo>
                <a:lnTo>
                  <a:pt x="93040" y="1249384"/>
                </a:lnTo>
                <a:cubicBezTo>
                  <a:pt x="-31013" y="1125331"/>
                  <a:pt x="-31013" y="924025"/>
                  <a:pt x="93040" y="799972"/>
                </a:cubicBezTo>
                <a:lnTo>
                  <a:pt x="799857" y="93153"/>
                </a:lnTo>
                <a:cubicBezTo>
                  <a:pt x="924060" y="-31051"/>
                  <a:pt x="1125215" y="-31051"/>
                  <a:pt x="1249418" y="93153"/>
                </a:cubicBezTo>
                <a:lnTo>
                  <a:pt x="1956235" y="799972"/>
                </a:lnTo>
                <a:cubicBezTo>
                  <a:pt x="2080438" y="924025"/>
                  <a:pt x="2080438" y="1125331"/>
                  <a:pt x="1956235" y="1249384"/>
                </a:cubicBezTo>
                <a:close/>
              </a:path>
            </a:pathLst>
          </a:custGeom>
          <a:gradFill>
            <a:gsLst>
              <a:gs pos="0">
                <a:schemeClr val="bg2">
                  <a:lumMod val="60000"/>
                  <a:lumOff val="40000"/>
                </a:schemeClr>
              </a:gs>
              <a:gs pos="73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4" name="Freeform: Shape 23">
            <a:extLst>
              <a:ext uri="{FF2B5EF4-FFF2-40B4-BE49-F238E27FC236}">
                <a16:creationId xmlns:a16="http://schemas.microsoft.com/office/drawing/2014/main" id="{6EA8DA8A-C033-BA06-400F-C55F459FAF72}"/>
              </a:ext>
            </a:extLst>
          </p:cNvPr>
          <p:cNvSpPr/>
          <p:nvPr/>
        </p:nvSpPr>
        <p:spPr>
          <a:xfrm>
            <a:off x="3673215" y="0"/>
            <a:ext cx="1509186" cy="604104"/>
          </a:xfrm>
          <a:custGeom>
            <a:avLst/>
            <a:gdLst>
              <a:gd name="connsiteX0" fmla="*/ 1509187 w 1509186"/>
              <a:gd name="connsiteY0" fmla="*/ 0 h 604104"/>
              <a:gd name="connsiteX1" fmla="*/ 1011625 w 1509186"/>
              <a:gd name="connsiteY1" fmla="*/ 497564 h 604104"/>
              <a:gd name="connsiteX2" fmla="*/ 497562 w 1509186"/>
              <a:gd name="connsiteY2" fmla="*/ 497564 h 604104"/>
              <a:gd name="connsiteX3" fmla="*/ 0 w 1509186"/>
              <a:gd name="connsiteY3" fmla="*/ 0 h 604104"/>
              <a:gd name="connsiteX4" fmla="*/ 1509187 w 1509186"/>
              <a:gd name="connsiteY4" fmla="*/ 0 h 604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9186" h="604104">
                <a:moveTo>
                  <a:pt x="1509187" y="0"/>
                </a:moveTo>
                <a:lnTo>
                  <a:pt x="1011625" y="497564"/>
                </a:lnTo>
                <a:cubicBezTo>
                  <a:pt x="869721" y="639618"/>
                  <a:pt x="639466" y="639618"/>
                  <a:pt x="497562" y="497564"/>
                </a:cubicBezTo>
                <a:lnTo>
                  <a:pt x="0" y="0"/>
                </a:lnTo>
                <a:lnTo>
                  <a:pt x="1509187" y="0"/>
                </a:lnTo>
                <a:close/>
              </a:path>
            </a:pathLst>
          </a:custGeom>
          <a:gradFill>
            <a:gsLst>
              <a:gs pos="8000">
                <a:schemeClr val="bg2">
                  <a:lumMod val="60000"/>
                  <a:lumOff val="40000"/>
                </a:schemeClr>
              </a:gs>
              <a:gs pos="100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1" name="Rectangle 10">
            <a:extLst>
              <a:ext uri="{FF2B5EF4-FFF2-40B4-BE49-F238E27FC236}">
                <a16:creationId xmlns:a16="http://schemas.microsoft.com/office/drawing/2014/main" id="{350C324E-32D3-1C69-EF84-7E1FC6B3B503}"/>
              </a:ext>
            </a:extLst>
          </p:cNvPr>
          <p:cNvSpPr/>
          <p:nvPr userDrawn="1"/>
        </p:nvSpPr>
        <p:spPr>
          <a:xfrm rot="10800000" flipH="1">
            <a:off x="1" y="2182947"/>
            <a:ext cx="241159" cy="3052244"/>
          </a:xfrm>
          <a:prstGeom prst="rect">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99296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D1878DE7-7CE1-155D-58B8-0E821BFE4D97}"/>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5C3FA7E9-87A6-6D06-563E-16727CB182D1}"/>
              </a:ext>
            </a:extLst>
          </p:cNvPr>
          <p:cNvGrpSpPr/>
          <p:nvPr userDrawn="1"/>
        </p:nvGrpSpPr>
        <p:grpSpPr>
          <a:xfrm>
            <a:off x="3227441" y="1"/>
            <a:ext cx="8964559" cy="6858000"/>
            <a:chOff x="3227441" y="0"/>
            <a:chExt cx="8964559" cy="6915049"/>
          </a:xfrm>
        </p:grpSpPr>
        <p:sp>
          <p:nvSpPr>
            <p:cNvPr id="4" name="Freeform: Shape 15">
              <a:extLst>
                <a:ext uri="{FF2B5EF4-FFF2-40B4-BE49-F238E27FC236}">
                  <a16:creationId xmlns:a16="http://schemas.microsoft.com/office/drawing/2014/main" id="{AD738473-E7DA-B632-CA2B-3E9AD4E339DF}"/>
                </a:ext>
              </a:extLst>
            </p:cNvPr>
            <p:cNvSpPr/>
            <p:nvPr/>
          </p:nvSpPr>
          <p:spPr>
            <a:xfrm flipH="1">
              <a:off x="7434216" y="2145932"/>
              <a:ext cx="4757784" cy="4757604"/>
            </a:xfrm>
            <a:custGeom>
              <a:avLst/>
              <a:gdLst>
                <a:gd name="connsiteX0" fmla="*/ 4757785 w 4757784"/>
                <a:gd name="connsiteY0" fmla="*/ 4757605 h 4757604"/>
                <a:gd name="connsiteX1" fmla="*/ 1673176 w 4757784"/>
                <a:gd name="connsiteY1" fmla="*/ 4757605 h 4757604"/>
                <a:gd name="connsiteX2" fmla="*/ 1115151 w 4757784"/>
                <a:gd name="connsiteY2" fmla="*/ 4199580 h 4757604"/>
                <a:gd name="connsiteX3" fmla="*/ 0 w 4757784"/>
                <a:gd name="connsiteY3" fmla="*/ 3084429 h 4757604"/>
                <a:gd name="connsiteX4" fmla="*/ 0 w 4757784"/>
                <a:gd name="connsiteY4" fmla="*/ 0 h 4757604"/>
                <a:gd name="connsiteX5" fmla="*/ 10434 w 4757784"/>
                <a:gd name="connsiteY5" fmla="*/ 10434 h 4757604"/>
                <a:gd name="connsiteX6" fmla="*/ 90666 w 4757784"/>
                <a:gd name="connsiteY6" fmla="*/ 90486 h 4757604"/>
                <a:gd name="connsiteX7" fmla="*/ 101639 w 4757784"/>
                <a:gd name="connsiteY7" fmla="*/ 101459 h 4757604"/>
                <a:gd name="connsiteX8" fmla="*/ 154167 w 4757784"/>
                <a:gd name="connsiteY8" fmla="*/ 154167 h 4757604"/>
                <a:gd name="connsiteX9" fmla="*/ 165141 w 4757784"/>
                <a:gd name="connsiteY9" fmla="*/ 165141 h 4757604"/>
                <a:gd name="connsiteX10" fmla="*/ 272177 w 4757784"/>
                <a:gd name="connsiteY10" fmla="*/ 272177 h 4757604"/>
                <a:gd name="connsiteX11" fmla="*/ 283150 w 4757784"/>
                <a:gd name="connsiteY11" fmla="*/ 283150 h 4757604"/>
                <a:gd name="connsiteX12" fmla="*/ 453868 w 4757784"/>
                <a:gd name="connsiteY12" fmla="*/ 453868 h 4757604"/>
                <a:gd name="connsiteX13" fmla="*/ 517549 w 4757784"/>
                <a:gd name="connsiteY13" fmla="*/ 517370 h 4757604"/>
                <a:gd name="connsiteX14" fmla="*/ 635559 w 4757784"/>
                <a:gd name="connsiteY14" fmla="*/ 635379 h 4757604"/>
                <a:gd name="connsiteX15" fmla="*/ 699060 w 4757784"/>
                <a:gd name="connsiteY15" fmla="*/ 699060 h 4757604"/>
                <a:gd name="connsiteX16" fmla="*/ 1577473 w 4757784"/>
                <a:gd name="connsiteY16" fmla="*/ 1577473 h 4757604"/>
                <a:gd name="connsiteX17" fmla="*/ 1732900 w 4757784"/>
                <a:gd name="connsiteY17" fmla="*/ 1732720 h 4757604"/>
                <a:gd name="connsiteX18" fmla="*/ 1800180 w 4757784"/>
                <a:gd name="connsiteY18" fmla="*/ 1800180 h 4757604"/>
                <a:gd name="connsiteX19" fmla="*/ 1932940 w 4757784"/>
                <a:gd name="connsiteY19" fmla="*/ 1932940 h 4757604"/>
                <a:gd name="connsiteX20" fmla="*/ 2407675 w 4757784"/>
                <a:gd name="connsiteY20" fmla="*/ 2407675 h 4757604"/>
                <a:gd name="connsiteX21" fmla="*/ 2475135 w 4757784"/>
                <a:gd name="connsiteY21" fmla="*/ 2474955 h 4757604"/>
                <a:gd name="connsiteX22" fmla="*/ 2630381 w 4757784"/>
                <a:gd name="connsiteY22" fmla="*/ 2630201 h 4757604"/>
                <a:gd name="connsiteX23" fmla="*/ 2699460 w 4757784"/>
                <a:gd name="connsiteY23" fmla="*/ 2699460 h 4757604"/>
                <a:gd name="connsiteX24" fmla="*/ 2893923 w 4757784"/>
                <a:gd name="connsiteY24" fmla="*/ 2893923 h 4757604"/>
                <a:gd name="connsiteX25" fmla="*/ 3174735 w 4757784"/>
                <a:gd name="connsiteY25" fmla="*/ 3174555 h 4757604"/>
                <a:gd name="connsiteX26" fmla="*/ 4757785 w 4757784"/>
                <a:gd name="connsiteY26" fmla="*/ 4757605 h 475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57784" h="4757604">
                  <a:moveTo>
                    <a:pt x="4757785" y="4757605"/>
                  </a:moveTo>
                  <a:lnTo>
                    <a:pt x="1673176" y="4757605"/>
                  </a:lnTo>
                  <a:lnTo>
                    <a:pt x="1115151" y="4199580"/>
                  </a:lnTo>
                  <a:lnTo>
                    <a:pt x="0" y="3084429"/>
                  </a:lnTo>
                  <a:lnTo>
                    <a:pt x="0" y="0"/>
                  </a:lnTo>
                  <a:lnTo>
                    <a:pt x="10434" y="10434"/>
                  </a:lnTo>
                  <a:lnTo>
                    <a:pt x="90666" y="90486"/>
                  </a:lnTo>
                  <a:lnTo>
                    <a:pt x="101639" y="101459"/>
                  </a:lnTo>
                  <a:lnTo>
                    <a:pt x="154167" y="154167"/>
                  </a:lnTo>
                  <a:lnTo>
                    <a:pt x="165141" y="165141"/>
                  </a:lnTo>
                  <a:lnTo>
                    <a:pt x="272177" y="272177"/>
                  </a:lnTo>
                  <a:lnTo>
                    <a:pt x="283150" y="283150"/>
                  </a:lnTo>
                  <a:lnTo>
                    <a:pt x="453868" y="453868"/>
                  </a:lnTo>
                  <a:lnTo>
                    <a:pt x="517549" y="517370"/>
                  </a:lnTo>
                  <a:lnTo>
                    <a:pt x="635559" y="635379"/>
                  </a:lnTo>
                  <a:lnTo>
                    <a:pt x="699060" y="699060"/>
                  </a:lnTo>
                  <a:lnTo>
                    <a:pt x="1577473" y="1577473"/>
                  </a:lnTo>
                  <a:lnTo>
                    <a:pt x="1732900" y="1732720"/>
                  </a:lnTo>
                  <a:lnTo>
                    <a:pt x="1800180" y="1800180"/>
                  </a:lnTo>
                  <a:lnTo>
                    <a:pt x="1932940" y="1932940"/>
                  </a:lnTo>
                  <a:lnTo>
                    <a:pt x="2407675" y="2407675"/>
                  </a:lnTo>
                  <a:lnTo>
                    <a:pt x="2475135" y="2474955"/>
                  </a:lnTo>
                  <a:lnTo>
                    <a:pt x="2630381" y="2630201"/>
                  </a:lnTo>
                  <a:lnTo>
                    <a:pt x="2699460" y="2699460"/>
                  </a:lnTo>
                  <a:lnTo>
                    <a:pt x="2893923" y="2893923"/>
                  </a:lnTo>
                  <a:lnTo>
                    <a:pt x="3174735" y="3174555"/>
                  </a:lnTo>
                  <a:lnTo>
                    <a:pt x="4757785" y="4757605"/>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18">
              <a:extLst>
                <a:ext uri="{FF2B5EF4-FFF2-40B4-BE49-F238E27FC236}">
                  <a16:creationId xmlns:a16="http://schemas.microsoft.com/office/drawing/2014/main" id="{105BF785-B0BC-2278-6F39-F349B1E407D6}"/>
                </a:ext>
              </a:extLst>
            </p:cNvPr>
            <p:cNvSpPr/>
            <p:nvPr/>
          </p:nvSpPr>
          <p:spPr>
            <a:xfrm flipH="1">
              <a:off x="7886051" y="0"/>
              <a:ext cx="4305949" cy="5076210"/>
            </a:xfrm>
            <a:custGeom>
              <a:avLst/>
              <a:gdLst>
                <a:gd name="connsiteX0" fmla="*/ 4257325 w 4305949"/>
                <a:gd name="connsiteY0" fmla="*/ 4492264 h 5076210"/>
                <a:gd name="connsiteX1" fmla="*/ 4050809 w 4305949"/>
                <a:gd name="connsiteY1" fmla="*/ 4820927 h 5076210"/>
                <a:gd name="connsiteX2" fmla="*/ 3558804 w 4305949"/>
                <a:gd name="connsiteY2" fmla="*/ 5067379 h 5076210"/>
                <a:gd name="connsiteX3" fmla="*/ 2987647 w 4305949"/>
                <a:gd name="connsiteY3" fmla="*/ 4952967 h 5076210"/>
                <a:gd name="connsiteX4" fmla="*/ 2910473 w 4305949"/>
                <a:gd name="connsiteY4" fmla="*/ 4900979 h 5076210"/>
                <a:gd name="connsiteX5" fmla="*/ 2818369 w 4305949"/>
                <a:gd name="connsiteY5" fmla="*/ 4820927 h 5076210"/>
                <a:gd name="connsiteX6" fmla="*/ 2554107 w 4305949"/>
                <a:gd name="connsiteY6" fmla="*/ 4556665 h 5076210"/>
                <a:gd name="connsiteX7" fmla="*/ 2488447 w 4305949"/>
                <a:gd name="connsiteY7" fmla="*/ 4491005 h 5076210"/>
                <a:gd name="connsiteX8" fmla="*/ 2362162 w 4305949"/>
                <a:gd name="connsiteY8" fmla="*/ 4364721 h 5076210"/>
                <a:gd name="connsiteX9" fmla="*/ 2303158 w 4305949"/>
                <a:gd name="connsiteY9" fmla="*/ 4305716 h 5076210"/>
                <a:gd name="connsiteX10" fmla="*/ 2048251 w 4305949"/>
                <a:gd name="connsiteY10" fmla="*/ 4050809 h 5076210"/>
                <a:gd name="connsiteX11" fmla="*/ 1862782 w 4305949"/>
                <a:gd name="connsiteY11" fmla="*/ 3865340 h 5076210"/>
                <a:gd name="connsiteX12" fmla="*/ 1796942 w 4305949"/>
                <a:gd name="connsiteY12" fmla="*/ 3799500 h 5076210"/>
                <a:gd name="connsiteX13" fmla="*/ 1575495 w 4305949"/>
                <a:gd name="connsiteY13" fmla="*/ 3578053 h 5076210"/>
                <a:gd name="connsiteX14" fmla="*/ 1446872 w 4305949"/>
                <a:gd name="connsiteY14" fmla="*/ 3449430 h 5076210"/>
                <a:gd name="connsiteX15" fmla="*/ 1382111 w 4305949"/>
                <a:gd name="connsiteY15" fmla="*/ 3384669 h 5076210"/>
                <a:gd name="connsiteX16" fmla="*/ 1041215 w 4305949"/>
                <a:gd name="connsiteY16" fmla="*/ 3043773 h 5076210"/>
                <a:gd name="connsiteX17" fmla="*/ 952528 w 4305949"/>
                <a:gd name="connsiteY17" fmla="*/ 2955087 h 5076210"/>
                <a:gd name="connsiteX18" fmla="*/ 888847 w 4305949"/>
                <a:gd name="connsiteY18" fmla="*/ 2891405 h 5076210"/>
                <a:gd name="connsiteX19" fmla="*/ 770837 w 4305949"/>
                <a:gd name="connsiteY19" fmla="*/ 2773396 h 5076210"/>
                <a:gd name="connsiteX20" fmla="*/ 589146 w 4305949"/>
                <a:gd name="connsiteY20" fmla="*/ 2591705 h 5076210"/>
                <a:gd name="connsiteX21" fmla="*/ 525465 w 4305949"/>
                <a:gd name="connsiteY21" fmla="*/ 2528023 h 5076210"/>
                <a:gd name="connsiteX22" fmla="*/ 407455 w 4305949"/>
                <a:gd name="connsiteY22" fmla="*/ 2410014 h 5076210"/>
                <a:gd name="connsiteX23" fmla="*/ 343954 w 4305949"/>
                <a:gd name="connsiteY23" fmla="*/ 2346512 h 5076210"/>
                <a:gd name="connsiteX24" fmla="*/ 225944 w 4305949"/>
                <a:gd name="connsiteY24" fmla="*/ 2228503 h 5076210"/>
                <a:gd name="connsiteX25" fmla="*/ 162263 w 4305949"/>
                <a:gd name="connsiteY25" fmla="*/ 2164821 h 5076210"/>
                <a:gd name="connsiteX26" fmla="*/ 44253 w 4305949"/>
                <a:gd name="connsiteY26" fmla="*/ 2046812 h 5076210"/>
                <a:gd name="connsiteX27" fmla="*/ 0 w 4305949"/>
                <a:gd name="connsiteY27" fmla="*/ 2002558 h 5076210"/>
                <a:gd name="connsiteX28" fmla="*/ 0 w 4305949"/>
                <a:gd name="connsiteY28" fmla="*/ 0 h 5076210"/>
                <a:gd name="connsiteX29" fmla="*/ 462323 w 4305949"/>
                <a:gd name="connsiteY29" fmla="*/ 0 h 5076210"/>
                <a:gd name="connsiteX30" fmla="*/ 2742814 w 4305949"/>
                <a:gd name="connsiteY30" fmla="*/ 2280491 h 5076210"/>
                <a:gd name="connsiteX31" fmla="*/ 3305516 w 4305949"/>
                <a:gd name="connsiteY31" fmla="*/ 2843194 h 5076210"/>
                <a:gd name="connsiteX32" fmla="*/ 3381970 w 4305949"/>
                <a:gd name="connsiteY32" fmla="*/ 2919648 h 5076210"/>
                <a:gd name="connsiteX33" fmla="*/ 4050809 w 4305949"/>
                <a:gd name="connsiteY33" fmla="*/ 3588486 h 5076210"/>
                <a:gd name="connsiteX34" fmla="*/ 4293663 w 4305949"/>
                <a:gd name="connsiteY34" fmla="*/ 4058724 h 5076210"/>
                <a:gd name="connsiteX35" fmla="*/ 4257325 w 4305949"/>
                <a:gd name="connsiteY35" fmla="*/ 4492264 h 507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05949" h="5076210">
                  <a:moveTo>
                    <a:pt x="4257325" y="4492264"/>
                  </a:moveTo>
                  <a:cubicBezTo>
                    <a:pt x="4215590" y="4612252"/>
                    <a:pt x="4146691" y="4725044"/>
                    <a:pt x="4050809" y="4820927"/>
                  </a:cubicBezTo>
                  <a:cubicBezTo>
                    <a:pt x="3912292" y="4959444"/>
                    <a:pt x="3738696" y="5041654"/>
                    <a:pt x="3558804" y="5067379"/>
                  </a:cubicBezTo>
                  <a:cubicBezTo>
                    <a:pt x="3363981" y="5095262"/>
                    <a:pt x="3161603" y="5057125"/>
                    <a:pt x="2987647" y="4952967"/>
                  </a:cubicBezTo>
                  <a:cubicBezTo>
                    <a:pt x="2961203" y="4937317"/>
                    <a:pt x="2935478" y="4919867"/>
                    <a:pt x="2910473" y="4900979"/>
                  </a:cubicBezTo>
                  <a:cubicBezTo>
                    <a:pt x="2878452" y="4876873"/>
                    <a:pt x="2847511" y="4850069"/>
                    <a:pt x="2818369" y="4820927"/>
                  </a:cubicBezTo>
                  <a:lnTo>
                    <a:pt x="2554107" y="4556665"/>
                  </a:lnTo>
                  <a:lnTo>
                    <a:pt x="2488447" y="4491005"/>
                  </a:lnTo>
                  <a:lnTo>
                    <a:pt x="2362162" y="4364721"/>
                  </a:lnTo>
                  <a:lnTo>
                    <a:pt x="2303158" y="4305716"/>
                  </a:lnTo>
                  <a:lnTo>
                    <a:pt x="2048251" y="4050809"/>
                  </a:lnTo>
                  <a:lnTo>
                    <a:pt x="1862782" y="3865340"/>
                  </a:lnTo>
                  <a:lnTo>
                    <a:pt x="1796942" y="3799500"/>
                  </a:lnTo>
                  <a:lnTo>
                    <a:pt x="1575495" y="3578053"/>
                  </a:lnTo>
                  <a:lnTo>
                    <a:pt x="1446872" y="3449430"/>
                  </a:lnTo>
                  <a:lnTo>
                    <a:pt x="1382111" y="3384669"/>
                  </a:lnTo>
                  <a:lnTo>
                    <a:pt x="1041215" y="3043773"/>
                  </a:lnTo>
                  <a:lnTo>
                    <a:pt x="952528" y="2955087"/>
                  </a:lnTo>
                  <a:lnTo>
                    <a:pt x="888847" y="2891405"/>
                  </a:lnTo>
                  <a:lnTo>
                    <a:pt x="770837" y="2773396"/>
                  </a:lnTo>
                  <a:lnTo>
                    <a:pt x="589146" y="2591705"/>
                  </a:lnTo>
                  <a:lnTo>
                    <a:pt x="525465" y="2528023"/>
                  </a:lnTo>
                  <a:lnTo>
                    <a:pt x="407455" y="2410014"/>
                  </a:lnTo>
                  <a:lnTo>
                    <a:pt x="343954" y="2346512"/>
                  </a:lnTo>
                  <a:lnTo>
                    <a:pt x="225944" y="2228503"/>
                  </a:lnTo>
                  <a:lnTo>
                    <a:pt x="162263" y="2164821"/>
                  </a:lnTo>
                  <a:lnTo>
                    <a:pt x="44253" y="2046812"/>
                  </a:lnTo>
                  <a:lnTo>
                    <a:pt x="0" y="2002558"/>
                  </a:lnTo>
                  <a:lnTo>
                    <a:pt x="0" y="0"/>
                  </a:lnTo>
                  <a:lnTo>
                    <a:pt x="462323" y="0"/>
                  </a:lnTo>
                  <a:lnTo>
                    <a:pt x="2742814" y="2280491"/>
                  </a:lnTo>
                  <a:lnTo>
                    <a:pt x="3305516" y="2843194"/>
                  </a:lnTo>
                  <a:lnTo>
                    <a:pt x="3381970" y="2919648"/>
                  </a:lnTo>
                  <a:lnTo>
                    <a:pt x="4050809" y="3588486"/>
                  </a:lnTo>
                  <a:cubicBezTo>
                    <a:pt x="4183749" y="3721426"/>
                    <a:pt x="4264701" y="3886568"/>
                    <a:pt x="4293663" y="4058724"/>
                  </a:cubicBezTo>
                  <a:cubicBezTo>
                    <a:pt x="4318129" y="4203177"/>
                    <a:pt x="4306076" y="4352668"/>
                    <a:pt x="4257325" y="4492264"/>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19">
              <a:extLst>
                <a:ext uri="{FF2B5EF4-FFF2-40B4-BE49-F238E27FC236}">
                  <a16:creationId xmlns:a16="http://schemas.microsoft.com/office/drawing/2014/main" id="{5C1E4B12-B33D-A109-1ADE-6DFF6349FD88}"/>
                </a:ext>
              </a:extLst>
            </p:cNvPr>
            <p:cNvSpPr/>
            <p:nvPr/>
          </p:nvSpPr>
          <p:spPr>
            <a:xfrm flipH="1">
              <a:off x="3534741" y="0"/>
              <a:ext cx="5191459" cy="3966034"/>
            </a:xfrm>
            <a:custGeom>
              <a:avLst/>
              <a:gdLst>
                <a:gd name="connsiteX0" fmla="*/ 4937677 w 5191459"/>
                <a:gd name="connsiteY0" fmla="*/ 3712252 h 3966034"/>
                <a:gd name="connsiteX1" fmla="*/ 3712252 w 5191459"/>
                <a:gd name="connsiteY1" fmla="*/ 3712252 h 3966034"/>
                <a:gd name="connsiteX2" fmla="*/ 0 w 5191459"/>
                <a:gd name="connsiteY2" fmla="*/ 0 h 3966034"/>
                <a:gd name="connsiteX3" fmla="*/ 2450849 w 5191459"/>
                <a:gd name="connsiteY3" fmla="*/ 0 h 3966034"/>
                <a:gd name="connsiteX4" fmla="*/ 4937677 w 5191459"/>
                <a:gd name="connsiteY4" fmla="*/ 2486828 h 3966034"/>
                <a:gd name="connsiteX5" fmla="*/ 4937677 w 5191459"/>
                <a:gd name="connsiteY5" fmla="*/ 3712252 h 396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1459" h="3966034">
                  <a:moveTo>
                    <a:pt x="4937677" y="3712252"/>
                  </a:moveTo>
                  <a:cubicBezTo>
                    <a:pt x="4599300" y="4050629"/>
                    <a:pt x="4050629" y="4050629"/>
                    <a:pt x="3712252" y="3712252"/>
                  </a:cubicBezTo>
                  <a:lnTo>
                    <a:pt x="0" y="0"/>
                  </a:lnTo>
                  <a:lnTo>
                    <a:pt x="2450849" y="0"/>
                  </a:lnTo>
                  <a:lnTo>
                    <a:pt x="4937677" y="2486828"/>
                  </a:lnTo>
                  <a:cubicBezTo>
                    <a:pt x="5276054" y="2825205"/>
                    <a:pt x="5276054" y="3373875"/>
                    <a:pt x="4937677" y="3712252"/>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20">
              <a:extLst>
                <a:ext uri="{FF2B5EF4-FFF2-40B4-BE49-F238E27FC236}">
                  <a16:creationId xmlns:a16="http://schemas.microsoft.com/office/drawing/2014/main" id="{A1B34098-F15D-2371-8FE1-317D8E18CBF9}"/>
                </a:ext>
              </a:extLst>
            </p:cNvPr>
            <p:cNvSpPr/>
            <p:nvPr/>
          </p:nvSpPr>
          <p:spPr>
            <a:xfrm flipH="1">
              <a:off x="5473618" y="0"/>
              <a:ext cx="2650664" cy="2027158"/>
            </a:xfrm>
            <a:custGeom>
              <a:avLst/>
              <a:gdLst>
                <a:gd name="connsiteX0" fmla="*/ 2521547 w 2650664"/>
                <a:gd name="connsiteY0" fmla="*/ 1898041 h 2027158"/>
                <a:gd name="connsiteX1" fmla="*/ 1898041 w 2650664"/>
                <a:gd name="connsiteY1" fmla="*/ 1898041 h 2027158"/>
                <a:gd name="connsiteX2" fmla="*/ 0 w 2650664"/>
                <a:gd name="connsiteY2" fmla="*/ 0 h 2027158"/>
                <a:gd name="connsiteX3" fmla="*/ 1247012 w 2650664"/>
                <a:gd name="connsiteY3" fmla="*/ 0 h 2027158"/>
                <a:gd name="connsiteX4" fmla="*/ 2521547 w 2650664"/>
                <a:gd name="connsiteY4" fmla="*/ 1274535 h 2027158"/>
                <a:gd name="connsiteX5" fmla="*/ 2521547 w 2650664"/>
                <a:gd name="connsiteY5" fmla="*/ 1898041 h 202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0664" h="2027158">
                  <a:moveTo>
                    <a:pt x="2521547" y="1898041"/>
                  </a:moveTo>
                  <a:cubicBezTo>
                    <a:pt x="2349390" y="2070198"/>
                    <a:pt x="2070198" y="2070198"/>
                    <a:pt x="1898041" y="1898041"/>
                  </a:cubicBezTo>
                  <a:lnTo>
                    <a:pt x="0" y="0"/>
                  </a:lnTo>
                  <a:lnTo>
                    <a:pt x="1247012" y="0"/>
                  </a:lnTo>
                  <a:lnTo>
                    <a:pt x="2521547" y="1274535"/>
                  </a:lnTo>
                  <a:cubicBezTo>
                    <a:pt x="2693703" y="1446692"/>
                    <a:pt x="2693703" y="1725884"/>
                    <a:pt x="2521547" y="1898041"/>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21">
              <a:extLst>
                <a:ext uri="{FF2B5EF4-FFF2-40B4-BE49-F238E27FC236}">
                  <a16:creationId xmlns:a16="http://schemas.microsoft.com/office/drawing/2014/main" id="{62A03ECD-B52A-209E-FC4D-EE886C65EA1E}"/>
                </a:ext>
              </a:extLst>
            </p:cNvPr>
            <p:cNvSpPr/>
            <p:nvPr/>
          </p:nvSpPr>
          <p:spPr>
            <a:xfrm flipH="1">
              <a:off x="4771094" y="0"/>
              <a:ext cx="7420906" cy="6903536"/>
            </a:xfrm>
            <a:custGeom>
              <a:avLst/>
              <a:gdLst>
                <a:gd name="connsiteX0" fmla="*/ 7420906 w 7420906"/>
                <a:gd name="connsiteY0" fmla="*/ 6903537 h 6903536"/>
                <a:gd name="connsiteX1" fmla="*/ 5394962 w 7420906"/>
                <a:gd name="connsiteY1" fmla="*/ 6903537 h 6903536"/>
                <a:gd name="connsiteX2" fmla="*/ 2971097 w 7420906"/>
                <a:gd name="connsiteY2" fmla="*/ 4479672 h 6903536"/>
                <a:gd name="connsiteX3" fmla="*/ 2895183 w 7420906"/>
                <a:gd name="connsiteY3" fmla="*/ 4403757 h 6903536"/>
                <a:gd name="connsiteX4" fmla="*/ 2712232 w 7420906"/>
                <a:gd name="connsiteY4" fmla="*/ 4220807 h 6903536"/>
                <a:gd name="connsiteX5" fmla="*/ 2226884 w 7420906"/>
                <a:gd name="connsiteY5" fmla="*/ 3735458 h 6903536"/>
                <a:gd name="connsiteX6" fmla="*/ 2132980 w 7420906"/>
                <a:gd name="connsiteY6" fmla="*/ 3641554 h 6903536"/>
                <a:gd name="connsiteX7" fmla="*/ 1950030 w 7420906"/>
                <a:gd name="connsiteY7" fmla="*/ 3458604 h 6903536"/>
                <a:gd name="connsiteX8" fmla="*/ 1667239 w 7420906"/>
                <a:gd name="connsiteY8" fmla="*/ 3175814 h 6903536"/>
                <a:gd name="connsiteX9" fmla="*/ 0 w 7420906"/>
                <a:gd name="connsiteY9" fmla="*/ 1508575 h 6903536"/>
                <a:gd name="connsiteX10" fmla="*/ 0 w 7420906"/>
                <a:gd name="connsiteY10" fmla="*/ 0 h 6903536"/>
                <a:gd name="connsiteX11" fmla="*/ 517370 w 7420906"/>
                <a:gd name="connsiteY11" fmla="*/ 0 h 6903536"/>
                <a:gd name="connsiteX12" fmla="*/ 2209254 w 7420906"/>
                <a:gd name="connsiteY12" fmla="*/ 1691885 h 6903536"/>
                <a:gd name="connsiteX13" fmla="*/ 2283909 w 7420906"/>
                <a:gd name="connsiteY13" fmla="*/ 1766540 h 6903536"/>
                <a:gd name="connsiteX14" fmla="*/ 4276394 w 7420906"/>
                <a:gd name="connsiteY14" fmla="*/ 3759024 h 6903536"/>
                <a:gd name="connsiteX15" fmla="*/ 5290985 w 7420906"/>
                <a:gd name="connsiteY15" fmla="*/ 4773615 h 6903536"/>
                <a:gd name="connsiteX16" fmla="*/ 7420906 w 7420906"/>
                <a:gd name="connsiteY16"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20906" h="6903536">
                  <a:moveTo>
                    <a:pt x="7420906" y="6903537"/>
                  </a:moveTo>
                  <a:lnTo>
                    <a:pt x="5394962" y="6903537"/>
                  </a:lnTo>
                  <a:lnTo>
                    <a:pt x="2971097" y="4479672"/>
                  </a:lnTo>
                  <a:lnTo>
                    <a:pt x="2895183" y="4403757"/>
                  </a:lnTo>
                  <a:lnTo>
                    <a:pt x="2712232" y="4220807"/>
                  </a:lnTo>
                  <a:lnTo>
                    <a:pt x="2226884" y="3735458"/>
                  </a:lnTo>
                  <a:lnTo>
                    <a:pt x="2132980" y="3641554"/>
                  </a:lnTo>
                  <a:lnTo>
                    <a:pt x="1950030" y="3458604"/>
                  </a:lnTo>
                  <a:lnTo>
                    <a:pt x="1667239" y="3175814"/>
                  </a:lnTo>
                  <a:lnTo>
                    <a:pt x="0" y="1508575"/>
                  </a:lnTo>
                  <a:lnTo>
                    <a:pt x="0" y="0"/>
                  </a:lnTo>
                  <a:lnTo>
                    <a:pt x="517370" y="0"/>
                  </a:lnTo>
                  <a:lnTo>
                    <a:pt x="2209254" y="1691885"/>
                  </a:lnTo>
                  <a:lnTo>
                    <a:pt x="2283909" y="1766540"/>
                  </a:lnTo>
                  <a:lnTo>
                    <a:pt x="4276394" y="3759024"/>
                  </a:lnTo>
                  <a:lnTo>
                    <a:pt x="5290985" y="4773615"/>
                  </a:lnTo>
                  <a:lnTo>
                    <a:pt x="7420906"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22">
              <a:extLst>
                <a:ext uri="{FF2B5EF4-FFF2-40B4-BE49-F238E27FC236}">
                  <a16:creationId xmlns:a16="http://schemas.microsoft.com/office/drawing/2014/main" id="{BE689352-2C21-998E-16DE-ABCD005BE350}"/>
                </a:ext>
              </a:extLst>
            </p:cNvPr>
            <p:cNvSpPr/>
            <p:nvPr/>
          </p:nvSpPr>
          <p:spPr>
            <a:xfrm flipH="1">
              <a:off x="3227441" y="0"/>
              <a:ext cx="8964559" cy="6903536"/>
            </a:xfrm>
            <a:custGeom>
              <a:avLst/>
              <a:gdLst>
                <a:gd name="connsiteX0" fmla="*/ 8964560 w 8964559"/>
                <a:gd name="connsiteY0" fmla="*/ 6903537 h 6903536"/>
                <a:gd name="connsiteX1" fmla="*/ 6668598 w 8964559"/>
                <a:gd name="connsiteY1" fmla="*/ 6903537 h 6903536"/>
                <a:gd name="connsiteX2" fmla="*/ 1573156 w 8964559"/>
                <a:gd name="connsiteY2" fmla="*/ 1808095 h 6903536"/>
                <a:gd name="connsiteX3" fmla="*/ 1056686 w 8964559"/>
                <a:gd name="connsiteY3" fmla="*/ 1291625 h 6903536"/>
                <a:gd name="connsiteX4" fmla="*/ 0 w 8964559"/>
                <a:gd name="connsiteY4" fmla="*/ 234939 h 6903536"/>
                <a:gd name="connsiteX5" fmla="*/ 0 w 8964559"/>
                <a:gd name="connsiteY5" fmla="*/ 0 h 6903536"/>
                <a:gd name="connsiteX6" fmla="*/ 2061023 w 8964559"/>
                <a:gd name="connsiteY6" fmla="*/ 0 h 6903536"/>
                <a:gd name="connsiteX7" fmla="*/ 2942134 w 8964559"/>
                <a:gd name="connsiteY7" fmla="*/ 881111 h 6903536"/>
                <a:gd name="connsiteX8" fmla="*/ 3621767 w 8964559"/>
                <a:gd name="connsiteY8" fmla="*/ 1560743 h 6903536"/>
                <a:gd name="connsiteX9" fmla="*/ 4093623 w 8964559"/>
                <a:gd name="connsiteY9" fmla="*/ 2032600 h 6903536"/>
                <a:gd name="connsiteX10" fmla="*/ 5364201 w 8964559"/>
                <a:gd name="connsiteY10" fmla="*/ 3303178 h 6903536"/>
                <a:gd name="connsiteX11" fmla="*/ 5372476 w 8964559"/>
                <a:gd name="connsiteY11" fmla="*/ 3311453 h 6903536"/>
                <a:gd name="connsiteX12" fmla="*/ 5475914 w 8964559"/>
                <a:gd name="connsiteY12" fmla="*/ 3414891 h 6903536"/>
                <a:gd name="connsiteX13" fmla="*/ 5603637 w 8964559"/>
                <a:gd name="connsiteY13" fmla="*/ 3542614 h 6903536"/>
                <a:gd name="connsiteX14" fmla="*/ 5709234 w 8964559"/>
                <a:gd name="connsiteY14" fmla="*/ 3648211 h 6903536"/>
                <a:gd name="connsiteX15" fmla="*/ 8964560 w 8964559"/>
                <a:gd name="connsiteY15"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64559" h="6903536">
                  <a:moveTo>
                    <a:pt x="8964560" y="6903537"/>
                  </a:moveTo>
                  <a:lnTo>
                    <a:pt x="6668598" y="6903537"/>
                  </a:lnTo>
                  <a:lnTo>
                    <a:pt x="1573156" y="1808095"/>
                  </a:lnTo>
                  <a:lnTo>
                    <a:pt x="1056686" y="1291625"/>
                  </a:lnTo>
                  <a:lnTo>
                    <a:pt x="0" y="234939"/>
                  </a:lnTo>
                  <a:lnTo>
                    <a:pt x="0" y="0"/>
                  </a:lnTo>
                  <a:lnTo>
                    <a:pt x="2061023" y="0"/>
                  </a:lnTo>
                  <a:lnTo>
                    <a:pt x="2942134" y="881111"/>
                  </a:lnTo>
                  <a:lnTo>
                    <a:pt x="3621767" y="1560743"/>
                  </a:lnTo>
                  <a:lnTo>
                    <a:pt x="4093623" y="2032600"/>
                  </a:lnTo>
                  <a:lnTo>
                    <a:pt x="5364201" y="3303178"/>
                  </a:lnTo>
                  <a:lnTo>
                    <a:pt x="5372476" y="3311453"/>
                  </a:lnTo>
                  <a:lnTo>
                    <a:pt x="5475914" y="3414891"/>
                  </a:lnTo>
                  <a:lnTo>
                    <a:pt x="5603637" y="3542614"/>
                  </a:lnTo>
                  <a:lnTo>
                    <a:pt x="5709234" y="3648211"/>
                  </a:lnTo>
                  <a:lnTo>
                    <a:pt x="8964560"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24">
              <a:extLst>
                <a:ext uri="{FF2B5EF4-FFF2-40B4-BE49-F238E27FC236}">
                  <a16:creationId xmlns:a16="http://schemas.microsoft.com/office/drawing/2014/main" id="{8AF9DFD9-916F-BA4C-C747-4122EED1AA72}"/>
                </a:ext>
              </a:extLst>
            </p:cNvPr>
            <p:cNvSpPr/>
            <p:nvPr/>
          </p:nvSpPr>
          <p:spPr>
            <a:xfrm flipH="1">
              <a:off x="4400697" y="2810633"/>
              <a:ext cx="4425470" cy="4104416"/>
            </a:xfrm>
            <a:custGeom>
              <a:avLst/>
              <a:gdLst>
                <a:gd name="connsiteX0" fmla="*/ 4425471 w 4425470"/>
                <a:gd name="connsiteY0" fmla="*/ 4104417 h 4104416"/>
                <a:gd name="connsiteX1" fmla="*/ 3783256 w 4425470"/>
                <a:gd name="connsiteY1" fmla="*/ 4104417 h 4104416"/>
                <a:gd name="connsiteX2" fmla="*/ 1842581 w 4425470"/>
                <a:gd name="connsiteY2" fmla="*/ 2163921 h 4104416"/>
                <a:gd name="connsiteX3" fmla="*/ 938264 w 4425470"/>
                <a:gd name="connsiteY3" fmla="*/ 1259604 h 4104416"/>
                <a:gd name="connsiteX4" fmla="*/ 300726 w 4425470"/>
                <a:gd name="connsiteY4" fmla="*/ 622067 h 4104416"/>
                <a:gd name="connsiteX5" fmla="*/ 66327 w 4425470"/>
                <a:gd name="connsiteY5" fmla="*/ 387667 h 4104416"/>
                <a:gd name="connsiteX6" fmla="*/ 15597 w 4425470"/>
                <a:gd name="connsiteY6" fmla="*/ 144093 h 4104416"/>
                <a:gd name="connsiteX7" fmla="*/ 26571 w 4425470"/>
                <a:gd name="connsiteY7" fmla="*/ 120528 h 4104416"/>
                <a:gd name="connsiteX8" fmla="*/ 48338 w 4425470"/>
                <a:gd name="connsiteY8" fmla="*/ 87247 h 4104416"/>
                <a:gd name="connsiteX9" fmla="*/ 66327 w 4425470"/>
                <a:gd name="connsiteY9" fmla="*/ 66560 h 4104416"/>
                <a:gd name="connsiteX10" fmla="*/ 226971 w 4425470"/>
                <a:gd name="connsiteY10" fmla="*/ 0 h 4104416"/>
                <a:gd name="connsiteX11" fmla="*/ 387434 w 4425470"/>
                <a:gd name="connsiteY11" fmla="*/ 66560 h 4104416"/>
                <a:gd name="connsiteX12" fmla="*/ 920994 w 4425470"/>
                <a:gd name="connsiteY12" fmla="*/ 600120 h 4104416"/>
                <a:gd name="connsiteX13" fmla="*/ 2047298 w 4425470"/>
                <a:gd name="connsiteY13" fmla="*/ 1726244 h 4104416"/>
                <a:gd name="connsiteX14" fmla="*/ 4425471 w 4425470"/>
                <a:gd name="connsiteY14" fmla="*/ 4104417 h 41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5470" h="4104416">
                  <a:moveTo>
                    <a:pt x="4425471" y="4104417"/>
                  </a:moveTo>
                  <a:lnTo>
                    <a:pt x="3783256" y="4104417"/>
                  </a:lnTo>
                  <a:lnTo>
                    <a:pt x="1842581" y="2163921"/>
                  </a:lnTo>
                  <a:lnTo>
                    <a:pt x="938264" y="1259604"/>
                  </a:lnTo>
                  <a:lnTo>
                    <a:pt x="300726" y="622067"/>
                  </a:lnTo>
                  <a:lnTo>
                    <a:pt x="66327" y="387667"/>
                  </a:lnTo>
                  <a:cubicBezTo>
                    <a:pt x="666" y="321827"/>
                    <a:pt x="-16244" y="225584"/>
                    <a:pt x="15597" y="144093"/>
                  </a:cubicBezTo>
                  <a:cubicBezTo>
                    <a:pt x="18835" y="135998"/>
                    <a:pt x="22433" y="128083"/>
                    <a:pt x="26571" y="120528"/>
                  </a:cubicBezTo>
                  <a:cubicBezTo>
                    <a:pt x="32507" y="109015"/>
                    <a:pt x="39703" y="97861"/>
                    <a:pt x="48338" y="87247"/>
                  </a:cubicBezTo>
                  <a:cubicBezTo>
                    <a:pt x="53734" y="80052"/>
                    <a:pt x="59671" y="73216"/>
                    <a:pt x="66327" y="66560"/>
                  </a:cubicBezTo>
                  <a:cubicBezTo>
                    <a:pt x="110760" y="22127"/>
                    <a:pt x="168685" y="0"/>
                    <a:pt x="226971" y="0"/>
                  </a:cubicBezTo>
                  <a:cubicBezTo>
                    <a:pt x="285256" y="0"/>
                    <a:pt x="343181" y="22127"/>
                    <a:pt x="387434" y="66560"/>
                  </a:cubicBezTo>
                  <a:lnTo>
                    <a:pt x="920994" y="600120"/>
                  </a:lnTo>
                  <a:lnTo>
                    <a:pt x="2047298" y="1726244"/>
                  </a:lnTo>
                  <a:lnTo>
                    <a:pt x="4425471" y="4104417"/>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25">
              <a:extLst>
                <a:ext uri="{FF2B5EF4-FFF2-40B4-BE49-F238E27FC236}">
                  <a16:creationId xmlns:a16="http://schemas.microsoft.com/office/drawing/2014/main" id="{9FB74CCB-0493-360D-21F2-DBAE55C05011}"/>
                </a:ext>
              </a:extLst>
            </p:cNvPr>
            <p:cNvSpPr/>
            <p:nvPr/>
          </p:nvSpPr>
          <p:spPr>
            <a:xfrm flipH="1">
              <a:off x="6158063" y="5370316"/>
              <a:ext cx="1594877" cy="1544732"/>
            </a:xfrm>
            <a:custGeom>
              <a:avLst/>
              <a:gdLst>
                <a:gd name="connsiteX0" fmla="*/ 1594878 w 1594877"/>
                <a:gd name="connsiteY0" fmla="*/ 1544733 h 1544732"/>
                <a:gd name="connsiteX1" fmla="*/ 1494678 w 1594877"/>
                <a:gd name="connsiteY1" fmla="*/ 1544733 h 1544732"/>
                <a:gd name="connsiteX2" fmla="*/ 10389 w 1594877"/>
                <a:gd name="connsiteY2" fmla="*/ 60444 h 1544732"/>
                <a:gd name="connsiteX3" fmla="*/ 10389 w 1594877"/>
                <a:gd name="connsiteY3" fmla="*/ 10433 h 1544732"/>
                <a:gd name="connsiteX4" fmla="*/ 35394 w 1594877"/>
                <a:gd name="connsiteY4" fmla="*/ 0 h 1544732"/>
                <a:gd name="connsiteX5" fmla="*/ 60399 w 1594877"/>
                <a:gd name="connsiteY5" fmla="*/ 10433 h 1544732"/>
                <a:gd name="connsiteX6" fmla="*/ 358120 w 1594877"/>
                <a:gd name="connsiteY6" fmla="*/ 308155 h 1544732"/>
                <a:gd name="connsiteX7" fmla="*/ 1594878 w 1594877"/>
                <a:gd name="connsiteY7" fmla="*/ 1544733 h 154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77" h="1544732">
                  <a:moveTo>
                    <a:pt x="1594878" y="1544733"/>
                  </a:moveTo>
                  <a:lnTo>
                    <a:pt x="1494678" y="1544733"/>
                  </a:lnTo>
                  <a:lnTo>
                    <a:pt x="10389" y="60444"/>
                  </a:lnTo>
                  <a:cubicBezTo>
                    <a:pt x="-3463" y="46592"/>
                    <a:pt x="-3463" y="24286"/>
                    <a:pt x="10389" y="10433"/>
                  </a:cubicBezTo>
                  <a:cubicBezTo>
                    <a:pt x="17225" y="3598"/>
                    <a:pt x="26399" y="0"/>
                    <a:pt x="35394" y="0"/>
                  </a:cubicBezTo>
                  <a:cubicBezTo>
                    <a:pt x="44388" y="0"/>
                    <a:pt x="53563" y="3598"/>
                    <a:pt x="60399" y="10433"/>
                  </a:cubicBezTo>
                  <a:lnTo>
                    <a:pt x="358120" y="308155"/>
                  </a:lnTo>
                  <a:lnTo>
                    <a:pt x="1594878" y="1544733"/>
                  </a:ln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26">
              <a:extLst>
                <a:ext uri="{FF2B5EF4-FFF2-40B4-BE49-F238E27FC236}">
                  <a16:creationId xmlns:a16="http://schemas.microsoft.com/office/drawing/2014/main" id="{7C65DE81-5BDA-2EF4-2236-2DF8D40CEFC8}"/>
                </a:ext>
              </a:extLst>
            </p:cNvPr>
            <p:cNvSpPr/>
            <p:nvPr/>
          </p:nvSpPr>
          <p:spPr>
            <a:xfrm flipH="1">
              <a:off x="11221664" y="4466898"/>
              <a:ext cx="959903" cy="1033434"/>
            </a:xfrm>
            <a:custGeom>
              <a:avLst/>
              <a:gdLst>
                <a:gd name="connsiteX0" fmla="*/ 944793 w 959903"/>
                <a:gd name="connsiteY0" fmla="*/ 1018189 h 1033434"/>
                <a:gd name="connsiteX1" fmla="*/ 871397 w 959903"/>
                <a:gd name="connsiteY1" fmla="*/ 1018189 h 1033434"/>
                <a:gd name="connsiteX2" fmla="*/ 0 w 959903"/>
                <a:gd name="connsiteY2" fmla="*/ 146792 h 1033434"/>
                <a:gd name="connsiteX3" fmla="*/ 0 w 959903"/>
                <a:gd name="connsiteY3" fmla="*/ 0 h 1033434"/>
                <a:gd name="connsiteX4" fmla="*/ 944793 w 959903"/>
                <a:gd name="connsiteY4" fmla="*/ 944793 h 1033434"/>
                <a:gd name="connsiteX5" fmla="*/ 944793 w 959903"/>
                <a:gd name="connsiteY5" fmla="*/ 1018189 h 103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9903" h="1033434">
                  <a:moveTo>
                    <a:pt x="944793" y="1018189"/>
                  </a:moveTo>
                  <a:cubicBezTo>
                    <a:pt x="924465" y="1038517"/>
                    <a:pt x="891545" y="1038517"/>
                    <a:pt x="871397" y="1018189"/>
                  </a:cubicBezTo>
                  <a:lnTo>
                    <a:pt x="0" y="146792"/>
                  </a:lnTo>
                  <a:lnTo>
                    <a:pt x="0" y="0"/>
                  </a:lnTo>
                  <a:lnTo>
                    <a:pt x="944793" y="944793"/>
                  </a:lnTo>
                  <a:cubicBezTo>
                    <a:pt x="964941" y="965121"/>
                    <a:pt x="964941" y="997861"/>
                    <a:pt x="944793" y="101818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27">
              <a:extLst>
                <a:ext uri="{FF2B5EF4-FFF2-40B4-BE49-F238E27FC236}">
                  <a16:creationId xmlns:a16="http://schemas.microsoft.com/office/drawing/2014/main" id="{6306B905-10E3-B94C-DEF1-E3D639005AFB}"/>
                </a:ext>
              </a:extLst>
            </p:cNvPr>
            <p:cNvSpPr/>
            <p:nvPr/>
          </p:nvSpPr>
          <p:spPr>
            <a:xfrm flipH="1">
              <a:off x="6554229" y="1253172"/>
              <a:ext cx="701489" cy="701489"/>
            </a:xfrm>
            <a:custGeom>
              <a:avLst/>
              <a:gdLst>
                <a:gd name="connsiteX0" fmla="*/ 694339 w 701489"/>
                <a:gd name="connsiteY0" fmla="*/ 694338 h 701489"/>
                <a:gd name="connsiteX1" fmla="*/ 694339 w 701489"/>
                <a:gd name="connsiteY1" fmla="*/ 694338 h 701489"/>
                <a:gd name="connsiteX2" fmla="*/ 659799 w 701489"/>
                <a:gd name="connsiteY2" fmla="*/ 694338 h 701489"/>
                <a:gd name="connsiteX3" fmla="*/ 7151 w 701489"/>
                <a:gd name="connsiteY3" fmla="*/ 41690 h 701489"/>
                <a:gd name="connsiteX4" fmla="*/ 7151 w 701489"/>
                <a:gd name="connsiteY4" fmla="*/ 7151 h 701489"/>
                <a:gd name="connsiteX5" fmla="*/ 7151 w 701489"/>
                <a:gd name="connsiteY5" fmla="*/ 7151 h 701489"/>
                <a:gd name="connsiteX6" fmla="*/ 41690 w 701489"/>
                <a:gd name="connsiteY6" fmla="*/ 7151 h 701489"/>
                <a:gd name="connsiteX7" fmla="*/ 694339 w 701489"/>
                <a:gd name="connsiteY7" fmla="*/ 659799 h 701489"/>
                <a:gd name="connsiteX8" fmla="*/ 694339 w 701489"/>
                <a:gd name="connsiteY8" fmla="*/ 694338 h 70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489" h="701489">
                  <a:moveTo>
                    <a:pt x="694339" y="694338"/>
                  </a:moveTo>
                  <a:lnTo>
                    <a:pt x="694339" y="694338"/>
                  </a:lnTo>
                  <a:cubicBezTo>
                    <a:pt x="684804" y="703873"/>
                    <a:pt x="669333" y="703873"/>
                    <a:pt x="659799" y="694338"/>
                  </a:cubicBezTo>
                  <a:lnTo>
                    <a:pt x="7151" y="41690"/>
                  </a:lnTo>
                  <a:cubicBezTo>
                    <a:pt x="-2384" y="32156"/>
                    <a:pt x="-2384" y="16685"/>
                    <a:pt x="7151" y="7151"/>
                  </a:cubicBezTo>
                  <a:lnTo>
                    <a:pt x="7151" y="7151"/>
                  </a:lnTo>
                  <a:cubicBezTo>
                    <a:pt x="16685" y="-2384"/>
                    <a:pt x="32156" y="-2384"/>
                    <a:pt x="41690" y="7151"/>
                  </a:cubicBezTo>
                  <a:lnTo>
                    <a:pt x="694339" y="659799"/>
                  </a:lnTo>
                  <a:cubicBezTo>
                    <a:pt x="703873" y="669333"/>
                    <a:pt x="703873" y="684804"/>
                    <a:pt x="694339" y="69433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28">
              <a:extLst>
                <a:ext uri="{FF2B5EF4-FFF2-40B4-BE49-F238E27FC236}">
                  <a16:creationId xmlns:a16="http://schemas.microsoft.com/office/drawing/2014/main" id="{449B93B0-089A-8978-DB97-F515E683C646}"/>
                </a:ext>
              </a:extLst>
            </p:cNvPr>
            <p:cNvSpPr/>
            <p:nvPr/>
          </p:nvSpPr>
          <p:spPr>
            <a:xfrm flipH="1">
              <a:off x="9338059" y="5464445"/>
              <a:ext cx="249779" cy="249779"/>
            </a:xfrm>
            <a:custGeom>
              <a:avLst/>
              <a:gdLst>
                <a:gd name="connsiteX0" fmla="*/ 242629 w 249779"/>
                <a:gd name="connsiteY0" fmla="*/ 242629 h 249779"/>
                <a:gd name="connsiteX1" fmla="*/ 242629 w 249779"/>
                <a:gd name="connsiteY1" fmla="*/ 242629 h 249779"/>
                <a:gd name="connsiteX2" fmla="*/ 208090 w 249779"/>
                <a:gd name="connsiteY2" fmla="*/ 242629 h 249779"/>
                <a:gd name="connsiteX3" fmla="*/ 7151 w 249779"/>
                <a:gd name="connsiteY3" fmla="*/ 41690 h 249779"/>
                <a:gd name="connsiteX4" fmla="*/ 7151 w 249779"/>
                <a:gd name="connsiteY4" fmla="*/ 7151 h 249779"/>
                <a:gd name="connsiteX5" fmla="*/ 7151 w 249779"/>
                <a:gd name="connsiteY5" fmla="*/ 7151 h 249779"/>
                <a:gd name="connsiteX6" fmla="*/ 41690 w 249779"/>
                <a:gd name="connsiteY6" fmla="*/ 7151 h 249779"/>
                <a:gd name="connsiteX7" fmla="*/ 242629 w 249779"/>
                <a:gd name="connsiteY7" fmla="*/ 208090 h 249779"/>
                <a:gd name="connsiteX8" fmla="*/ 242629 w 249779"/>
                <a:gd name="connsiteY8" fmla="*/ 242629 h 249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79" h="249779">
                  <a:moveTo>
                    <a:pt x="242629" y="242629"/>
                  </a:moveTo>
                  <a:lnTo>
                    <a:pt x="242629" y="242629"/>
                  </a:lnTo>
                  <a:cubicBezTo>
                    <a:pt x="233095" y="252164"/>
                    <a:pt x="217624" y="252164"/>
                    <a:pt x="208090" y="242629"/>
                  </a:cubicBezTo>
                  <a:lnTo>
                    <a:pt x="7151" y="41690"/>
                  </a:lnTo>
                  <a:cubicBezTo>
                    <a:pt x="-2384" y="32155"/>
                    <a:pt x="-2384" y="16685"/>
                    <a:pt x="7151" y="7151"/>
                  </a:cubicBezTo>
                  <a:lnTo>
                    <a:pt x="7151" y="7151"/>
                  </a:lnTo>
                  <a:cubicBezTo>
                    <a:pt x="16685" y="-2384"/>
                    <a:pt x="32156" y="-2384"/>
                    <a:pt x="41690" y="7151"/>
                  </a:cubicBezTo>
                  <a:lnTo>
                    <a:pt x="242629" y="208090"/>
                  </a:lnTo>
                  <a:cubicBezTo>
                    <a:pt x="252164" y="217624"/>
                    <a:pt x="252164" y="233095"/>
                    <a:pt x="242629"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29">
              <a:extLst>
                <a:ext uri="{FF2B5EF4-FFF2-40B4-BE49-F238E27FC236}">
                  <a16:creationId xmlns:a16="http://schemas.microsoft.com/office/drawing/2014/main" id="{87CD9414-5142-13EF-E3CD-4645DAD3816E}"/>
                </a:ext>
              </a:extLst>
            </p:cNvPr>
            <p:cNvSpPr/>
            <p:nvPr/>
          </p:nvSpPr>
          <p:spPr>
            <a:xfrm flipH="1">
              <a:off x="4852676" y="4977522"/>
              <a:ext cx="867978" cy="867979"/>
            </a:xfrm>
            <a:custGeom>
              <a:avLst/>
              <a:gdLst>
                <a:gd name="connsiteX0" fmla="*/ 855836 w 867978"/>
                <a:gd name="connsiteY0" fmla="*/ 855836 h 867979"/>
                <a:gd name="connsiteX1" fmla="*/ 855836 w 867978"/>
                <a:gd name="connsiteY1" fmla="*/ 855836 h 867979"/>
                <a:gd name="connsiteX2" fmla="*/ 797551 w 867978"/>
                <a:gd name="connsiteY2" fmla="*/ 855836 h 867979"/>
                <a:gd name="connsiteX3" fmla="*/ 12143 w 867978"/>
                <a:gd name="connsiteY3" fmla="*/ 70427 h 867979"/>
                <a:gd name="connsiteX4" fmla="*/ 12143 w 867978"/>
                <a:gd name="connsiteY4" fmla="*/ 12143 h 867979"/>
                <a:gd name="connsiteX5" fmla="*/ 12143 w 867978"/>
                <a:gd name="connsiteY5" fmla="*/ 12143 h 867979"/>
                <a:gd name="connsiteX6" fmla="*/ 70427 w 867978"/>
                <a:gd name="connsiteY6" fmla="*/ 12143 h 867979"/>
                <a:gd name="connsiteX7" fmla="*/ 855836 w 867978"/>
                <a:gd name="connsiteY7" fmla="*/ 797551 h 867979"/>
                <a:gd name="connsiteX8" fmla="*/ 855836 w 867978"/>
                <a:gd name="connsiteY8" fmla="*/ 855836 h 86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978" h="867979">
                  <a:moveTo>
                    <a:pt x="855836" y="855836"/>
                  </a:moveTo>
                  <a:lnTo>
                    <a:pt x="855836" y="855836"/>
                  </a:lnTo>
                  <a:cubicBezTo>
                    <a:pt x="839646" y="872027"/>
                    <a:pt x="813561" y="872027"/>
                    <a:pt x="797551" y="855836"/>
                  </a:cubicBezTo>
                  <a:lnTo>
                    <a:pt x="12143" y="70427"/>
                  </a:lnTo>
                  <a:cubicBezTo>
                    <a:pt x="-4048" y="54237"/>
                    <a:pt x="-4048" y="28153"/>
                    <a:pt x="12143" y="12143"/>
                  </a:cubicBezTo>
                  <a:lnTo>
                    <a:pt x="12143" y="12143"/>
                  </a:lnTo>
                  <a:cubicBezTo>
                    <a:pt x="28333" y="-4048"/>
                    <a:pt x="54417" y="-4048"/>
                    <a:pt x="70427" y="12143"/>
                  </a:cubicBezTo>
                  <a:lnTo>
                    <a:pt x="855836" y="797551"/>
                  </a:lnTo>
                  <a:cubicBezTo>
                    <a:pt x="872026" y="813742"/>
                    <a:pt x="872026" y="839826"/>
                    <a:pt x="855836" y="85583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30">
              <a:extLst>
                <a:ext uri="{FF2B5EF4-FFF2-40B4-BE49-F238E27FC236}">
                  <a16:creationId xmlns:a16="http://schemas.microsoft.com/office/drawing/2014/main" id="{FE0CDECF-8DDB-B236-F2E9-42EC0D031DFC}"/>
                </a:ext>
              </a:extLst>
            </p:cNvPr>
            <p:cNvSpPr/>
            <p:nvPr/>
          </p:nvSpPr>
          <p:spPr>
            <a:xfrm flipH="1">
              <a:off x="8981872" y="456610"/>
              <a:ext cx="249780" cy="249780"/>
            </a:xfrm>
            <a:custGeom>
              <a:avLst/>
              <a:gdLst>
                <a:gd name="connsiteX0" fmla="*/ 242630 w 249780"/>
                <a:gd name="connsiteY0" fmla="*/ 242629 h 249780"/>
                <a:gd name="connsiteX1" fmla="*/ 242630 w 249780"/>
                <a:gd name="connsiteY1" fmla="*/ 242629 h 249780"/>
                <a:gd name="connsiteX2" fmla="*/ 208090 w 249780"/>
                <a:gd name="connsiteY2" fmla="*/ 242629 h 249780"/>
                <a:gd name="connsiteX3" fmla="*/ 7151 w 249780"/>
                <a:gd name="connsiteY3" fmla="*/ 41690 h 249780"/>
                <a:gd name="connsiteX4" fmla="*/ 7151 w 249780"/>
                <a:gd name="connsiteY4" fmla="*/ 7151 h 249780"/>
                <a:gd name="connsiteX5" fmla="*/ 7151 w 249780"/>
                <a:gd name="connsiteY5" fmla="*/ 7151 h 249780"/>
                <a:gd name="connsiteX6" fmla="*/ 41690 w 249780"/>
                <a:gd name="connsiteY6" fmla="*/ 7151 h 249780"/>
                <a:gd name="connsiteX7" fmla="*/ 242630 w 249780"/>
                <a:gd name="connsiteY7" fmla="*/ 208090 h 249780"/>
                <a:gd name="connsiteX8" fmla="*/ 242630 w 249780"/>
                <a:gd name="connsiteY8" fmla="*/ 242629 h 249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80" h="249780">
                  <a:moveTo>
                    <a:pt x="242630" y="242629"/>
                  </a:moveTo>
                  <a:lnTo>
                    <a:pt x="242630" y="242629"/>
                  </a:lnTo>
                  <a:cubicBezTo>
                    <a:pt x="233095" y="252164"/>
                    <a:pt x="217625" y="252164"/>
                    <a:pt x="208090" y="242629"/>
                  </a:cubicBezTo>
                  <a:lnTo>
                    <a:pt x="7151" y="41690"/>
                  </a:lnTo>
                  <a:cubicBezTo>
                    <a:pt x="-2384" y="32156"/>
                    <a:pt x="-2384" y="16685"/>
                    <a:pt x="7151" y="7151"/>
                  </a:cubicBezTo>
                  <a:lnTo>
                    <a:pt x="7151" y="7151"/>
                  </a:lnTo>
                  <a:cubicBezTo>
                    <a:pt x="16685" y="-2384"/>
                    <a:pt x="32156" y="-2384"/>
                    <a:pt x="41690" y="7151"/>
                  </a:cubicBezTo>
                  <a:lnTo>
                    <a:pt x="242630" y="208090"/>
                  </a:lnTo>
                  <a:cubicBezTo>
                    <a:pt x="252164" y="217624"/>
                    <a:pt x="252164" y="233095"/>
                    <a:pt x="242630"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31">
              <a:extLst>
                <a:ext uri="{FF2B5EF4-FFF2-40B4-BE49-F238E27FC236}">
                  <a16:creationId xmlns:a16="http://schemas.microsoft.com/office/drawing/2014/main" id="{E6642546-E8B5-E01E-8102-4B8BBF87CF43}"/>
                </a:ext>
              </a:extLst>
            </p:cNvPr>
            <p:cNvSpPr/>
            <p:nvPr/>
          </p:nvSpPr>
          <p:spPr>
            <a:xfrm flipH="1">
              <a:off x="11561345" y="648510"/>
              <a:ext cx="620222" cy="662182"/>
            </a:xfrm>
            <a:custGeom>
              <a:avLst/>
              <a:gdLst>
                <a:gd name="connsiteX0" fmla="*/ 611453 w 620222"/>
                <a:gd name="connsiteY0" fmla="*/ 653548 h 662182"/>
                <a:gd name="connsiteX1" fmla="*/ 569538 w 620222"/>
                <a:gd name="connsiteY1" fmla="*/ 653548 h 662182"/>
                <a:gd name="connsiteX2" fmla="*/ 0 w 620222"/>
                <a:gd name="connsiteY2" fmla="*/ 83830 h 662182"/>
                <a:gd name="connsiteX3" fmla="*/ 0 w 620222"/>
                <a:gd name="connsiteY3" fmla="*/ 0 h 662182"/>
                <a:gd name="connsiteX4" fmla="*/ 611453 w 620222"/>
                <a:gd name="connsiteY4" fmla="*/ 611453 h 662182"/>
                <a:gd name="connsiteX5" fmla="*/ 611453 w 620222"/>
                <a:gd name="connsiteY5" fmla="*/ 653548 h 66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0222" h="662182">
                  <a:moveTo>
                    <a:pt x="611453" y="653548"/>
                  </a:moveTo>
                  <a:cubicBezTo>
                    <a:pt x="599940" y="665061"/>
                    <a:pt x="581051" y="665061"/>
                    <a:pt x="569538" y="653548"/>
                  </a:cubicBezTo>
                  <a:lnTo>
                    <a:pt x="0" y="83830"/>
                  </a:lnTo>
                  <a:lnTo>
                    <a:pt x="0" y="0"/>
                  </a:lnTo>
                  <a:lnTo>
                    <a:pt x="611453" y="611453"/>
                  </a:lnTo>
                  <a:cubicBezTo>
                    <a:pt x="623146" y="623146"/>
                    <a:pt x="623146" y="641855"/>
                    <a:pt x="611453" y="65354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32">
              <a:extLst>
                <a:ext uri="{FF2B5EF4-FFF2-40B4-BE49-F238E27FC236}">
                  <a16:creationId xmlns:a16="http://schemas.microsoft.com/office/drawing/2014/main" id="{7F0A24E1-B2CF-AA3D-450F-7AA0BD3F0CF9}"/>
                </a:ext>
              </a:extLst>
            </p:cNvPr>
            <p:cNvSpPr/>
            <p:nvPr/>
          </p:nvSpPr>
          <p:spPr>
            <a:xfrm flipH="1">
              <a:off x="7172474" y="5268138"/>
              <a:ext cx="1863290" cy="1646911"/>
            </a:xfrm>
            <a:custGeom>
              <a:avLst/>
              <a:gdLst>
                <a:gd name="connsiteX0" fmla="*/ 1863291 w 1863290"/>
                <a:gd name="connsiteY0" fmla="*/ 1646911 h 1646911"/>
                <a:gd name="connsiteX1" fmla="*/ 1430291 w 1863290"/>
                <a:gd name="connsiteY1" fmla="*/ 1646911 h 1646911"/>
                <a:gd name="connsiteX2" fmla="*/ 44942 w 1863290"/>
                <a:gd name="connsiteY2" fmla="*/ 261563 h 1646911"/>
                <a:gd name="connsiteX3" fmla="*/ 28932 w 1863290"/>
                <a:gd name="connsiteY3" fmla="*/ 63861 h 1646911"/>
                <a:gd name="connsiteX4" fmla="*/ 44942 w 1863290"/>
                <a:gd name="connsiteY4" fmla="*/ 44973 h 1646911"/>
                <a:gd name="connsiteX5" fmla="*/ 153058 w 1863290"/>
                <a:gd name="connsiteY5" fmla="*/ 0 h 1646911"/>
                <a:gd name="connsiteX6" fmla="*/ 261352 w 1863290"/>
                <a:gd name="connsiteY6" fmla="*/ 44973 h 1646911"/>
                <a:gd name="connsiteX7" fmla="*/ 1209563 w 1863290"/>
                <a:gd name="connsiteY7" fmla="*/ 993184 h 1646911"/>
                <a:gd name="connsiteX8" fmla="*/ 1863291 w 1863290"/>
                <a:gd name="connsiteY8" fmla="*/ 1646911 h 164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290" h="1646911">
                  <a:moveTo>
                    <a:pt x="1863291" y="1646911"/>
                  </a:moveTo>
                  <a:lnTo>
                    <a:pt x="1430291" y="1646911"/>
                  </a:lnTo>
                  <a:lnTo>
                    <a:pt x="44942" y="261563"/>
                  </a:lnTo>
                  <a:cubicBezTo>
                    <a:pt x="-9025" y="207596"/>
                    <a:pt x="-14422" y="123586"/>
                    <a:pt x="28932" y="63861"/>
                  </a:cubicBezTo>
                  <a:cubicBezTo>
                    <a:pt x="33609" y="57206"/>
                    <a:pt x="39006" y="50909"/>
                    <a:pt x="44942" y="44973"/>
                  </a:cubicBezTo>
                  <a:cubicBezTo>
                    <a:pt x="74804" y="15111"/>
                    <a:pt x="114021" y="0"/>
                    <a:pt x="153058" y="0"/>
                  </a:cubicBezTo>
                  <a:cubicBezTo>
                    <a:pt x="192094" y="0"/>
                    <a:pt x="231490" y="15111"/>
                    <a:pt x="261352" y="44973"/>
                  </a:cubicBezTo>
                  <a:lnTo>
                    <a:pt x="1209563" y="993184"/>
                  </a:lnTo>
                  <a:lnTo>
                    <a:pt x="1863291" y="1646911"/>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23" name="Freeform: Shape 33">
              <a:extLst>
                <a:ext uri="{FF2B5EF4-FFF2-40B4-BE49-F238E27FC236}">
                  <a16:creationId xmlns:a16="http://schemas.microsoft.com/office/drawing/2014/main" id="{70E75DE8-AEF2-633C-2CBC-DFF8F0F7FE58}"/>
                </a:ext>
              </a:extLst>
            </p:cNvPr>
            <p:cNvSpPr/>
            <p:nvPr/>
          </p:nvSpPr>
          <p:spPr>
            <a:xfrm rot="802202" flipH="1">
              <a:off x="7592049" y="1923832"/>
              <a:ext cx="541475" cy="541475"/>
            </a:xfrm>
            <a:custGeom>
              <a:avLst/>
              <a:gdLst>
                <a:gd name="connsiteX0" fmla="*/ 541475 w 541475"/>
                <a:gd name="connsiteY0" fmla="*/ 270737 h 541475"/>
                <a:gd name="connsiteX1" fmla="*/ 270738 w 541475"/>
                <a:gd name="connsiteY1" fmla="*/ 541475 h 541475"/>
                <a:gd name="connsiteX2" fmla="*/ 0 w 541475"/>
                <a:gd name="connsiteY2" fmla="*/ 270737 h 541475"/>
                <a:gd name="connsiteX3" fmla="*/ 270738 w 541475"/>
                <a:gd name="connsiteY3" fmla="*/ 0 h 541475"/>
                <a:gd name="connsiteX4" fmla="*/ 541475 w 541475"/>
                <a:gd name="connsiteY4" fmla="*/ 270737 h 54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475" h="541475">
                  <a:moveTo>
                    <a:pt x="541475" y="270737"/>
                  </a:moveTo>
                  <a:cubicBezTo>
                    <a:pt x="541475" y="420262"/>
                    <a:pt x="420262" y="541475"/>
                    <a:pt x="270738" y="541475"/>
                  </a:cubicBezTo>
                  <a:cubicBezTo>
                    <a:pt x="121213" y="541475"/>
                    <a:pt x="0" y="420262"/>
                    <a:pt x="0" y="270737"/>
                  </a:cubicBezTo>
                  <a:cubicBezTo>
                    <a:pt x="0" y="121213"/>
                    <a:pt x="121213" y="0"/>
                    <a:pt x="270738" y="0"/>
                  </a:cubicBezTo>
                  <a:cubicBezTo>
                    <a:pt x="420262" y="0"/>
                    <a:pt x="541475" y="121213"/>
                    <a:pt x="541475" y="27073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34">
              <a:extLst>
                <a:ext uri="{FF2B5EF4-FFF2-40B4-BE49-F238E27FC236}">
                  <a16:creationId xmlns:a16="http://schemas.microsoft.com/office/drawing/2014/main" id="{2249F4FC-6490-CB8A-C13A-3F06DBD10C2C}"/>
                </a:ext>
              </a:extLst>
            </p:cNvPr>
            <p:cNvSpPr/>
            <p:nvPr/>
          </p:nvSpPr>
          <p:spPr>
            <a:xfrm flipH="1">
              <a:off x="10427440" y="1122166"/>
              <a:ext cx="751948" cy="751948"/>
            </a:xfrm>
            <a:custGeom>
              <a:avLst/>
              <a:gdLst>
                <a:gd name="connsiteX0" fmla="*/ 751949 w 751948"/>
                <a:gd name="connsiteY0" fmla="*/ 375974 h 751948"/>
                <a:gd name="connsiteX1" fmla="*/ 375974 w 751948"/>
                <a:gd name="connsiteY1" fmla="*/ 751949 h 751948"/>
                <a:gd name="connsiteX2" fmla="*/ 0 w 751948"/>
                <a:gd name="connsiteY2" fmla="*/ 375974 h 751948"/>
                <a:gd name="connsiteX3" fmla="*/ 375974 w 751948"/>
                <a:gd name="connsiteY3" fmla="*/ 0 h 751948"/>
                <a:gd name="connsiteX4" fmla="*/ 751949 w 751948"/>
                <a:gd name="connsiteY4" fmla="*/ 375974 h 751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948" h="751948">
                  <a:moveTo>
                    <a:pt x="751949" y="375974"/>
                  </a:moveTo>
                  <a:cubicBezTo>
                    <a:pt x="751949" y="583619"/>
                    <a:pt x="583619" y="751949"/>
                    <a:pt x="375974" y="751949"/>
                  </a:cubicBezTo>
                  <a:cubicBezTo>
                    <a:pt x="168329" y="751949"/>
                    <a:pt x="0" y="583619"/>
                    <a:pt x="0" y="375974"/>
                  </a:cubicBezTo>
                  <a:cubicBezTo>
                    <a:pt x="0" y="168330"/>
                    <a:pt x="168329" y="0"/>
                    <a:pt x="375974" y="0"/>
                  </a:cubicBezTo>
                  <a:cubicBezTo>
                    <a:pt x="583619" y="0"/>
                    <a:pt x="751949" y="168329"/>
                    <a:pt x="751949" y="375974"/>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35">
              <a:extLst>
                <a:ext uri="{FF2B5EF4-FFF2-40B4-BE49-F238E27FC236}">
                  <a16:creationId xmlns:a16="http://schemas.microsoft.com/office/drawing/2014/main" id="{129FE6D9-BFCD-64DE-89BE-C73A1B5B2C8C}"/>
                </a:ext>
              </a:extLst>
            </p:cNvPr>
            <p:cNvSpPr/>
            <p:nvPr/>
          </p:nvSpPr>
          <p:spPr>
            <a:xfrm flipH="1">
              <a:off x="8880548" y="3064460"/>
              <a:ext cx="2244333" cy="2244332"/>
            </a:xfrm>
            <a:custGeom>
              <a:avLst/>
              <a:gdLst>
                <a:gd name="connsiteX0" fmla="*/ 1121987 w 2244333"/>
                <a:gd name="connsiteY0" fmla="*/ 0 h 2244332"/>
                <a:gd name="connsiteX1" fmla="*/ 1076474 w 2244333"/>
                <a:gd name="connsiteY1" fmla="*/ 899 h 2244332"/>
                <a:gd name="connsiteX2" fmla="*/ 1076474 w 2244333"/>
                <a:gd name="connsiteY2" fmla="*/ 899 h 2244332"/>
                <a:gd name="connsiteX3" fmla="*/ 610733 w 2244333"/>
                <a:gd name="connsiteY3" fmla="*/ 122866 h 2244332"/>
                <a:gd name="connsiteX4" fmla="*/ 325605 w 2244333"/>
                <a:gd name="connsiteY4" fmla="*/ 331721 h 2244332"/>
                <a:gd name="connsiteX5" fmla="*/ 257425 w 2244333"/>
                <a:gd name="connsiteY5" fmla="*/ 406916 h 2244332"/>
                <a:gd name="connsiteX6" fmla="*/ 148231 w 2244333"/>
                <a:gd name="connsiteY6" fmla="*/ 564321 h 2244332"/>
                <a:gd name="connsiteX7" fmla="*/ 0 w 2244333"/>
                <a:gd name="connsiteY7" fmla="*/ 1122166 h 2244332"/>
                <a:gd name="connsiteX8" fmla="*/ 1122167 w 2244333"/>
                <a:gd name="connsiteY8" fmla="*/ 2244333 h 2244332"/>
                <a:gd name="connsiteX9" fmla="*/ 1621547 w 2244333"/>
                <a:gd name="connsiteY9" fmla="*/ 2127223 h 2244332"/>
                <a:gd name="connsiteX10" fmla="*/ 1621727 w 2244333"/>
                <a:gd name="connsiteY10" fmla="*/ 2127223 h 2244332"/>
                <a:gd name="connsiteX11" fmla="*/ 1837417 w 2244333"/>
                <a:gd name="connsiteY11" fmla="*/ 1986907 h 2244332"/>
                <a:gd name="connsiteX12" fmla="*/ 1931141 w 2244333"/>
                <a:gd name="connsiteY12" fmla="*/ 1900020 h 2244332"/>
                <a:gd name="connsiteX13" fmla="*/ 2121467 w 2244333"/>
                <a:gd name="connsiteY13" fmla="*/ 1633600 h 2244332"/>
                <a:gd name="connsiteX14" fmla="*/ 2243434 w 2244333"/>
                <a:gd name="connsiteY14" fmla="*/ 1167679 h 2244332"/>
                <a:gd name="connsiteX15" fmla="*/ 2244333 w 2244333"/>
                <a:gd name="connsiteY15" fmla="*/ 1122166 h 2244332"/>
                <a:gd name="connsiteX16" fmla="*/ 1122167 w 2244333"/>
                <a:gd name="connsiteY16" fmla="*/ 0 h 2244332"/>
                <a:gd name="connsiteX17" fmla="*/ 2152768 w 2244333"/>
                <a:gd name="connsiteY17" fmla="*/ 1122166 h 2244332"/>
                <a:gd name="connsiteX18" fmla="*/ 2052928 w 2244333"/>
                <a:gd name="connsiteY18" fmla="*/ 1565240 h 2244332"/>
                <a:gd name="connsiteX19" fmla="*/ 1853787 w 2244333"/>
                <a:gd name="connsiteY19" fmla="*/ 1848031 h 2244332"/>
                <a:gd name="connsiteX20" fmla="*/ 1772296 w 2244333"/>
                <a:gd name="connsiteY20" fmla="*/ 1921966 h 2244332"/>
                <a:gd name="connsiteX21" fmla="*/ 1561823 w 2244333"/>
                <a:gd name="connsiteY21" fmla="*/ 2054727 h 2244332"/>
                <a:gd name="connsiteX22" fmla="*/ 1121987 w 2244333"/>
                <a:gd name="connsiteY22" fmla="*/ 2152948 h 2244332"/>
                <a:gd name="connsiteX23" fmla="*/ 91205 w 2244333"/>
                <a:gd name="connsiteY23" fmla="*/ 1122166 h 2244332"/>
                <a:gd name="connsiteX24" fmla="*/ 216950 w 2244333"/>
                <a:gd name="connsiteY24" fmla="*/ 628723 h 2244332"/>
                <a:gd name="connsiteX25" fmla="*/ 322187 w 2244333"/>
                <a:gd name="connsiteY25" fmla="*/ 471857 h 2244332"/>
                <a:gd name="connsiteX26" fmla="*/ 390186 w 2244333"/>
                <a:gd name="connsiteY26" fmla="*/ 396482 h 2244332"/>
                <a:gd name="connsiteX27" fmla="*/ 678913 w 2244333"/>
                <a:gd name="connsiteY27" fmla="*/ 191225 h 2244332"/>
                <a:gd name="connsiteX28" fmla="*/ 1121987 w 2244333"/>
                <a:gd name="connsiteY28" fmla="*/ 91385 h 2244332"/>
                <a:gd name="connsiteX29" fmla="*/ 1167859 w 2244333"/>
                <a:gd name="connsiteY29" fmla="*/ 92464 h 2244332"/>
                <a:gd name="connsiteX30" fmla="*/ 2151689 w 2244333"/>
                <a:gd name="connsiteY30" fmla="*/ 1076114 h 2244332"/>
                <a:gd name="connsiteX31" fmla="*/ 2151689 w 2244333"/>
                <a:gd name="connsiteY31" fmla="*/ 1076114 h 2244332"/>
                <a:gd name="connsiteX32" fmla="*/ 2152768 w 2244333"/>
                <a:gd name="connsiteY32" fmla="*/ 1122166 h 2244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44333" h="2244332">
                  <a:moveTo>
                    <a:pt x="1121987" y="0"/>
                  </a:moveTo>
                  <a:cubicBezTo>
                    <a:pt x="1106696" y="0"/>
                    <a:pt x="1091585" y="360"/>
                    <a:pt x="1076474" y="899"/>
                  </a:cubicBezTo>
                  <a:lnTo>
                    <a:pt x="1076474" y="899"/>
                  </a:lnTo>
                  <a:cubicBezTo>
                    <a:pt x="909174" y="7555"/>
                    <a:pt x="751409" y="50909"/>
                    <a:pt x="610733" y="122866"/>
                  </a:cubicBezTo>
                  <a:cubicBezTo>
                    <a:pt x="504777" y="177374"/>
                    <a:pt x="408715" y="248071"/>
                    <a:pt x="325605" y="331721"/>
                  </a:cubicBezTo>
                  <a:cubicBezTo>
                    <a:pt x="301859" y="355646"/>
                    <a:pt x="279013" y="380831"/>
                    <a:pt x="257425" y="406916"/>
                  </a:cubicBezTo>
                  <a:cubicBezTo>
                    <a:pt x="216770" y="456026"/>
                    <a:pt x="180252" y="508735"/>
                    <a:pt x="148231" y="564321"/>
                  </a:cubicBezTo>
                  <a:cubicBezTo>
                    <a:pt x="53968" y="728743"/>
                    <a:pt x="0" y="919248"/>
                    <a:pt x="0" y="1122166"/>
                  </a:cubicBezTo>
                  <a:cubicBezTo>
                    <a:pt x="0" y="1741894"/>
                    <a:pt x="502438" y="2244333"/>
                    <a:pt x="1122167" y="2244333"/>
                  </a:cubicBezTo>
                  <a:cubicBezTo>
                    <a:pt x="1301699" y="2244333"/>
                    <a:pt x="1471157" y="2202238"/>
                    <a:pt x="1621547" y="2127223"/>
                  </a:cubicBezTo>
                  <a:lnTo>
                    <a:pt x="1621727" y="2127223"/>
                  </a:lnTo>
                  <a:cubicBezTo>
                    <a:pt x="1699080" y="2088726"/>
                    <a:pt x="1771397" y="2041595"/>
                    <a:pt x="1837417" y="1986907"/>
                  </a:cubicBezTo>
                  <a:cubicBezTo>
                    <a:pt x="1870158" y="1959744"/>
                    <a:pt x="1901459" y="1930781"/>
                    <a:pt x="1931141" y="1900020"/>
                  </a:cubicBezTo>
                  <a:cubicBezTo>
                    <a:pt x="2006696" y="1821407"/>
                    <a:pt x="2071097" y="1731640"/>
                    <a:pt x="2121467" y="1633600"/>
                  </a:cubicBezTo>
                  <a:cubicBezTo>
                    <a:pt x="2193424" y="1492924"/>
                    <a:pt x="2236778" y="1334979"/>
                    <a:pt x="2243434" y="1167679"/>
                  </a:cubicBezTo>
                  <a:cubicBezTo>
                    <a:pt x="2243973" y="1152568"/>
                    <a:pt x="2244333" y="1137457"/>
                    <a:pt x="2244333" y="1122166"/>
                  </a:cubicBezTo>
                  <a:cubicBezTo>
                    <a:pt x="2244333" y="502438"/>
                    <a:pt x="1741895" y="0"/>
                    <a:pt x="1122167" y="0"/>
                  </a:cubicBezTo>
                  <a:close/>
                  <a:moveTo>
                    <a:pt x="2152768" y="1122166"/>
                  </a:moveTo>
                  <a:cubicBezTo>
                    <a:pt x="2152768" y="1280831"/>
                    <a:pt x="2116970" y="1431041"/>
                    <a:pt x="2052928" y="1565240"/>
                  </a:cubicBezTo>
                  <a:cubicBezTo>
                    <a:pt x="2002738" y="1670477"/>
                    <a:pt x="1935099" y="1766000"/>
                    <a:pt x="1853787" y="1848031"/>
                  </a:cubicBezTo>
                  <a:cubicBezTo>
                    <a:pt x="1828063" y="1874115"/>
                    <a:pt x="1800899" y="1898760"/>
                    <a:pt x="1772296" y="1921966"/>
                  </a:cubicBezTo>
                  <a:cubicBezTo>
                    <a:pt x="1708075" y="1974135"/>
                    <a:pt x="1637557" y="2018928"/>
                    <a:pt x="1561823" y="2054727"/>
                  </a:cubicBezTo>
                  <a:cubicBezTo>
                    <a:pt x="1428523" y="2117689"/>
                    <a:pt x="1279392" y="2152948"/>
                    <a:pt x="1121987" y="2152948"/>
                  </a:cubicBezTo>
                  <a:cubicBezTo>
                    <a:pt x="552808" y="2152948"/>
                    <a:pt x="91205" y="1691345"/>
                    <a:pt x="91205" y="1122166"/>
                  </a:cubicBezTo>
                  <a:cubicBezTo>
                    <a:pt x="91205" y="943354"/>
                    <a:pt x="136718" y="775155"/>
                    <a:pt x="216950" y="628723"/>
                  </a:cubicBezTo>
                  <a:cubicBezTo>
                    <a:pt x="247172" y="573136"/>
                    <a:pt x="282610" y="520607"/>
                    <a:pt x="322187" y="471857"/>
                  </a:cubicBezTo>
                  <a:cubicBezTo>
                    <a:pt x="343594" y="445592"/>
                    <a:pt x="366260" y="420408"/>
                    <a:pt x="390186" y="396482"/>
                  </a:cubicBezTo>
                  <a:cubicBezTo>
                    <a:pt x="473296" y="312472"/>
                    <a:pt x="570977" y="242674"/>
                    <a:pt x="678913" y="191225"/>
                  </a:cubicBezTo>
                  <a:cubicBezTo>
                    <a:pt x="813112" y="127184"/>
                    <a:pt x="963322" y="91385"/>
                    <a:pt x="1121987" y="91385"/>
                  </a:cubicBezTo>
                  <a:cubicBezTo>
                    <a:pt x="1137278" y="91385"/>
                    <a:pt x="1152748" y="91745"/>
                    <a:pt x="1167859" y="92464"/>
                  </a:cubicBezTo>
                  <a:cubicBezTo>
                    <a:pt x="1700699" y="115670"/>
                    <a:pt x="2128303" y="543274"/>
                    <a:pt x="2151689" y="1076114"/>
                  </a:cubicBezTo>
                  <a:lnTo>
                    <a:pt x="2151689" y="1076114"/>
                  </a:lnTo>
                  <a:cubicBezTo>
                    <a:pt x="2152408" y="1091585"/>
                    <a:pt x="2152768" y="1106876"/>
                    <a:pt x="2152768" y="112216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36">
              <a:extLst>
                <a:ext uri="{FF2B5EF4-FFF2-40B4-BE49-F238E27FC236}">
                  <a16:creationId xmlns:a16="http://schemas.microsoft.com/office/drawing/2014/main" id="{C2DB5FEE-FF58-036D-7E4E-1E6261434FB6}"/>
                </a:ext>
              </a:extLst>
            </p:cNvPr>
            <p:cNvSpPr/>
            <p:nvPr/>
          </p:nvSpPr>
          <p:spPr>
            <a:xfrm flipH="1">
              <a:off x="9154164" y="3337896"/>
              <a:ext cx="1697461" cy="1697461"/>
            </a:xfrm>
            <a:custGeom>
              <a:avLst/>
              <a:gdLst>
                <a:gd name="connsiteX0" fmla="*/ 1653208 w 1697461"/>
                <a:gd name="connsiteY0" fmla="*/ 577633 h 1697461"/>
                <a:gd name="connsiteX1" fmla="*/ 1653208 w 1697461"/>
                <a:gd name="connsiteY1" fmla="*/ 577633 h 1697461"/>
                <a:gd name="connsiteX2" fmla="*/ 1119828 w 1697461"/>
                <a:gd name="connsiteY2" fmla="*/ 44253 h 1697461"/>
                <a:gd name="connsiteX3" fmla="*/ 848731 w 1697461"/>
                <a:gd name="connsiteY3" fmla="*/ 0 h 1697461"/>
                <a:gd name="connsiteX4" fmla="*/ 544173 w 1697461"/>
                <a:gd name="connsiteY4" fmla="*/ 56306 h 1697461"/>
                <a:gd name="connsiteX5" fmla="*/ 245553 w 1697461"/>
                <a:gd name="connsiteY5" fmla="*/ 251669 h 1697461"/>
                <a:gd name="connsiteX6" fmla="*/ 178453 w 1697461"/>
                <a:gd name="connsiteY6" fmla="*/ 327943 h 1697461"/>
                <a:gd name="connsiteX7" fmla="*/ 81311 w 1697461"/>
                <a:gd name="connsiteY7" fmla="*/ 485709 h 1697461"/>
                <a:gd name="connsiteX8" fmla="*/ 0 w 1697461"/>
                <a:gd name="connsiteY8" fmla="*/ 848731 h 1697461"/>
                <a:gd name="connsiteX9" fmla="*/ 848731 w 1697461"/>
                <a:gd name="connsiteY9" fmla="*/ 1697461 h 1697461"/>
                <a:gd name="connsiteX10" fmla="*/ 1166600 w 1697461"/>
                <a:gd name="connsiteY10" fmla="*/ 1635938 h 1697461"/>
                <a:gd name="connsiteX11" fmla="*/ 1369518 w 1697461"/>
                <a:gd name="connsiteY11" fmla="*/ 1519008 h 1697461"/>
                <a:gd name="connsiteX12" fmla="*/ 1445792 w 1697461"/>
                <a:gd name="connsiteY12" fmla="*/ 1451909 h 1697461"/>
                <a:gd name="connsiteX13" fmla="*/ 1641155 w 1697461"/>
                <a:gd name="connsiteY13" fmla="*/ 1153288 h 1697461"/>
                <a:gd name="connsiteX14" fmla="*/ 1697461 w 1697461"/>
                <a:gd name="connsiteY14" fmla="*/ 848731 h 1697461"/>
                <a:gd name="connsiteX15" fmla="*/ 1653208 w 1697461"/>
                <a:gd name="connsiteY15" fmla="*/ 577633 h 1697461"/>
                <a:gd name="connsiteX16" fmla="*/ 1377254 w 1697461"/>
                <a:gd name="connsiteY16" fmla="*/ 1383370 h 1697461"/>
                <a:gd name="connsiteX17" fmla="*/ 1300440 w 1697461"/>
                <a:gd name="connsiteY17" fmla="*/ 1449750 h 1697461"/>
                <a:gd name="connsiteX18" fmla="*/ 1099500 w 1697461"/>
                <a:gd name="connsiteY18" fmla="*/ 1557505 h 1697461"/>
                <a:gd name="connsiteX19" fmla="*/ 848731 w 1697461"/>
                <a:gd name="connsiteY19" fmla="*/ 1600499 h 1697461"/>
                <a:gd name="connsiteX20" fmla="*/ 96962 w 1697461"/>
                <a:gd name="connsiteY20" fmla="*/ 848731 h 1697461"/>
                <a:gd name="connsiteX21" fmla="*/ 155427 w 1697461"/>
                <a:gd name="connsiteY21" fmla="*/ 557485 h 1697461"/>
                <a:gd name="connsiteX22" fmla="*/ 247531 w 1697461"/>
                <a:gd name="connsiteY22" fmla="*/ 397022 h 1697461"/>
                <a:gd name="connsiteX23" fmla="*/ 314091 w 1697461"/>
                <a:gd name="connsiteY23" fmla="*/ 320208 h 1697461"/>
                <a:gd name="connsiteX24" fmla="*/ 620088 w 1697461"/>
                <a:gd name="connsiteY24" fmla="*/ 132220 h 1697461"/>
                <a:gd name="connsiteX25" fmla="*/ 848731 w 1697461"/>
                <a:gd name="connsiteY25" fmla="*/ 96782 h 1697461"/>
                <a:gd name="connsiteX26" fmla="*/ 1600679 w 1697461"/>
                <a:gd name="connsiteY26" fmla="*/ 848731 h 1697461"/>
                <a:gd name="connsiteX27" fmla="*/ 1565241 w 1697461"/>
                <a:gd name="connsiteY27" fmla="*/ 1077373 h 1697461"/>
                <a:gd name="connsiteX28" fmla="*/ 1377254 w 1697461"/>
                <a:gd name="connsiteY28" fmla="*/ 1383370 h 169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97461" h="1697461">
                  <a:moveTo>
                    <a:pt x="1653208" y="577633"/>
                  </a:moveTo>
                  <a:lnTo>
                    <a:pt x="1653208" y="577633"/>
                  </a:lnTo>
                  <a:cubicBezTo>
                    <a:pt x="1568659" y="326864"/>
                    <a:pt x="1370418" y="128623"/>
                    <a:pt x="1119828" y="44253"/>
                  </a:cubicBezTo>
                  <a:cubicBezTo>
                    <a:pt x="1034739" y="15471"/>
                    <a:pt x="943534" y="0"/>
                    <a:pt x="848731" y="0"/>
                  </a:cubicBezTo>
                  <a:cubicBezTo>
                    <a:pt x="741335" y="0"/>
                    <a:pt x="638617" y="19968"/>
                    <a:pt x="544173" y="56306"/>
                  </a:cubicBezTo>
                  <a:cubicBezTo>
                    <a:pt x="431021" y="99840"/>
                    <a:pt x="329382" y="166940"/>
                    <a:pt x="245553" y="251669"/>
                  </a:cubicBezTo>
                  <a:cubicBezTo>
                    <a:pt x="221807" y="275775"/>
                    <a:pt x="199320" y="301139"/>
                    <a:pt x="178453" y="327943"/>
                  </a:cubicBezTo>
                  <a:cubicBezTo>
                    <a:pt x="140676" y="376514"/>
                    <a:pt x="107935" y="429402"/>
                    <a:pt x="81311" y="485709"/>
                  </a:cubicBezTo>
                  <a:cubicBezTo>
                    <a:pt x="29142" y="595802"/>
                    <a:pt x="0" y="718848"/>
                    <a:pt x="0" y="848731"/>
                  </a:cubicBezTo>
                  <a:cubicBezTo>
                    <a:pt x="0" y="1317349"/>
                    <a:pt x="380112" y="1697461"/>
                    <a:pt x="848731" y="1697461"/>
                  </a:cubicBezTo>
                  <a:cubicBezTo>
                    <a:pt x="961163" y="1697461"/>
                    <a:pt x="1068379" y="1675694"/>
                    <a:pt x="1166600" y="1635938"/>
                  </a:cubicBezTo>
                  <a:cubicBezTo>
                    <a:pt x="1239996" y="1606256"/>
                    <a:pt x="1308175" y="1566680"/>
                    <a:pt x="1369518" y="1519008"/>
                  </a:cubicBezTo>
                  <a:cubicBezTo>
                    <a:pt x="1396322" y="1498141"/>
                    <a:pt x="1421687" y="1475654"/>
                    <a:pt x="1445792" y="1451909"/>
                  </a:cubicBezTo>
                  <a:cubicBezTo>
                    <a:pt x="1530521" y="1368079"/>
                    <a:pt x="1597621" y="1266440"/>
                    <a:pt x="1641155" y="1153288"/>
                  </a:cubicBezTo>
                  <a:cubicBezTo>
                    <a:pt x="1677493" y="1058665"/>
                    <a:pt x="1697461" y="955946"/>
                    <a:pt x="1697461" y="848731"/>
                  </a:cubicBezTo>
                  <a:cubicBezTo>
                    <a:pt x="1697461" y="753928"/>
                    <a:pt x="1681811" y="662722"/>
                    <a:pt x="1653208" y="577633"/>
                  </a:cubicBezTo>
                  <a:close/>
                  <a:moveTo>
                    <a:pt x="1377254" y="1383370"/>
                  </a:moveTo>
                  <a:cubicBezTo>
                    <a:pt x="1353148" y="1407115"/>
                    <a:pt x="1327603" y="1429242"/>
                    <a:pt x="1300440" y="1449750"/>
                  </a:cubicBezTo>
                  <a:cubicBezTo>
                    <a:pt x="1239996" y="1495263"/>
                    <a:pt x="1172356" y="1531960"/>
                    <a:pt x="1099500" y="1557505"/>
                  </a:cubicBezTo>
                  <a:cubicBezTo>
                    <a:pt x="1021067" y="1585388"/>
                    <a:pt x="936698" y="1600499"/>
                    <a:pt x="848731" y="1600499"/>
                  </a:cubicBezTo>
                  <a:cubicBezTo>
                    <a:pt x="433540" y="1600499"/>
                    <a:pt x="96962" y="1263921"/>
                    <a:pt x="96962" y="848731"/>
                  </a:cubicBezTo>
                  <a:cubicBezTo>
                    <a:pt x="96962" y="745473"/>
                    <a:pt x="117829" y="647072"/>
                    <a:pt x="155427" y="557485"/>
                  </a:cubicBezTo>
                  <a:cubicBezTo>
                    <a:pt x="179532" y="499920"/>
                    <a:pt x="210654" y="446132"/>
                    <a:pt x="247531" y="397022"/>
                  </a:cubicBezTo>
                  <a:cubicBezTo>
                    <a:pt x="268039" y="369858"/>
                    <a:pt x="290166" y="344133"/>
                    <a:pt x="314091" y="320208"/>
                  </a:cubicBezTo>
                  <a:cubicBezTo>
                    <a:pt x="398281" y="234759"/>
                    <a:pt x="502978" y="169458"/>
                    <a:pt x="620088" y="132220"/>
                  </a:cubicBezTo>
                  <a:cubicBezTo>
                    <a:pt x="692225" y="109194"/>
                    <a:pt x="769038" y="96782"/>
                    <a:pt x="848731" y="96782"/>
                  </a:cubicBezTo>
                  <a:cubicBezTo>
                    <a:pt x="1263922" y="96782"/>
                    <a:pt x="1600679" y="433360"/>
                    <a:pt x="1600679" y="848731"/>
                  </a:cubicBezTo>
                  <a:cubicBezTo>
                    <a:pt x="1600679" y="928423"/>
                    <a:pt x="1588267" y="1005237"/>
                    <a:pt x="1565241" y="1077373"/>
                  </a:cubicBezTo>
                  <a:cubicBezTo>
                    <a:pt x="1528003" y="1194483"/>
                    <a:pt x="1462702" y="1299001"/>
                    <a:pt x="1377254" y="1383370"/>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37">
              <a:extLst>
                <a:ext uri="{FF2B5EF4-FFF2-40B4-BE49-F238E27FC236}">
                  <a16:creationId xmlns:a16="http://schemas.microsoft.com/office/drawing/2014/main" id="{BD33ABEC-59E7-FEE6-9BCA-68A835613E65}"/>
                </a:ext>
              </a:extLst>
            </p:cNvPr>
            <p:cNvSpPr/>
            <p:nvPr/>
          </p:nvSpPr>
          <p:spPr>
            <a:xfrm flipH="1">
              <a:off x="9467356" y="3651088"/>
              <a:ext cx="1070897" cy="1070896"/>
            </a:xfrm>
            <a:custGeom>
              <a:avLst/>
              <a:gdLst>
                <a:gd name="connsiteX0" fmla="*/ 535359 w 1070897"/>
                <a:gd name="connsiteY0" fmla="*/ 0 h 1070896"/>
                <a:gd name="connsiteX1" fmla="*/ 489666 w 1070897"/>
                <a:gd name="connsiteY1" fmla="*/ 1979 h 1070896"/>
                <a:gd name="connsiteX2" fmla="*/ 153628 w 1070897"/>
                <a:gd name="connsiteY2" fmla="*/ 159924 h 1070896"/>
                <a:gd name="connsiteX3" fmla="*/ 89586 w 1070897"/>
                <a:gd name="connsiteY3" fmla="*/ 239076 h 1070896"/>
                <a:gd name="connsiteX4" fmla="*/ 14032 w 1070897"/>
                <a:gd name="connsiteY4" fmla="*/ 413931 h 1070896"/>
                <a:gd name="connsiteX5" fmla="*/ 0 w 1070897"/>
                <a:gd name="connsiteY5" fmla="*/ 535538 h 1070896"/>
                <a:gd name="connsiteX6" fmla="*/ 535359 w 1070897"/>
                <a:gd name="connsiteY6" fmla="*/ 1070897 h 1070896"/>
                <a:gd name="connsiteX7" fmla="*/ 627104 w 1070897"/>
                <a:gd name="connsiteY7" fmla="*/ 1062982 h 1070896"/>
                <a:gd name="connsiteX8" fmla="*/ 831821 w 1070897"/>
                <a:gd name="connsiteY8" fmla="*/ 981311 h 1070896"/>
                <a:gd name="connsiteX9" fmla="*/ 910793 w 1070897"/>
                <a:gd name="connsiteY9" fmla="*/ 917090 h 1070896"/>
                <a:gd name="connsiteX10" fmla="*/ 1068919 w 1070897"/>
                <a:gd name="connsiteY10" fmla="*/ 581231 h 1070896"/>
                <a:gd name="connsiteX11" fmla="*/ 1070897 w 1070897"/>
                <a:gd name="connsiteY11" fmla="*/ 535538 h 1070896"/>
                <a:gd name="connsiteX12" fmla="*/ 535359 w 1070897"/>
                <a:gd name="connsiteY12" fmla="*/ 0 h 1070896"/>
                <a:gd name="connsiteX13" fmla="*/ 977713 w 1070897"/>
                <a:gd name="connsiteY13" fmla="*/ 535538 h 1070896"/>
                <a:gd name="connsiteX14" fmla="*/ 845133 w 1070897"/>
                <a:gd name="connsiteY14" fmla="*/ 851429 h 1070896"/>
                <a:gd name="connsiteX15" fmla="*/ 764361 w 1070897"/>
                <a:gd name="connsiteY15" fmla="*/ 914031 h 1070896"/>
                <a:gd name="connsiteX16" fmla="*/ 550110 w 1070897"/>
                <a:gd name="connsiteY16" fmla="*/ 977533 h 1070896"/>
                <a:gd name="connsiteX17" fmla="*/ 535359 w 1070897"/>
                <a:gd name="connsiteY17" fmla="*/ 977893 h 1070896"/>
                <a:gd name="connsiteX18" fmla="*/ 93004 w 1070897"/>
                <a:gd name="connsiteY18" fmla="*/ 535538 h 1070896"/>
                <a:gd name="connsiteX19" fmla="*/ 94983 w 1070897"/>
                <a:gd name="connsiteY19" fmla="*/ 495782 h 1070896"/>
                <a:gd name="connsiteX20" fmla="*/ 94983 w 1070897"/>
                <a:gd name="connsiteY20" fmla="*/ 495782 h 1070896"/>
                <a:gd name="connsiteX21" fmla="*/ 156866 w 1070897"/>
                <a:gd name="connsiteY21" fmla="*/ 306536 h 1070896"/>
                <a:gd name="connsiteX22" fmla="*/ 219468 w 1070897"/>
                <a:gd name="connsiteY22" fmla="*/ 225764 h 1070896"/>
                <a:gd name="connsiteX23" fmla="*/ 535359 w 1070897"/>
                <a:gd name="connsiteY23" fmla="*/ 93184 h 1070896"/>
                <a:gd name="connsiteX24" fmla="*/ 583570 w 1070897"/>
                <a:gd name="connsiteY24" fmla="*/ 95882 h 1070896"/>
                <a:gd name="connsiteX25" fmla="*/ 975015 w 1070897"/>
                <a:gd name="connsiteY25" fmla="*/ 487327 h 1070896"/>
                <a:gd name="connsiteX26" fmla="*/ 977713 w 1070897"/>
                <a:gd name="connsiteY26" fmla="*/ 535538 h 107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0897" h="1070896">
                  <a:moveTo>
                    <a:pt x="535359" y="0"/>
                  </a:moveTo>
                  <a:cubicBezTo>
                    <a:pt x="519888" y="0"/>
                    <a:pt x="504777" y="719"/>
                    <a:pt x="489666" y="1979"/>
                  </a:cubicBezTo>
                  <a:cubicBezTo>
                    <a:pt x="358525" y="12952"/>
                    <a:pt x="240875" y="71417"/>
                    <a:pt x="153628" y="159924"/>
                  </a:cubicBezTo>
                  <a:cubicBezTo>
                    <a:pt x="129882" y="184029"/>
                    <a:pt x="108295" y="210653"/>
                    <a:pt x="89586" y="239076"/>
                  </a:cubicBezTo>
                  <a:cubicBezTo>
                    <a:pt x="54507" y="291605"/>
                    <a:pt x="28603" y="350609"/>
                    <a:pt x="14032" y="413931"/>
                  </a:cubicBezTo>
                  <a:cubicBezTo>
                    <a:pt x="4857" y="452968"/>
                    <a:pt x="0" y="493624"/>
                    <a:pt x="0" y="535538"/>
                  </a:cubicBezTo>
                  <a:cubicBezTo>
                    <a:pt x="0" y="831281"/>
                    <a:pt x="239616" y="1070897"/>
                    <a:pt x="535359" y="1070897"/>
                  </a:cubicBezTo>
                  <a:cubicBezTo>
                    <a:pt x="566660" y="1070897"/>
                    <a:pt x="597421" y="1068199"/>
                    <a:pt x="627104" y="1062982"/>
                  </a:cubicBezTo>
                  <a:cubicBezTo>
                    <a:pt x="701939" y="1050210"/>
                    <a:pt x="771197" y="1021787"/>
                    <a:pt x="831821" y="981311"/>
                  </a:cubicBezTo>
                  <a:cubicBezTo>
                    <a:pt x="860244" y="962422"/>
                    <a:pt x="886688" y="941015"/>
                    <a:pt x="910793" y="917090"/>
                  </a:cubicBezTo>
                  <a:cubicBezTo>
                    <a:pt x="999480" y="830202"/>
                    <a:pt x="1057945" y="712372"/>
                    <a:pt x="1068919" y="581231"/>
                  </a:cubicBezTo>
                  <a:cubicBezTo>
                    <a:pt x="1070178" y="566120"/>
                    <a:pt x="1070897" y="551009"/>
                    <a:pt x="1070897" y="535538"/>
                  </a:cubicBezTo>
                  <a:cubicBezTo>
                    <a:pt x="1070897" y="239796"/>
                    <a:pt x="831101" y="0"/>
                    <a:pt x="535359" y="0"/>
                  </a:cubicBezTo>
                  <a:close/>
                  <a:moveTo>
                    <a:pt x="977713" y="535538"/>
                  </a:moveTo>
                  <a:cubicBezTo>
                    <a:pt x="977713" y="659124"/>
                    <a:pt x="926984" y="771017"/>
                    <a:pt x="845133" y="851429"/>
                  </a:cubicBezTo>
                  <a:cubicBezTo>
                    <a:pt x="820847" y="875175"/>
                    <a:pt x="793684" y="896402"/>
                    <a:pt x="764361" y="914031"/>
                  </a:cubicBezTo>
                  <a:cubicBezTo>
                    <a:pt x="701579" y="952168"/>
                    <a:pt x="628363" y="975015"/>
                    <a:pt x="550110" y="977533"/>
                  </a:cubicBezTo>
                  <a:cubicBezTo>
                    <a:pt x="545253" y="977893"/>
                    <a:pt x="540216" y="977893"/>
                    <a:pt x="535359" y="977893"/>
                  </a:cubicBezTo>
                  <a:cubicBezTo>
                    <a:pt x="291065" y="977893"/>
                    <a:pt x="93004" y="779832"/>
                    <a:pt x="93004" y="535538"/>
                  </a:cubicBezTo>
                  <a:cubicBezTo>
                    <a:pt x="93004" y="522046"/>
                    <a:pt x="93544" y="508914"/>
                    <a:pt x="94983" y="495782"/>
                  </a:cubicBezTo>
                  <a:lnTo>
                    <a:pt x="94983" y="495782"/>
                  </a:lnTo>
                  <a:cubicBezTo>
                    <a:pt x="100919" y="426704"/>
                    <a:pt x="122866" y="362482"/>
                    <a:pt x="156866" y="306536"/>
                  </a:cubicBezTo>
                  <a:cubicBezTo>
                    <a:pt x="174495" y="277213"/>
                    <a:pt x="195722" y="250050"/>
                    <a:pt x="219468" y="225764"/>
                  </a:cubicBezTo>
                  <a:cubicBezTo>
                    <a:pt x="299880" y="143914"/>
                    <a:pt x="411773" y="93184"/>
                    <a:pt x="535359" y="93184"/>
                  </a:cubicBezTo>
                  <a:cubicBezTo>
                    <a:pt x="551729" y="93184"/>
                    <a:pt x="567739" y="94083"/>
                    <a:pt x="583570" y="95882"/>
                  </a:cubicBezTo>
                  <a:cubicBezTo>
                    <a:pt x="789366" y="118009"/>
                    <a:pt x="952888" y="281531"/>
                    <a:pt x="975015" y="487327"/>
                  </a:cubicBezTo>
                  <a:cubicBezTo>
                    <a:pt x="976814" y="503158"/>
                    <a:pt x="977713" y="519168"/>
                    <a:pt x="977713" y="535538"/>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38">
              <a:extLst>
                <a:ext uri="{FF2B5EF4-FFF2-40B4-BE49-F238E27FC236}">
                  <a16:creationId xmlns:a16="http://schemas.microsoft.com/office/drawing/2014/main" id="{7DBE5BA5-503F-6B2C-9FAE-00B5C434F645}"/>
                </a:ext>
              </a:extLst>
            </p:cNvPr>
            <p:cNvSpPr/>
            <p:nvPr/>
          </p:nvSpPr>
          <p:spPr>
            <a:xfrm flipH="1">
              <a:off x="9738993" y="3922725"/>
              <a:ext cx="527803" cy="527803"/>
            </a:xfrm>
            <a:custGeom>
              <a:avLst/>
              <a:gdLst>
                <a:gd name="connsiteX0" fmla="*/ 263902 w 527803"/>
                <a:gd name="connsiteY0" fmla="*/ 0 h 527803"/>
                <a:gd name="connsiteX1" fmla="*/ 74296 w 527803"/>
                <a:gd name="connsiteY1" fmla="*/ 80412 h 527803"/>
                <a:gd name="connsiteX2" fmla="*/ 18169 w 527803"/>
                <a:gd name="connsiteY2" fmla="*/ 167660 h 527803"/>
                <a:gd name="connsiteX3" fmla="*/ 0 w 527803"/>
                <a:gd name="connsiteY3" fmla="*/ 263902 h 527803"/>
                <a:gd name="connsiteX4" fmla="*/ 263902 w 527803"/>
                <a:gd name="connsiteY4" fmla="*/ 527803 h 527803"/>
                <a:gd name="connsiteX5" fmla="*/ 360144 w 527803"/>
                <a:gd name="connsiteY5" fmla="*/ 509634 h 527803"/>
                <a:gd name="connsiteX6" fmla="*/ 447392 w 527803"/>
                <a:gd name="connsiteY6" fmla="*/ 453508 h 527803"/>
                <a:gd name="connsiteX7" fmla="*/ 527803 w 527803"/>
                <a:gd name="connsiteY7" fmla="*/ 263902 h 527803"/>
                <a:gd name="connsiteX8" fmla="*/ 263902 w 527803"/>
                <a:gd name="connsiteY8" fmla="*/ 0 h 527803"/>
                <a:gd name="connsiteX9" fmla="*/ 292505 w 527803"/>
                <a:gd name="connsiteY9" fmla="*/ 441995 h 527803"/>
                <a:gd name="connsiteX10" fmla="*/ 263902 w 527803"/>
                <a:gd name="connsiteY10" fmla="*/ 444333 h 527803"/>
                <a:gd name="connsiteX11" fmla="*/ 83470 w 527803"/>
                <a:gd name="connsiteY11" fmla="*/ 263902 h 527803"/>
                <a:gd name="connsiteX12" fmla="*/ 85809 w 527803"/>
                <a:gd name="connsiteY12" fmla="*/ 235299 h 527803"/>
                <a:gd name="connsiteX13" fmla="*/ 133480 w 527803"/>
                <a:gd name="connsiteY13" fmla="*/ 139596 h 527803"/>
                <a:gd name="connsiteX14" fmla="*/ 263902 w 527803"/>
                <a:gd name="connsiteY14" fmla="*/ 83470 h 527803"/>
                <a:gd name="connsiteX15" fmla="*/ 444333 w 527803"/>
                <a:gd name="connsiteY15" fmla="*/ 263902 h 527803"/>
                <a:gd name="connsiteX16" fmla="*/ 388387 w 527803"/>
                <a:gd name="connsiteY16" fmla="*/ 394503 h 527803"/>
                <a:gd name="connsiteX17" fmla="*/ 292505 w 527803"/>
                <a:gd name="connsiteY17" fmla="*/ 441995 h 52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7803" h="527803">
                  <a:moveTo>
                    <a:pt x="263902" y="0"/>
                  </a:moveTo>
                  <a:cubicBezTo>
                    <a:pt x="189606" y="0"/>
                    <a:pt x="122327" y="30762"/>
                    <a:pt x="74296" y="80412"/>
                  </a:cubicBezTo>
                  <a:cubicBezTo>
                    <a:pt x="50190" y="105237"/>
                    <a:pt x="30941" y="134739"/>
                    <a:pt x="18169" y="167660"/>
                  </a:cubicBezTo>
                  <a:cubicBezTo>
                    <a:pt x="6476" y="197342"/>
                    <a:pt x="0" y="229902"/>
                    <a:pt x="0" y="263902"/>
                  </a:cubicBezTo>
                  <a:cubicBezTo>
                    <a:pt x="0" y="409614"/>
                    <a:pt x="118189" y="527803"/>
                    <a:pt x="263902" y="527803"/>
                  </a:cubicBezTo>
                  <a:cubicBezTo>
                    <a:pt x="297901" y="527803"/>
                    <a:pt x="330462" y="521327"/>
                    <a:pt x="360144" y="509634"/>
                  </a:cubicBezTo>
                  <a:cubicBezTo>
                    <a:pt x="393064" y="496862"/>
                    <a:pt x="422566" y="477613"/>
                    <a:pt x="447392" y="453508"/>
                  </a:cubicBezTo>
                  <a:cubicBezTo>
                    <a:pt x="497042" y="405477"/>
                    <a:pt x="527803" y="338197"/>
                    <a:pt x="527803" y="263902"/>
                  </a:cubicBezTo>
                  <a:cubicBezTo>
                    <a:pt x="527803" y="118189"/>
                    <a:pt x="409614" y="0"/>
                    <a:pt x="263902" y="0"/>
                  </a:cubicBezTo>
                  <a:close/>
                  <a:moveTo>
                    <a:pt x="292505" y="441995"/>
                  </a:moveTo>
                  <a:cubicBezTo>
                    <a:pt x="283150" y="443614"/>
                    <a:pt x="273616" y="444333"/>
                    <a:pt x="263902" y="444333"/>
                  </a:cubicBezTo>
                  <a:cubicBezTo>
                    <a:pt x="164242" y="444333"/>
                    <a:pt x="83470" y="363562"/>
                    <a:pt x="83470" y="263902"/>
                  </a:cubicBezTo>
                  <a:cubicBezTo>
                    <a:pt x="83470" y="254188"/>
                    <a:pt x="84189" y="244653"/>
                    <a:pt x="85809" y="235299"/>
                  </a:cubicBezTo>
                  <a:cubicBezTo>
                    <a:pt x="91565" y="198421"/>
                    <a:pt x="108655" y="165321"/>
                    <a:pt x="133480" y="139596"/>
                  </a:cubicBezTo>
                  <a:cubicBezTo>
                    <a:pt x="166040" y="105057"/>
                    <a:pt x="212453" y="83470"/>
                    <a:pt x="263902" y="83470"/>
                  </a:cubicBezTo>
                  <a:cubicBezTo>
                    <a:pt x="363562" y="83470"/>
                    <a:pt x="444333" y="164242"/>
                    <a:pt x="444333" y="263902"/>
                  </a:cubicBezTo>
                  <a:cubicBezTo>
                    <a:pt x="444333" y="315171"/>
                    <a:pt x="422926" y="361583"/>
                    <a:pt x="388387" y="394503"/>
                  </a:cubicBezTo>
                  <a:cubicBezTo>
                    <a:pt x="362662" y="419149"/>
                    <a:pt x="329382" y="436238"/>
                    <a:pt x="292505" y="44199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Shape 39">
              <a:extLst>
                <a:ext uri="{FF2B5EF4-FFF2-40B4-BE49-F238E27FC236}">
                  <a16:creationId xmlns:a16="http://schemas.microsoft.com/office/drawing/2014/main" id="{81FCAFD5-70B1-CFC7-B6AE-345B2805E364}"/>
                </a:ext>
              </a:extLst>
            </p:cNvPr>
            <p:cNvSpPr/>
            <p:nvPr/>
          </p:nvSpPr>
          <p:spPr>
            <a:xfrm flipH="1">
              <a:off x="8559081" y="891904"/>
              <a:ext cx="1420427" cy="1420427"/>
            </a:xfrm>
            <a:custGeom>
              <a:avLst/>
              <a:gdLst>
                <a:gd name="connsiteX0" fmla="*/ 1419708 w 1420427"/>
                <a:gd name="connsiteY0" fmla="*/ 680352 h 1420427"/>
                <a:gd name="connsiteX1" fmla="*/ 740076 w 1420427"/>
                <a:gd name="connsiteY1" fmla="*/ 720 h 1420427"/>
                <a:gd name="connsiteX2" fmla="*/ 710214 w 1420427"/>
                <a:gd name="connsiteY2" fmla="*/ 0 h 1420427"/>
                <a:gd name="connsiteX3" fmla="*/ 13672 w 1420427"/>
                <a:gd name="connsiteY3" fmla="*/ 570438 h 1420427"/>
                <a:gd name="connsiteX4" fmla="*/ 0 w 1420427"/>
                <a:gd name="connsiteY4" fmla="*/ 710214 h 1420427"/>
                <a:gd name="connsiteX5" fmla="*/ 7196 w 1420427"/>
                <a:gd name="connsiteY5" fmla="*/ 811493 h 1420427"/>
                <a:gd name="connsiteX6" fmla="*/ 20328 w 1420427"/>
                <a:gd name="connsiteY6" fmla="*/ 879672 h 1420427"/>
                <a:gd name="connsiteX7" fmla="*/ 540756 w 1420427"/>
                <a:gd name="connsiteY7" fmla="*/ 1400100 h 1420427"/>
                <a:gd name="connsiteX8" fmla="*/ 608935 w 1420427"/>
                <a:gd name="connsiteY8" fmla="*/ 1413232 h 1420427"/>
                <a:gd name="connsiteX9" fmla="*/ 710214 w 1420427"/>
                <a:gd name="connsiteY9" fmla="*/ 1420427 h 1420427"/>
                <a:gd name="connsiteX10" fmla="*/ 716510 w 1420427"/>
                <a:gd name="connsiteY10" fmla="*/ 1420427 h 1420427"/>
                <a:gd name="connsiteX11" fmla="*/ 1420428 w 1420427"/>
                <a:gd name="connsiteY11" fmla="*/ 710214 h 1420427"/>
                <a:gd name="connsiteX12" fmla="*/ 1419708 w 1420427"/>
                <a:gd name="connsiteY12" fmla="*/ 680352 h 1420427"/>
                <a:gd name="connsiteX13" fmla="*/ 710214 w 1420427"/>
                <a:gd name="connsiteY13" fmla="*/ 1362682 h 1420427"/>
                <a:gd name="connsiteX14" fmla="*/ 671357 w 1420427"/>
                <a:gd name="connsiteY14" fmla="*/ 1361423 h 1420427"/>
                <a:gd name="connsiteX15" fmla="*/ 534279 w 1420427"/>
                <a:gd name="connsiteY15" fmla="*/ 1338577 h 1420427"/>
                <a:gd name="connsiteX16" fmla="*/ 448831 w 1420427"/>
                <a:gd name="connsiteY16" fmla="*/ 1308175 h 1420427"/>
                <a:gd name="connsiteX17" fmla="*/ 112253 w 1420427"/>
                <a:gd name="connsiteY17" fmla="*/ 971597 h 1420427"/>
                <a:gd name="connsiteX18" fmla="*/ 81851 w 1420427"/>
                <a:gd name="connsiteY18" fmla="*/ 886148 h 1420427"/>
                <a:gd name="connsiteX19" fmla="*/ 57745 w 1420427"/>
                <a:gd name="connsiteY19" fmla="*/ 710214 h 1420427"/>
                <a:gd name="connsiteX20" fmla="*/ 63142 w 1420427"/>
                <a:gd name="connsiteY20" fmla="*/ 626024 h 1420427"/>
                <a:gd name="connsiteX21" fmla="*/ 710214 w 1420427"/>
                <a:gd name="connsiteY21" fmla="*/ 57745 h 1420427"/>
                <a:gd name="connsiteX22" fmla="*/ 803758 w 1420427"/>
                <a:gd name="connsiteY22" fmla="*/ 64401 h 1420427"/>
                <a:gd name="connsiteX23" fmla="*/ 1356026 w 1420427"/>
                <a:gd name="connsiteY23" fmla="*/ 616670 h 1420427"/>
                <a:gd name="connsiteX24" fmla="*/ 1362682 w 1420427"/>
                <a:gd name="connsiteY24" fmla="*/ 710214 h 1420427"/>
                <a:gd name="connsiteX25" fmla="*/ 710214 w 1420427"/>
                <a:gd name="connsiteY25" fmla="*/ 1362682 h 142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0427" h="1420427">
                  <a:moveTo>
                    <a:pt x="1419708" y="680352"/>
                  </a:moveTo>
                  <a:cubicBezTo>
                    <a:pt x="1404597" y="311753"/>
                    <a:pt x="1108675" y="15830"/>
                    <a:pt x="740076" y="720"/>
                  </a:cubicBezTo>
                  <a:cubicBezTo>
                    <a:pt x="730182" y="180"/>
                    <a:pt x="720288" y="0"/>
                    <a:pt x="710214" y="0"/>
                  </a:cubicBezTo>
                  <a:cubicBezTo>
                    <a:pt x="365721" y="0"/>
                    <a:pt x="78613" y="245013"/>
                    <a:pt x="13672" y="570438"/>
                  </a:cubicBezTo>
                  <a:cubicBezTo>
                    <a:pt x="4677" y="615591"/>
                    <a:pt x="0" y="662362"/>
                    <a:pt x="0" y="710214"/>
                  </a:cubicBezTo>
                  <a:cubicBezTo>
                    <a:pt x="0" y="744573"/>
                    <a:pt x="2518" y="778393"/>
                    <a:pt x="7196" y="811493"/>
                  </a:cubicBezTo>
                  <a:cubicBezTo>
                    <a:pt x="10434" y="834519"/>
                    <a:pt x="14931" y="857365"/>
                    <a:pt x="20328" y="879672"/>
                  </a:cubicBezTo>
                  <a:cubicBezTo>
                    <a:pt x="82930" y="1135838"/>
                    <a:pt x="284589" y="1337497"/>
                    <a:pt x="540756" y="1400100"/>
                  </a:cubicBezTo>
                  <a:cubicBezTo>
                    <a:pt x="563062" y="1405496"/>
                    <a:pt x="585908" y="1409994"/>
                    <a:pt x="608935" y="1413232"/>
                  </a:cubicBezTo>
                  <a:cubicBezTo>
                    <a:pt x="642035" y="1417909"/>
                    <a:pt x="675854" y="1420427"/>
                    <a:pt x="710214" y="1420427"/>
                  </a:cubicBezTo>
                  <a:lnTo>
                    <a:pt x="716510" y="1420427"/>
                  </a:lnTo>
                  <a:cubicBezTo>
                    <a:pt x="1105976" y="1417010"/>
                    <a:pt x="1420428" y="1100580"/>
                    <a:pt x="1420428" y="710214"/>
                  </a:cubicBezTo>
                  <a:cubicBezTo>
                    <a:pt x="1420428" y="700140"/>
                    <a:pt x="1420248" y="690246"/>
                    <a:pt x="1419708" y="680352"/>
                  </a:cubicBezTo>
                  <a:close/>
                  <a:moveTo>
                    <a:pt x="710214" y="1362682"/>
                  </a:moveTo>
                  <a:cubicBezTo>
                    <a:pt x="697262" y="1362682"/>
                    <a:pt x="684309" y="1362322"/>
                    <a:pt x="671357" y="1361423"/>
                  </a:cubicBezTo>
                  <a:cubicBezTo>
                    <a:pt x="624225" y="1358725"/>
                    <a:pt x="578353" y="1350989"/>
                    <a:pt x="534279" y="1338577"/>
                  </a:cubicBezTo>
                  <a:cubicBezTo>
                    <a:pt x="504957" y="1330482"/>
                    <a:pt x="476354" y="1320228"/>
                    <a:pt x="448831" y="1308175"/>
                  </a:cubicBezTo>
                  <a:cubicBezTo>
                    <a:pt x="298621" y="1242514"/>
                    <a:pt x="177913" y="1121807"/>
                    <a:pt x="112253" y="971597"/>
                  </a:cubicBezTo>
                  <a:cubicBezTo>
                    <a:pt x="100200" y="944073"/>
                    <a:pt x="89946" y="915471"/>
                    <a:pt x="81851" y="886148"/>
                  </a:cubicBezTo>
                  <a:cubicBezTo>
                    <a:pt x="66020" y="830202"/>
                    <a:pt x="57745" y="771197"/>
                    <a:pt x="57745" y="710214"/>
                  </a:cubicBezTo>
                  <a:cubicBezTo>
                    <a:pt x="57745" y="681791"/>
                    <a:pt x="59544" y="653548"/>
                    <a:pt x="63142" y="626024"/>
                  </a:cubicBezTo>
                  <a:cubicBezTo>
                    <a:pt x="104517" y="305457"/>
                    <a:pt x="378493" y="57745"/>
                    <a:pt x="710214" y="57745"/>
                  </a:cubicBezTo>
                  <a:cubicBezTo>
                    <a:pt x="742055" y="57745"/>
                    <a:pt x="773176" y="60084"/>
                    <a:pt x="803758" y="64401"/>
                  </a:cubicBezTo>
                  <a:cubicBezTo>
                    <a:pt x="1089246" y="105417"/>
                    <a:pt x="1315011" y="331181"/>
                    <a:pt x="1356026" y="616670"/>
                  </a:cubicBezTo>
                  <a:cubicBezTo>
                    <a:pt x="1360344" y="647251"/>
                    <a:pt x="1362682" y="678373"/>
                    <a:pt x="1362682" y="710214"/>
                  </a:cubicBezTo>
                  <a:cubicBezTo>
                    <a:pt x="1362682" y="1070537"/>
                    <a:pt x="1070538" y="1362682"/>
                    <a:pt x="710214" y="1362682"/>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0" name="Freeform: Shape 40">
              <a:extLst>
                <a:ext uri="{FF2B5EF4-FFF2-40B4-BE49-F238E27FC236}">
                  <a16:creationId xmlns:a16="http://schemas.microsoft.com/office/drawing/2014/main" id="{F1113073-8A53-5648-8D29-688BF62C3037}"/>
                </a:ext>
              </a:extLst>
            </p:cNvPr>
            <p:cNvSpPr/>
            <p:nvPr/>
          </p:nvSpPr>
          <p:spPr>
            <a:xfrm flipH="1">
              <a:off x="8732317" y="1064960"/>
              <a:ext cx="1074135" cy="1074315"/>
            </a:xfrm>
            <a:custGeom>
              <a:avLst/>
              <a:gdLst>
                <a:gd name="connsiteX0" fmla="*/ 993904 w 1074135"/>
                <a:gd name="connsiteY0" fmla="*/ 254547 h 1074315"/>
                <a:gd name="connsiteX1" fmla="*/ 819768 w 1074135"/>
                <a:gd name="connsiteY1" fmla="*/ 80412 h 1074315"/>
                <a:gd name="connsiteX2" fmla="*/ 537158 w 1074135"/>
                <a:gd name="connsiteY2" fmla="*/ 0 h 1074315"/>
                <a:gd name="connsiteX3" fmla="*/ 0 w 1074135"/>
                <a:gd name="connsiteY3" fmla="*/ 537158 h 1074315"/>
                <a:gd name="connsiteX4" fmla="*/ 1799 w 1074135"/>
                <a:gd name="connsiteY4" fmla="*/ 580871 h 1074315"/>
                <a:gd name="connsiteX5" fmla="*/ 394144 w 1074135"/>
                <a:gd name="connsiteY5" fmla="*/ 1054887 h 1074315"/>
                <a:gd name="connsiteX6" fmla="*/ 394144 w 1074135"/>
                <a:gd name="connsiteY6" fmla="*/ 1054887 h 1074315"/>
                <a:gd name="connsiteX7" fmla="*/ 536978 w 1074135"/>
                <a:gd name="connsiteY7" fmla="*/ 1074315 h 1074315"/>
                <a:gd name="connsiteX8" fmla="*/ 1074136 w 1074135"/>
                <a:gd name="connsiteY8" fmla="*/ 537158 h 1074315"/>
                <a:gd name="connsiteX9" fmla="*/ 993724 w 1074135"/>
                <a:gd name="connsiteY9" fmla="*/ 254547 h 1074315"/>
                <a:gd name="connsiteX10" fmla="*/ 537158 w 1074135"/>
                <a:gd name="connsiteY10" fmla="*/ 1013152 h 1074315"/>
                <a:gd name="connsiteX11" fmla="*/ 318589 w 1074135"/>
                <a:gd name="connsiteY11" fmla="*/ 960084 h 1074315"/>
                <a:gd name="connsiteX12" fmla="*/ 318409 w 1074135"/>
                <a:gd name="connsiteY12" fmla="*/ 960084 h 1074315"/>
                <a:gd name="connsiteX13" fmla="*/ 318229 w 1074135"/>
                <a:gd name="connsiteY13" fmla="*/ 959904 h 1074315"/>
                <a:gd name="connsiteX14" fmla="*/ 80951 w 1074135"/>
                <a:gd name="connsiteY14" fmla="*/ 673156 h 1074315"/>
                <a:gd name="connsiteX15" fmla="*/ 80951 w 1074135"/>
                <a:gd name="connsiteY15" fmla="*/ 673156 h 1074315"/>
                <a:gd name="connsiteX16" fmla="*/ 61163 w 1074135"/>
                <a:gd name="connsiteY16" fmla="*/ 537158 h 1074315"/>
                <a:gd name="connsiteX17" fmla="*/ 537158 w 1074135"/>
                <a:gd name="connsiteY17" fmla="*/ 61163 h 1074315"/>
                <a:gd name="connsiteX18" fmla="*/ 1013152 w 1074135"/>
                <a:gd name="connsiteY18" fmla="*/ 537158 h 1074315"/>
                <a:gd name="connsiteX19" fmla="*/ 537158 w 1074135"/>
                <a:gd name="connsiteY19" fmla="*/ 1013152 h 10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4135" h="1074315">
                  <a:moveTo>
                    <a:pt x="993904" y="254547"/>
                  </a:moveTo>
                  <a:cubicBezTo>
                    <a:pt x="950190" y="183850"/>
                    <a:pt x="890466" y="124125"/>
                    <a:pt x="819768" y="80412"/>
                  </a:cubicBezTo>
                  <a:cubicBezTo>
                    <a:pt x="737737" y="29322"/>
                    <a:pt x="640955" y="0"/>
                    <a:pt x="537158" y="0"/>
                  </a:cubicBezTo>
                  <a:cubicBezTo>
                    <a:pt x="240516" y="0"/>
                    <a:pt x="0" y="240516"/>
                    <a:pt x="0" y="537158"/>
                  </a:cubicBezTo>
                  <a:cubicBezTo>
                    <a:pt x="0" y="551909"/>
                    <a:pt x="540" y="566480"/>
                    <a:pt x="1799" y="580871"/>
                  </a:cubicBezTo>
                  <a:cubicBezTo>
                    <a:pt x="20148" y="808615"/>
                    <a:pt x="180432" y="996062"/>
                    <a:pt x="394144" y="1054887"/>
                  </a:cubicBezTo>
                  <a:lnTo>
                    <a:pt x="394144" y="1054887"/>
                  </a:lnTo>
                  <a:cubicBezTo>
                    <a:pt x="439656" y="1067659"/>
                    <a:pt x="487508" y="1074315"/>
                    <a:pt x="536978" y="1074315"/>
                  </a:cubicBezTo>
                  <a:cubicBezTo>
                    <a:pt x="833620" y="1074315"/>
                    <a:pt x="1074136" y="833800"/>
                    <a:pt x="1074136" y="537158"/>
                  </a:cubicBezTo>
                  <a:cubicBezTo>
                    <a:pt x="1074136" y="433360"/>
                    <a:pt x="1044813" y="336578"/>
                    <a:pt x="993724" y="254547"/>
                  </a:cubicBezTo>
                  <a:close/>
                  <a:moveTo>
                    <a:pt x="537158" y="1013152"/>
                  </a:moveTo>
                  <a:cubicBezTo>
                    <a:pt x="458185" y="1013152"/>
                    <a:pt x="384070" y="993903"/>
                    <a:pt x="318589" y="960084"/>
                  </a:cubicBezTo>
                  <a:lnTo>
                    <a:pt x="318409" y="960084"/>
                  </a:lnTo>
                  <a:cubicBezTo>
                    <a:pt x="318409" y="960084"/>
                    <a:pt x="318229" y="959904"/>
                    <a:pt x="318229" y="959904"/>
                  </a:cubicBezTo>
                  <a:cubicBezTo>
                    <a:pt x="204717" y="901079"/>
                    <a:pt x="117829" y="797821"/>
                    <a:pt x="80951" y="673156"/>
                  </a:cubicBezTo>
                  <a:lnTo>
                    <a:pt x="80951" y="673156"/>
                  </a:lnTo>
                  <a:cubicBezTo>
                    <a:pt x="67999" y="629982"/>
                    <a:pt x="61163" y="584469"/>
                    <a:pt x="61163" y="537158"/>
                  </a:cubicBezTo>
                  <a:cubicBezTo>
                    <a:pt x="61163" y="274335"/>
                    <a:pt x="274335" y="61163"/>
                    <a:pt x="537158" y="61163"/>
                  </a:cubicBezTo>
                  <a:cubicBezTo>
                    <a:pt x="799980" y="61163"/>
                    <a:pt x="1013152" y="274335"/>
                    <a:pt x="1013152" y="537158"/>
                  </a:cubicBezTo>
                  <a:cubicBezTo>
                    <a:pt x="1013152" y="799980"/>
                    <a:pt x="799980" y="1013152"/>
                    <a:pt x="537158" y="1013152"/>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6" name="Freeform: Shape 41">
              <a:extLst>
                <a:ext uri="{FF2B5EF4-FFF2-40B4-BE49-F238E27FC236}">
                  <a16:creationId xmlns:a16="http://schemas.microsoft.com/office/drawing/2014/main" id="{28636BDB-56DF-0791-3116-756A8C1D94DE}"/>
                </a:ext>
              </a:extLst>
            </p:cNvPr>
            <p:cNvSpPr/>
            <p:nvPr/>
          </p:nvSpPr>
          <p:spPr>
            <a:xfrm flipH="1">
              <a:off x="8930378" y="1263201"/>
              <a:ext cx="677833" cy="677833"/>
            </a:xfrm>
            <a:custGeom>
              <a:avLst/>
              <a:gdLst>
                <a:gd name="connsiteX0" fmla="*/ 338917 w 677833"/>
                <a:gd name="connsiteY0" fmla="*/ 0 h 677833"/>
                <a:gd name="connsiteX1" fmla="*/ 0 w 677833"/>
                <a:gd name="connsiteY1" fmla="*/ 338917 h 677833"/>
                <a:gd name="connsiteX2" fmla="*/ 338917 w 677833"/>
                <a:gd name="connsiteY2" fmla="*/ 677833 h 677833"/>
                <a:gd name="connsiteX3" fmla="*/ 677833 w 677833"/>
                <a:gd name="connsiteY3" fmla="*/ 338917 h 677833"/>
                <a:gd name="connsiteX4" fmla="*/ 338917 w 677833"/>
                <a:gd name="connsiteY4" fmla="*/ 0 h 677833"/>
                <a:gd name="connsiteX5" fmla="*/ 338917 w 677833"/>
                <a:gd name="connsiteY5" fmla="*/ 619008 h 677833"/>
                <a:gd name="connsiteX6" fmla="*/ 58825 w 677833"/>
                <a:gd name="connsiteY6" fmla="*/ 338917 h 677833"/>
                <a:gd name="connsiteX7" fmla="*/ 338917 w 677833"/>
                <a:gd name="connsiteY7" fmla="*/ 58825 h 677833"/>
                <a:gd name="connsiteX8" fmla="*/ 619008 w 677833"/>
                <a:gd name="connsiteY8" fmla="*/ 338917 h 677833"/>
                <a:gd name="connsiteX9" fmla="*/ 338917 w 677833"/>
                <a:gd name="connsiteY9" fmla="*/ 619008 h 67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833" h="677833">
                  <a:moveTo>
                    <a:pt x="338917" y="0"/>
                  </a:moveTo>
                  <a:cubicBezTo>
                    <a:pt x="151829" y="0"/>
                    <a:pt x="0" y="151829"/>
                    <a:pt x="0" y="338917"/>
                  </a:cubicBezTo>
                  <a:cubicBezTo>
                    <a:pt x="0" y="526004"/>
                    <a:pt x="151829" y="677833"/>
                    <a:pt x="338917" y="677833"/>
                  </a:cubicBezTo>
                  <a:cubicBezTo>
                    <a:pt x="526004" y="677833"/>
                    <a:pt x="677833" y="526184"/>
                    <a:pt x="677833" y="338917"/>
                  </a:cubicBezTo>
                  <a:cubicBezTo>
                    <a:pt x="677833" y="151649"/>
                    <a:pt x="526184" y="0"/>
                    <a:pt x="338917" y="0"/>
                  </a:cubicBezTo>
                  <a:close/>
                  <a:moveTo>
                    <a:pt x="338917" y="619008"/>
                  </a:moveTo>
                  <a:cubicBezTo>
                    <a:pt x="184209" y="619008"/>
                    <a:pt x="58825" y="493624"/>
                    <a:pt x="58825" y="338917"/>
                  </a:cubicBezTo>
                  <a:cubicBezTo>
                    <a:pt x="58825" y="184209"/>
                    <a:pt x="184209" y="58825"/>
                    <a:pt x="338917" y="58825"/>
                  </a:cubicBezTo>
                  <a:cubicBezTo>
                    <a:pt x="493624" y="58825"/>
                    <a:pt x="619008" y="184209"/>
                    <a:pt x="619008" y="338917"/>
                  </a:cubicBezTo>
                  <a:cubicBezTo>
                    <a:pt x="619008" y="493624"/>
                    <a:pt x="493624" y="619008"/>
                    <a:pt x="338917" y="619008"/>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7" name="Freeform: Shape 42">
              <a:extLst>
                <a:ext uri="{FF2B5EF4-FFF2-40B4-BE49-F238E27FC236}">
                  <a16:creationId xmlns:a16="http://schemas.microsoft.com/office/drawing/2014/main" id="{FBDECF47-CED5-1263-9954-DBF9AB295A63}"/>
                </a:ext>
              </a:extLst>
            </p:cNvPr>
            <p:cNvSpPr/>
            <p:nvPr/>
          </p:nvSpPr>
          <p:spPr>
            <a:xfrm flipH="1">
              <a:off x="9102175" y="1434998"/>
              <a:ext cx="334239" cy="334239"/>
            </a:xfrm>
            <a:custGeom>
              <a:avLst/>
              <a:gdLst>
                <a:gd name="connsiteX0" fmla="*/ 167120 w 334239"/>
                <a:gd name="connsiteY0" fmla="*/ 0 h 334239"/>
                <a:gd name="connsiteX1" fmla="*/ 0 w 334239"/>
                <a:gd name="connsiteY1" fmla="*/ 167120 h 334239"/>
                <a:gd name="connsiteX2" fmla="*/ 167120 w 334239"/>
                <a:gd name="connsiteY2" fmla="*/ 334239 h 334239"/>
                <a:gd name="connsiteX3" fmla="*/ 334239 w 334239"/>
                <a:gd name="connsiteY3" fmla="*/ 167120 h 334239"/>
                <a:gd name="connsiteX4" fmla="*/ 167120 w 334239"/>
                <a:gd name="connsiteY4" fmla="*/ 0 h 334239"/>
                <a:gd name="connsiteX5" fmla="*/ 167120 w 334239"/>
                <a:gd name="connsiteY5" fmla="*/ 281351 h 334239"/>
                <a:gd name="connsiteX6" fmla="*/ 52888 w 334239"/>
                <a:gd name="connsiteY6" fmla="*/ 167120 h 334239"/>
                <a:gd name="connsiteX7" fmla="*/ 167120 w 334239"/>
                <a:gd name="connsiteY7" fmla="*/ 52888 h 334239"/>
                <a:gd name="connsiteX8" fmla="*/ 281351 w 334239"/>
                <a:gd name="connsiteY8" fmla="*/ 167120 h 334239"/>
                <a:gd name="connsiteX9" fmla="*/ 167120 w 334239"/>
                <a:gd name="connsiteY9" fmla="*/ 281351 h 33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239" h="334239">
                  <a:moveTo>
                    <a:pt x="167120" y="0"/>
                  </a:moveTo>
                  <a:cubicBezTo>
                    <a:pt x="74835" y="0"/>
                    <a:pt x="0" y="74835"/>
                    <a:pt x="0" y="167120"/>
                  </a:cubicBezTo>
                  <a:cubicBezTo>
                    <a:pt x="0" y="259404"/>
                    <a:pt x="74835" y="334239"/>
                    <a:pt x="167120" y="334239"/>
                  </a:cubicBezTo>
                  <a:cubicBezTo>
                    <a:pt x="259405" y="334239"/>
                    <a:pt x="334239" y="259404"/>
                    <a:pt x="334239" y="167120"/>
                  </a:cubicBezTo>
                  <a:cubicBezTo>
                    <a:pt x="334239" y="74835"/>
                    <a:pt x="259405" y="0"/>
                    <a:pt x="167120" y="0"/>
                  </a:cubicBezTo>
                  <a:close/>
                  <a:moveTo>
                    <a:pt x="167120" y="281351"/>
                  </a:moveTo>
                  <a:cubicBezTo>
                    <a:pt x="104158" y="281351"/>
                    <a:pt x="52888" y="230262"/>
                    <a:pt x="52888" y="167120"/>
                  </a:cubicBezTo>
                  <a:cubicBezTo>
                    <a:pt x="52888" y="103978"/>
                    <a:pt x="104158" y="52888"/>
                    <a:pt x="167120" y="52888"/>
                  </a:cubicBezTo>
                  <a:cubicBezTo>
                    <a:pt x="230082" y="52888"/>
                    <a:pt x="281351" y="104158"/>
                    <a:pt x="281351" y="167120"/>
                  </a:cubicBezTo>
                  <a:cubicBezTo>
                    <a:pt x="281351" y="230082"/>
                    <a:pt x="230262" y="281351"/>
                    <a:pt x="167120" y="281351"/>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8" name="Freeform: Shape 43">
              <a:extLst>
                <a:ext uri="{FF2B5EF4-FFF2-40B4-BE49-F238E27FC236}">
                  <a16:creationId xmlns:a16="http://schemas.microsoft.com/office/drawing/2014/main" id="{A7D683D5-27F9-55A9-1CDB-7B486D835525}"/>
                </a:ext>
              </a:extLst>
            </p:cNvPr>
            <p:cNvSpPr/>
            <p:nvPr/>
          </p:nvSpPr>
          <p:spPr>
            <a:xfrm flipH="1">
              <a:off x="11134328" y="2879711"/>
              <a:ext cx="347099" cy="363232"/>
            </a:xfrm>
            <a:custGeom>
              <a:avLst/>
              <a:gdLst>
                <a:gd name="connsiteX0" fmla="*/ 323086 w 347099"/>
                <a:gd name="connsiteY0" fmla="*/ 16010 h 363232"/>
                <a:gd name="connsiteX1" fmla="*/ 0 w 347099"/>
                <a:gd name="connsiteY1" fmla="*/ 339096 h 363232"/>
                <a:gd name="connsiteX2" fmla="*/ 276674 w 347099"/>
                <a:gd name="connsiteY2" fmla="*/ 292684 h 363232"/>
                <a:gd name="connsiteX3" fmla="*/ 314631 w 347099"/>
                <a:gd name="connsiteY3" fmla="*/ 0 h 363232"/>
                <a:gd name="connsiteX4" fmla="*/ 323086 w 347099"/>
                <a:gd name="connsiteY4" fmla="*/ 15831 h 363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9" h="363232">
                  <a:moveTo>
                    <a:pt x="323086" y="16010"/>
                  </a:moveTo>
                  <a:lnTo>
                    <a:pt x="0" y="339096"/>
                  </a:lnTo>
                  <a:cubicBezTo>
                    <a:pt x="90126" y="382630"/>
                    <a:pt x="202199" y="367340"/>
                    <a:pt x="276674" y="292684"/>
                  </a:cubicBezTo>
                  <a:cubicBezTo>
                    <a:pt x="355647" y="213712"/>
                    <a:pt x="368059" y="92644"/>
                    <a:pt x="314631" y="0"/>
                  </a:cubicBezTo>
                  <a:cubicBezTo>
                    <a:pt x="317689" y="5217"/>
                    <a:pt x="320388" y="10434"/>
                    <a:pt x="323086" y="15831"/>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9" name="Freeform: Shape 44">
              <a:extLst>
                <a:ext uri="{FF2B5EF4-FFF2-40B4-BE49-F238E27FC236}">
                  <a16:creationId xmlns:a16="http://schemas.microsoft.com/office/drawing/2014/main" id="{57363D35-7871-51F3-4438-4E24FBF9D3F8}"/>
                </a:ext>
              </a:extLst>
            </p:cNvPr>
            <p:cNvSpPr/>
            <p:nvPr/>
          </p:nvSpPr>
          <p:spPr>
            <a:xfrm flipH="1">
              <a:off x="11168776" y="2863161"/>
              <a:ext cx="8454" cy="13132"/>
            </a:xfrm>
            <a:custGeom>
              <a:avLst/>
              <a:gdLst>
                <a:gd name="connsiteX0" fmla="*/ 0 w 8454"/>
                <a:gd name="connsiteY0" fmla="*/ 0 h 13132"/>
                <a:gd name="connsiteX1" fmla="*/ 8455 w 8454"/>
                <a:gd name="connsiteY1" fmla="*/ 13132 h 13132"/>
                <a:gd name="connsiteX2" fmla="*/ 0 w 8454"/>
                <a:gd name="connsiteY2" fmla="*/ 0 h 13132"/>
              </a:gdLst>
              <a:ahLst/>
              <a:cxnLst>
                <a:cxn ang="0">
                  <a:pos x="connsiteX0" y="connsiteY0"/>
                </a:cxn>
                <a:cxn ang="0">
                  <a:pos x="connsiteX1" y="connsiteY1"/>
                </a:cxn>
                <a:cxn ang="0">
                  <a:pos x="connsiteX2" y="connsiteY2"/>
                </a:cxn>
              </a:cxnLst>
              <a:rect l="l" t="t" r="r" b="b"/>
              <a:pathLst>
                <a:path w="8454" h="13132">
                  <a:moveTo>
                    <a:pt x="0" y="0"/>
                  </a:moveTo>
                  <a:cubicBezTo>
                    <a:pt x="2878" y="4317"/>
                    <a:pt x="5757" y="8635"/>
                    <a:pt x="8455" y="13132"/>
                  </a:cubicBezTo>
                  <a:cubicBezTo>
                    <a:pt x="5757" y="8635"/>
                    <a:pt x="3058" y="4317"/>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45">
              <a:extLst>
                <a:ext uri="{FF2B5EF4-FFF2-40B4-BE49-F238E27FC236}">
                  <a16:creationId xmlns:a16="http://schemas.microsoft.com/office/drawing/2014/main" id="{E4F9F611-49FD-78DF-D45A-E3E1300B08A5}"/>
                </a:ext>
              </a:extLst>
            </p:cNvPr>
            <p:cNvSpPr/>
            <p:nvPr/>
          </p:nvSpPr>
          <p:spPr>
            <a:xfrm flipH="1">
              <a:off x="11182807" y="2846611"/>
              <a:ext cx="7015" cy="9354"/>
            </a:xfrm>
            <a:custGeom>
              <a:avLst/>
              <a:gdLst>
                <a:gd name="connsiteX0" fmla="*/ 0 w 7015"/>
                <a:gd name="connsiteY0" fmla="*/ 0 h 9354"/>
                <a:gd name="connsiteX1" fmla="*/ 7016 w 7015"/>
                <a:gd name="connsiteY1" fmla="*/ 9354 h 9354"/>
                <a:gd name="connsiteX2" fmla="*/ 0 w 7015"/>
                <a:gd name="connsiteY2" fmla="*/ 0 h 9354"/>
              </a:gdLst>
              <a:ahLst/>
              <a:cxnLst>
                <a:cxn ang="0">
                  <a:pos x="connsiteX0" y="connsiteY0"/>
                </a:cxn>
                <a:cxn ang="0">
                  <a:pos x="connsiteX1" y="connsiteY1"/>
                </a:cxn>
                <a:cxn ang="0">
                  <a:pos x="connsiteX2" y="connsiteY2"/>
                </a:cxn>
              </a:cxnLst>
              <a:rect l="l" t="t" r="r" b="b"/>
              <a:pathLst>
                <a:path w="7015" h="9354">
                  <a:moveTo>
                    <a:pt x="0" y="0"/>
                  </a:moveTo>
                  <a:cubicBezTo>
                    <a:pt x="2518" y="3058"/>
                    <a:pt x="4857" y="6116"/>
                    <a:pt x="7016" y="9354"/>
                  </a:cubicBezTo>
                  <a:cubicBezTo>
                    <a:pt x="4677" y="6296"/>
                    <a:pt x="2339" y="3058"/>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46">
              <a:extLst>
                <a:ext uri="{FF2B5EF4-FFF2-40B4-BE49-F238E27FC236}">
                  <a16:creationId xmlns:a16="http://schemas.microsoft.com/office/drawing/2014/main" id="{1AEC9D1A-6AAE-042F-1ADB-BE8D4544D14C}"/>
                </a:ext>
              </a:extLst>
            </p:cNvPr>
            <p:cNvSpPr/>
            <p:nvPr/>
          </p:nvSpPr>
          <p:spPr>
            <a:xfrm rot="2700000" flipH="1">
              <a:off x="11200464" y="2851149"/>
              <a:ext cx="484269" cy="166939"/>
            </a:xfrm>
            <a:custGeom>
              <a:avLst/>
              <a:gdLst>
                <a:gd name="connsiteX0" fmla="*/ 0 w 484269"/>
                <a:gd name="connsiteY0" fmla="*/ 0 h 166939"/>
                <a:gd name="connsiteX1" fmla="*/ 484270 w 484269"/>
                <a:gd name="connsiteY1" fmla="*/ 0 h 166939"/>
                <a:gd name="connsiteX2" fmla="*/ 484270 w 484269"/>
                <a:gd name="connsiteY2" fmla="*/ 166940 h 166939"/>
                <a:gd name="connsiteX3" fmla="*/ 0 w 484269"/>
                <a:gd name="connsiteY3" fmla="*/ 166940 h 166939"/>
              </a:gdLst>
              <a:ahLst/>
              <a:cxnLst>
                <a:cxn ang="0">
                  <a:pos x="connsiteX0" y="connsiteY0"/>
                </a:cxn>
                <a:cxn ang="0">
                  <a:pos x="connsiteX1" y="connsiteY1"/>
                </a:cxn>
                <a:cxn ang="0">
                  <a:pos x="connsiteX2" y="connsiteY2"/>
                </a:cxn>
                <a:cxn ang="0">
                  <a:pos x="connsiteX3" y="connsiteY3"/>
                </a:cxn>
              </a:cxnLst>
              <a:rect l="l" t="t" r="r" b="b"/>
              <a:pathLst>
                <a:path w="484269" h="166939">
                  <a:moveTo>
                    <a:pt x="0" y="0"/>
                  </a:moveTo>
                  <a:lnTo>
                    <a:pt x="484270" y="0"/>
                  </a:lnTo>
                  <a:lnTo>
                    <a:pt x="484270" y="166940"/>
                  </a:lnTo>
                  <a:lnTo>
                    <a:pt x="0" y="166940"/>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2" name="Freeform: Shape 47">
              <a:extLst>
                <a:ext uri="{FF2B5EF4-FFF2-40B4-BE49-F238E27FC236}">
                  <a16:creationId xmlns:a16="http://schemas.microsoft.com/office/drawing/2014/main" id="{42FAB161-C6E7-0096-181A-BE981DA57E46}"/>
                </a:ext>
              </a:extLst>
            </p:cNvPr>
            <p:cNvSpPr/>
            <p:nvPr/>
          </p:nvSpPr>
          <p:spPr>
            <a:xfrm flipH="1">
              <a:off x="11521363" y="3187326"/>
              <a:ext cx="9174" cy="7016"/>
            </a:xfrm>
            <a:custGeom>
              <a:avLst/>
              <a:gdLst>
                <a:gd name="connsiteX0" fmla="*/ 9174 w 9174"/>
                <a:gd name="connsiteY0" fmla="*/ 7016 h 7016"/>
                <a:gd name="connsiteX1" fmla="*/ 0 w 9174"/>
                <a:gd name="connsiteY1" fmla="*/ 0 h 7016"/>
                <a:gd name="connsiteX2" fmla="*/ 9174 w 9174"/>
                <a:gd name="connsiteY2" fmla="*/ 7016 h 7016"/>
              </a:gdLst>
              <a:ahLst/>
              <a:cxnLst>
                <a:cxn ang="0">
                  <a:pos x="connsiteX0" y="connsiteY0"/>
                </a:cxn>
                <a:cxn ang="0">
                  <a:pos x="connsiteX1" y="connsiteY1"/>
                </a:cxn>
                <a:cxn ang="0">
                  <a:pos x="connsiteX2" y="connsiteY2"/>
                </a:cxn>
              </a:cxnLst>
              <a:rect l="l" t="t" r="r" b="b"/>
              <a:pathLst>
                <a:path w="9174" h="7016">
                  <a:moveTo>
                    <a:pt x="9174" y="7016"/>
                  </a:moveTo>
                  <a:cubicBezTo>
                    <a:pt x="6116" y="4677"/>
                    <a:pt x="3058" y="2519"/>
                    <a:pt x="0" y="0"/>
                  </a:cubicBezTo>
                  <a:cubicBezTo>
                    <a:pt x="3058" y="2519"/>
                    <a:pt x="6116" y="4677"/>
                    <a:pt x="9174" y="701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Shape 48">
              <a:extLst>
                <a:ext uri="{FF2B5EF4-FFF2-40B4-BE49-F238E27FC236}">
                  <a16:creationId xmlns:a16="http://schemas.microsoft.com/office/drawing/2014/main" id="{02793FBA-EBE7-8D0B-0250-0B69EE6D1906}"/>
                </a:ext>
              </a:extLst>
            </p:cNvPr>
            <p:cNvSpPr/>
            <p:nvPr/>
          </p:nvSpPr>
          <p:spPr>
            <a:xfrm flipH="1">
              <a:off x="11500856" y="3199919"/>
              <a:ext cx="12952" cy="8274"/>
            </a:xfrm>
            <a:custGeom>
              <a:avLst/>
              <a:gdLst>
                <a:gd name="connsiteX0" fmla="*/ 12952 w 12952"/>
                <a:gd name="connsiteY0" fmla="*/ 8275 h 8274"/>
                <a:gd name="connsiteX1" fmla="*/ 0 w 12952"/>
                <a:gd name="connsiteY1" fmla="*/ 0 h 8274"/>
                <a:gd name="connsiteX2" fmla="*/ 12952 w 12952"/>
                <a:gd name="connsiteY2" fmla="*/ 8275 h 8274"/>
              </a:gdLst>
              <a:ahLst/>
              <a:cxnLst>
                <a:cxn ang="0">
                  <a:pos x="connsiteX0" y="connsiteY0"/>
                </a:cxn>
                <a:cxn ang="0">
                  <a:pos x="connsiteX1" y="connsiteY1"/>
                </a:cxn>
                <a:cxn ang="0">
                  <a:pos x="connsiteX2" y="connsiteY2"/>
                </a:cxn>
              </a:cxnLst>
              <a:rect l="l" t="t" r="r" b="b"/>
              <a:pathLst>
                <a:path w="12952" h="8274">
                  <a:moveTo>
                    <a:pt x="12952" y="8275"/>
                  </a:moveTo>
                  <a:cubicBezTo>
                    <a:pt x="8635" y="5577"/>
                    <a:pt x="4138" y="2878"/>
                    <a:pt x="0" y="0"/>
                  </a:cubicBezTo>
                  <a:cubicBezTo>
                    <a:pt x="4317" y="2878"/>
                    <a:pt x="8635" y="5756"/>
                    <a:pt x="12952" y="8275"/>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Shape 49">
              <a:extLst>
                <a:ext uri="{FF2B5EF4-FFF2-40B4-BE49-F238E27FC236}">
                  <a16:creationId xmlns:a16="http://schemas.microsoft.com/office/drawing/2014/main" id="{97E67AA4-DFBA-8FDD-2324-B5E0395EDD76}"/>
                </a:ext>
              </a:extLst>
            </p:cNvPr>
            <p:cNvSpPr/>
            <p:nvPr/>
          </p:nvSpPr>
          <p:spPr>
            <a:xfrm flipH="1">
              <a:off x="11481427" y="3210353"/>
              <a:ext cx="15830" cy="8454"/>
            </a:xfrm>
            <a:custGeom>
              <a:avLst/>
              <a:gdLst>
                <a:gd name="connsiteX0" fmla="*/ 15831 w 15830"/>
                <a:gd name="connsiteY0" fmla="*/ 8455 h 8454"/>
                <a:gd name="connsiteX1" fmla="*/ 0 w 15830"/>
                <a:gd name="connsiteY1" fmla="*/ 0 h 8454"/>
                <a:gd name="connsiteX2" fmla="*/ 15831 w 15830"/>
                <a:gd name="connsiteY2" fmla="*/ 8455 h 8454"/>
              </a:gdLst>
              <a:ahLst/>
              <a:cxnLst>
                <a:cxn ang="0">
                  <a:pos x="connsiteX0" y="connsiteY0"/>
                </a:cxn>
                <a:cxn ang="0">
                  <a:pos x="connsiteX1" y="connsiteY1"/>
                </a:cxn>
                <a:cxn ang="0">
                  <a:pos x="connsiteX2" y="connsiteY2"/>
                </a:cxn>
              </a:cxnLst>
              <a:rect l="l" t="t" r="r" b="b"/>
              <a:pathLst>
                <a:path w="15830" h="8454">
                  <a:moveTo>
                    <a:pt x="15831" y="8455"/>
                  </a:moveTo>
                  <a:cubicBezTo>
                    <a:pt x="10434" y="5936"/>
                    <a:pt x="5217" y="3058"/>
                    <a:pt x="0" y="0"/>
                  </a:cubicBezTo>
                  <a:cubicBezTo>
                    <a:pt x="5217" y="3058"/>
                    <a:pt x="10434" y="5756"/>
                    <a:pt x="15831" y="8455"/>
                  </a:cubicBezTo>
                  <a:close/>
                </a:path>
              </a:pathLst>
            </a:custGeom>
            <a:gradFill>
              <a:gsLst>
                <a:gs pos="0">
                  <a:srgbClr val="0098FF"/>
                </a:gs>
                <a:gs pos="50000">
                  <a:srgbClr val="00BCFF"/>
                </a:gs>
                <a:gs pos="100000">
                  <a:srgbClr val="00E1FF"/>
                </a:gs>
              </a:gsLst>
              <a:lin ang="1349983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Shape 50">
              <a:extLst>
                <a:ext uri="{FF2B5EF4-FFF2-40B4-BE49-F238E27FC236}">
                  <a16:creationId xmlns:a16="http://schemas.microsoft.com/office/drawing/2014/main" id="{0BAE3C18-70B9-E263-BDB5-8672B7B911CE}"/>
                </a:ext>
              </a:extLst>
            </p:cNvPr>
            <p:cNvSpPr/>
            <p:nvPr/>
          </p:nvSpPr>
          <p:spPr>
            <a:xfrm flipH="1">
              <a:off x="11394000" y="2459124"/>
              <a:ext cx="460343" cy="524025"/>
            </a:xfrm>
            <a:custGeom>
              <a:avLst/>
              <a:gdLst>
                <a:gd name="connsiteX0" fmla="*/ 0 w 460343"/>
                <a:gd name="connsiteY0" fmla="*/ 406016 h 524025"/>
                <a:gd name="connsiteX1" fmla="*/ 118009 w 460343"/>
                <a:gd name="connsiteY1" fmla="*/ 524026 h 524025"/>
                <a:gd name="connsiteX2" fmla="*/ 460344 w 460343"/>
                <a:gd name="connsiteY2" fmla="*/ 181691 h 524025"/>
                <a:gd name="connsiteX3" fmla="*/ 278833 w 460343"/>
                <a:gd name="connsiteY3" fmla="*/ 0 h 524025"/>
                <a:gd name="connsiteX4" fmla="*/ 342335 w 460343"/>
                <a:gd name="connsiteY4" fmla="*/ 63682 h 524025"/>
                <a:gd name="connsiteX5" fmla="*/ 0 w 46034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343" h="524025">
                  <a:moveTo>
                    <a:pt x="0" y="406016"/>
                  </a:moveTo>
                  <a:lnTo>
                    <a:pt x="118009" y="524026"/>
                  </a:lnTo>
                  <a:lnTo>
                    <a:pt x="460344" y="181691"/>
                  </a:lnTo>
                  <a:lnTo>
                    <a:pt x="278833" y="0"/>
                  </a:lnTo>
                  <a:lnTo>
                    <a:pt x="342335" y="63682"/>
                  </a:lnTo>
                  <a:lnTo>
                    <a:pt x="0" y="406016"/>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6" name="Freeform: Shape 51">
              <a:extLst>
                <a:ext uri="{FF2B5EF4-FFF2-40B4-BE49-F238E27FC236}">
                  <a16:creationId xmlns:a16="http://schemas.microsoft.com/office/drawing/2014/main" id="{A8DB4DAB-E567-81E3-0478-FF4297E5D92B}"/>
                </a:ext>
              </a:extLst>
            </p:cNvPr>
            <p:cNvSpPr/>
            <p:nvPr/>
          </p:nvSpPr>
          <p:spPr>
            <a:xfrm flipH="1">
              <a:off x="11575511" y="2277433"/>
              <a:ext cx="460523" cy="524025"/>
            </a:xfrm>
            <a:custGeom>
              <a:avLst/>
              <a:gdLst>
                <a:gd name="connsiteX0" fmla="*/ 0 w 460523"/>
                <a:gd name="connsiteY0" fmla="*/ 406016 h 524025"/>
                <a:gd name="connsiteX1" fmla="*/ 118009 w 460523"/>
                <a:gd name="connsiteY1" fmla="*/ 524025 h 524025"/>
                <a:gd name="connsiteX2" fmla="*/ 460524 w 460523"/>
                <a:gd name="connsiteY2" fmla="*/ 181691 h 524025"/>
                <a:gd name="connsiteX3" fmla="*/ 278833 w 460523"/>
                <a:gd name="connsiteY3" fmla="*/ 0 h 524025"/>
                <a:gd name="connsiteX4" fmla="*/ 342514 w 460523"/>
                <a:gd name="connsiteY4" fmla="*/ 63682 h 524025"/>
                <a:gd name="connsiteX5" fmla="*/ 0 w 46052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523" h="524025">
                  <a:moveTo>
                    <a:pt x="0" y="406016"/>
                  </a:moveTo>
                  <a:lnTo>
                    <a:pt x="118009" y="524025"/>
                  </a:lnTo>
                  <a:lnTo>
                    <a:pt x="460524" y="181691"/>
                  </a:lnTo>
                  <a:lnTo>
                    <a:pt x="278833" y="0"/>
                  </a:lnTo>
                  <a:lnTo>
                    <a:pt x="342514" y="63682"/>
                  </a:lnTo>
                  <a:lnTo>
                    <a:pt x="0" y="406016"/>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7" name="Freeform: Shape 52">
              <a:extLst>
                <a:ext uri="{FF2B5EF4-FFF2-40B4-BE49-F238E27FC236}">
                  <a16:creationId xmlns:a16="http://schemas.microsoft.com/office/drawing/2014/main" id="{E669FF5B-FD42-D3E5-08B5-8EF27889B7FA}"/>
                </a:ext>
              </a:extLst>
            </p:cNvPr>
            <p:cNvSpPr/>
            <p:nvPr/>
          </p:nvSpPr>
          <p:spPr>
            <a:xfrm flipH="1">
              <a:off x="12120404" y="1853067"/>
              <a:ext cx="61163" cy="122326"/>
            </a:xfrm>
            <a:custGeom>
              <a:avLst/>
              <a:gdLst>
                <a:gd name="connsiteX0" fmla="*/ 61163 w 61163"/>
                <a:gd name="connsiteY0" fmla="*/ 61163 h 122326"/>
                <a:gd name="connsiteX1" fmla="*/ 0 w 61163"/>
                <a:gd name="connsiteY1" fmla="*/ 122327 h 122326"/>
                <a:gd name="connsiteX2" fmla="*/ 0 w 61163"/>
                <a:gd name="connsiteY2" fmla="*/ 0 h 122326"/>
                <a:gd name="connsiteX3" fmla="*/ 61163 w 61163"/>
                <a:gd name="connsiteY3" fmla="*/ 61163 h 122326"/>
              </a:gdLst>
              <a:ahLst/>
              <a:cxnLst>
                <a:cxn ang="0">
                  <a:pos x="connsiteX0" y="connsiteY0"/>
                </a:cxn>
                <a:cxn ang="0">
                  <a:pos x="connsiteX1" y="connsiteY1"/>
                </a:cxn>
                <a:cxn ang="0">
                  <a:pos x="connsiteX2" y="connsiteY2"/>
                </a:cxn>
                <a:cxn ang="0">
                  <a:pos x="connsiteX3" y="connsiteY3"/>
                </a:cxn>
              </a:cxnLst>
              <a:rect l="l" t="t" r="r" b="b"/>
              <a:pathLst>
                <a:path w="61163" h="122326">
                  <a:moveTo>
                    <a:pt x="61163" y="61163"/>
                  </a:moveTo>
                  <a:lnTo>
                    <a:pt x="0" y="122327"/>
                  </a:lnTo>
                  <a:lnTo>
                    <a:pt x="0" y="0"/>
                  </a:lnTo>
                  <a:lnTo>
                    <a:pt x="61163" y="61163"/>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8" name="Freeform: Shape 53">
              <a:extLst>
                <a:ext uri="{FF2B5EF4-FFF2-40B4-BE49-F238E27FC236}">
                  <a16:creationId xmlns:a16="http://schemas.microsoft.com/office/drawing/2014/main" id="{42BDB9DF-6FE4-3FE5-7ECD-58AD508D384C}"/>
                </a:ext>
              </a:extLst>
            </p:cNvPr>
            <p:cNvSpPr/>
            <p:nvPr/>
          </p:nvSpPr>
          <p:spPr>
            <a:xfrm flipH="1">
              <a:off x="11938893" y="1977912"/>
              <a:ext cx="242674" cy="360683"/>
            </a:xfrm>
            <a:custGeom>
              <a:avLst/>
              <a:gdLst>
                <a:gd name="connsiteX0" fmla="*/ 0 w 242674"/>
                <a:gd name="connsiteY0" fmla="*/ 360684 h 360683"/>
                <a:gd name="connsiteX1" fmla="*/ 0 w 242674"/>
                <a:gd name="connsiteY1" fmla="*/ 124665 h 360683"/>
                <a:gd name="connsiteX2" fmla="*/ 124665 w 242674"/>
                <a:gd name="connsiteY2" fmla="*/ 0 h 360683"/>
                <a:gd name="connsiteX3" fmla="*/ 242674 w 242674"/>
                <a:gd name="connsiteY3" fmla="*/ 118009 h 360683"/>
                <a:gd name="connsiteX4" fmla="*/ 0 w 242674"/>
                <a:gd name="connsiteY4" fmla="*/ 360684 h 36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674" h="360683">
                  <a:moveTo>
                    <a:pt x="0" y="360684"/>
                  </a:moveTo>
                  <a:lnTo>
                    <a:pt x="0" y="124665"/>
                  </a:lnTo>
                  <a:lnTo>
                    <a:pt x="124665" y="0"/>
                  </a:lnTo>
                  <a:lnTo>
                    <a:pt x="242674" y="118009"/>
                  </a:lnTo>
                  <a:lnTo>
                    <a:pt x="0" y="360684"/>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9" name="Freeform: Shape 54">
              <a:extLst>
                <a:ext uri="{FF2B5EF4-FFF2-40B4-BE49-F238E27FC236}">
                  <a16:creationId xmlns:a16="http://schemas.microsoft.com/office/drawing/2014/main" id="{EB5A16A6-1D30-EF35-8F3B-1B6C932C7D00}"/>
                </a:ext>
              </a:extLst>
            </p:cNvPr>
            <p:cNvSpPr/>
            <p:nvPr/>
          </p:nvSpPr>
          <p:spPr>
            <a:xfrm flipH="1">
              <a:off x="11757201" y="2159423"/>
              <a:ext cx="434799" cy="460523"/>
            </a:xfrm>
            <a:custGeom>
              <a:avLst/>
              <a:gdLst>
                <a:gd name="connsiteX0" fmla="*/ 434799 w 434799"/>
                <a:gd name="connsiteY0" fmla="*/ 118009 h 460523"/>
                <a:gd name="connsiteX1" fmla="*/ 354387 w 434799"/>
                <a:gd name="connsiteY1" fmla="*/ 198601 h 460523"/>
                <a:gd name="connsiteX2" fmla="*/ 283150 w 434799"/>
                <a:gd name="connsiteY2" fmla="*/ 269658 h 460523"/>
                <a:gd name="connsiteX3" fmla="*/ 282610 w 434799"/>
                <a:gd name="connsiteY3" fmla="*/ 270198 h 460523"/>
                <a:gd name="connsiteX4" fmla="*/ 92465 w 434799"/>
                <a:gd name="connsiteY4" fmla="*/ 460524 h 460523"/>
                <a:gd name="connsiteX5" fmla="*/ 0 w 434799"/>
                <a:gd name="connsiteY5" fmla="*/ 368059 h 460523"/>
                <a:gd name="connsiteX6" fmla="*/ 0 w 434799"/>
                <a:gd name="connsiteY6" fmla="*/ 316970 h 460523"/>
                <a:gd name="connsiteX7" fmla="*/ 10434 w 434799"/>
                <a:gd name="connsiteY7" fmla="*/ 306536 h 460523"/>
                <a:gd name="connsiteX8" fmla="*/ 164601 w 434799"/>
                <a:gd name="connsiteY8" fmla="*/ 152189 h 460523"/>
                <a:gd name="connsiteX9" fmla="*/ 165141 w 434799"/>
                <a:gd name="connsiteY9" fmla="*/ 151649 h 460523"/>
                <a:gd name="connsiteX10" fmla="*/ 236378 w 434799"/>
                <a:gd name="connsiteY10" fmla="*/ 80592 h 460523"/>
                <a:gd name="connsiteX11" fmla="*/ 316790 w 434799"/>
                <a:gd name="connsiteY11" fmla="*/ 0 h 460523"/>
                <a:gd name="connsiteX12" fmla="*/ 434799 w 434799"/>
                <a:gd name="connsiteY12" fmla="*/ 118009 h 46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99" h="460523">
                  <a:moveTo>
                    <a:pt x="434799" y="118009"/>
                  </a:moveTo>
                  <a:lnTo>
                    <a:pt x="354387" y="198601"/>
                  </a:lnTo>
                  <a:lnTo>
                    <a:pt x="283150" y="269658"/>
                  </a:lnTo>
                  <a:lnTo>
                    <a:pt x="282610" y="270198"/>
                  </a:lnTo>
                  <a:lnTo>
                    <a:pt x="92465" y="460524"/>
                  </a:lnTo>
                  <a:lnTo>
                    <a:pt x="0" y="368059"/>
                  </a:lnTo>
                  <a:lnTo>
                    <a:pt x="0" y="316970"/>
                  </a:lnTo>
                  <a:lnTo>
                    <a:pt x="10434" y="306536"/>
                  </a:lnTo>
                  <a:lnTo>
                    <a:pt x="164601" y="152189"/>
                  </a:lnTo>
                  <a:lnTo>
                    <a:pt x="165141" y="151649"/>
                  </a:lnTo>
                  <a:lnTo>
                    <a:pt x="236378" y="80592"/>
                  </a:lnTo>
                  <a:lnTo>
                    <a:pt x="316790" y="0"/>
                  </a:lnTo>
                  <a:lnTo>
                    <a:pt x="434799" y="118009"/>
                  </a:ln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0" name="Freeform: Shape 55">
              <a:extLst>
                <a:ext uri="{FF2B5EF4-FFF2-40B4-BE49-F238E27FC236}">
                  <a16:creationId xmlns:a16="http://schemas.microsoft.com/office/drawing/2014/main" id="{2365DB64-5EF8-F092-36F1-32CE093CEDA7}"/>
                </a:ext>
              </a:extLst>
            </p:cNvPr>
            <p:cNvSpPr/>
            <p:nvPr/>
          </p:nvSpPr>
          <p:spPr>
            <a:xfrm flipH="1">
              <a:off x="7806503" y="354837"/>
              <a:ext cx="707695" cy="707695"/>
            </a:xfrm>
            <a:custGeom>
              <a:avLst/>
              <a:gdLst>
                <a:gd name="connsiteX0" fmla="*/ 41285 w 707695"/>
                <a:gd name="connsiteY0" fmla="*/ 41285 h 707695"/>
                <a:gd name="connsiteX1" fmla="*/ 41285 w 707695"/>
                <a:gd name="connsiteY1" fmla="*/ 41285 h 707695"/>
                <a:gd name="connsiteX2" fmla="*/ 240426 w 707695"/>
                <a:gd name="connsiteY2" fmla="*/ 41285 h 707695"/>
                <a:gd name="connsiteX3" fmla="*/ 666410 w 707695"/>
                <a:gd name="connsiteY3" fmla="*/ 467270 h 707695"/>
                <a:gd name="connsiteX4" fmla="*/ 666410 w 707695"/>
                <a:gd name="connsiteY4" fmla="*/ 666410 h 707695"/>
                <a:gd name="connsiteX5" fmla="*/ 666410 w 707695"/>
                <a:gd name="connsiteY5" fmla="*/ 666410 h 707695"/>
                <a:gd name="connsiteX6" fmla="*/ 467270 w 707695"/>
                <a:gd name="connsiteY6" fmla="*/ 666410 h 707695"/>
                <a:gd name="connsiteX7" fmla="*/ 41285 w 707695"/>
                <a:gd name="connsiteY7" fmla="*/ 240426 h 707695"/>
                <a:gd name="connsiteX8" fmla="*/ 41285 w 707695"/>
                <a:gd name="connsiteY8" fmla="*/ 41285 h 70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7695" h="707695">
                  <a:moveTo>
                    <a:pt x="41285" y="41285"/>
                  </a:moveTo>
                  <a:lnTo>
                    <a:pt x="41285" y="41285"/>
                  </a:lnTo>
                  <a:cubicBezTo>
                    <a:pt x="96332" y="-13762"/>
                    <a:pt x="185559" y="-13762"/>
                    <a:pt x="240426" y="41285"/>
                  </a:cubicBezTo>
                  <a:lnTo>
                    <a:pt x="666410" y="467270"/>
                  </a:lnTo>
                  <a:cubicBezTo>
                    <a:pt x="721457" y="522317"/>
                    <a:pt x="721457" y="611543"/>
                    <a:pt x="666410" y="666410"/>
                  </a:cubicBezTo>
                  <a:lnTo>
                    <a:pt x="666410" y="666410"/>
                  </a:lnTo>
                  <a:cubicBezTo>
                    <a:pt x="611363" y="721457"/>
                    <a:pt x="522137" y="721457"/>
                    <a:pt x="467270" y="666410"/>
                  </a:cubicBezTo>
                  <a:lnTo>
                    <a:pt x="41285" y="240426"/>
                  </a:lnTo>
                  <a:cubicBezTo>
                    <a:pt x="-13762" y="185379"/>
                    <a:pt x="-13762" y="96152"/>
                    <a:pt x="41285" y="4128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6">
              <a:extLst>
                <a:ext uri="{FF2B5EF4-FFF2-40B4-BE49-F238E27FC236}">
                  <a16:creationId xmlns:a16="http://schemas.microsoft.com/office/drawing/2014/main" id="{30EDCCE0-0826-6A77-C28F-67B25222B174}"/>
                </a:ext>
              </a:extLst>
            </p:cNvPr>
            <p:cNvSpPr/>
            <p:nvPr/>
          </p:nvSpPr>
          <p:spPr>
            <a:xfrm flipH="1">
              <a:off x="11297757" y="5693582"/>
              <a:ext cx="554787" cy="554787"/>
            </a:xfrm>
            <a:custGeom>
              <a:avLst/>
              <a:gdLst>
                <a:gd name="connsiteX0" fmla="*/ 32381 w 554787"/>
                <a:gd name="connsiteY0" fmla="*/ 32380 h 554787"/>
                <a:gd name="connsiteX1" fmla="*/ 32381 w 554787"/>
                <a:gd name="connsiteY1" fmla="*/ 32380 h 554787"/>
                <a:gd name="connsiteX2" fmla="*/ 188527 w 554787"/>
                <a:gd name="connsiteY2" fmla="*/ 32380 h 554787"/>
                <a:gd name="connsiteX3" fmla="*/ 522406 w 554787"/>
                <a:gd name="connsiteY3" fmla="*/ 366260 h 554787"/>
                <a:gd name="connsiteX4" fmla="*/ 522406 w 554787"/>
                <a:gd name="connsiteY4" fmla="*/ 522407 h 554787"/>
                <a:gd name="connsiteX5" fmla="*/ 522406 w 554787"/>
                <a:gd name="connsiteY5" fmla="*/ 522407 h 554787"/>
                <a:gd name="connsiteX6" fmla="*/ 366260 w 554787"/>
                <a:gd name="connsiteY6" fmla="*/ 522407 h 554787"/>
                <a:gd name="connsiteX7" fmla="*/ 32381 w 554787"/>
                <a:gd name="connsiteY7" fmla="*/ 188527 h 554787"/>
                <a:gd name="connsiteX8" fmla="*/ 32381 w 554787"/>
                <a:gd name="connsiteY8" fmla="*/ 32380 h 55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7" h="554787">
                  <a:moveTo>
                    <a:pt x="32381" y="32380"/>
                  </a:moveTo>
                  <a:lnTo>
                    <a:pt x="32381" y="32380"/>
                  </a:lnTo>
                  <a:cubicBezTo>
                    <a:pt x="75555" y="-10793"/>
                    <a:pt x="145353" y="-10793"/>
                    <a:pt x="188527" y="32380"/>
                  </a:cubicBezTo>
                  <a:lnTo>
                    <a:pt x="522406" y="366260"/>
                  </a:lnTo>
                  <a:cubicBezTo>
                    <a:pt x="565581" y="409435"/>
                    <a:pt x="565581" y="479233"/>
                    <a:pt x="522406" y="522407"/>
                  </a:cubicBezTo>
                  <a:lnTo>
                    <a:pt x="522406" y="522407"/>
                  </a:lnTo>
                  <a:cubicBezTo>
                    <a:pt x="479232" y="565581"/>
                    <a:pt x="409434" y="565581"/>
                    <a:pt x="366260" y="522407"/>
                  </a:cubicBezTo>
                  <a:lnTo>
                    <a:pt x="32381" y="188527"/>
                  </a:lnTo>
                  <a:cubicBezTo>
                    <a:pt x="-10794" y="145353"/>
                    <a:pt x="-10794" y="75555"/>
                    <a:pt x="32381" y="32380"/>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2" name="Freeform: Shape 57">
              <a:extLst>
                <a:ext uri="{FF2B5EF4-FFF2-40B4-BE49-F238E27FC236}">
                  <a16:creationId xmlns:a16="http://schemas.microsoft.com/office/drawing/2014/main" id="{946FC67F-A3C9-609B-DBE6-60A87F5EF543}"/>
                </a:ext>
              </a:extLst>
            </p:cNvPr>
            <p:cNvSpPr/>
            <p:nvPr/>
          </p:nvSpPr>
          <p:spPr>
            <a:xfrm flipH="1">
              <a:off x="9049287" y="5732619"/>
              <a:ext cx="2108694" cy="1182429"/>
            </a:xfrm>
            <a:custGeom>
              <a:avLst/>
              <a:gdLst>
                <a:gd name="connsiteX0" fmla="*/ 2108695 w 2108694"/>
                <a:gd name="connsiteY0" fmla="*/ 1054347 h 1182429"/>
                <a:gd name="connsiteX1" fmla="*/ 2100959 w 2108694"/>
                <a:gd name="connsiteY1" fmla="*/ 1182430 h 1182429"/>
                <a:gd name="connsiteX2" fmla="*/ 7735 w 2108694"/>
                <a:gd name="connsiteY2" fmla="*/ 1182430 h 1182429"/>
                <a:gd name="connsiteX3" fmla="*/ 0 w 2108694"/>
                <a:gd name="connsiteY3" fmla="*/ 1054347 h 1182429"/>
                <a:gd name="connsiteX4" fmla="*/ 91565 w 2108694"/>
                <a:gd name="connsiteY4" fmla="*/ 624405 h 1182429"/>
                <a:gd name="connsiteX5" fmla="*/ 686468 w 2108694"/>
                <a:gd name="connsiteY5" fmla="*/ 66020 h 1182429"/>
                <a:gd name="connsiteX6" fmla="*/ 1054347 w 2108694"/>
                <a:gd name="connsiteY6" fmla="*/ 0 h 1182429"/>
                <a:gd name="connsiteX7" fmla="*/ 2108695 w 2108694"/>
                <a:gd name="connsiteY7" fmla="*/ 1054347 h 118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8694" h="1182429">
                  <a:moveTo>
                    <a:pt x="2108695" y="1054347"/>
                  </a:moveTo>
                  <a:cubicBezTo>
                    <a:pt x="2108695" y="1097701"/>
                    <a:pt x="2105996" y="1140515"/>
                    <a:pt x="2100959" y="1182430"/>
                  </a:cubicBezTo>
                  <a:lnTo>
                    <a:pt x="7735" y="1182430"/>
                  </a:lnTo>
                  <a:cubicBezTo>
                    <a:pt x="2698" y="1140515"/>
                    <a:pt x="0" y="1097701"/>
                    <a:pt x="0" y="1054347"/>
                  </a:cubicBezTo>
                  <a:cubicBezTo>
                    <a:pt x="0" y="901079"/>
                    <a:pt x="32560" y="755726"/>
                    <a:pt x="91565" y="624405"/>
                  </a:cubicBezTo>
                  <a:cubicBezTo>
                    <a:pt x="206336" y="367339"/>
                    <a:pt x="421127" y="164781"/>
                    <a:pt x="686468" y="66020"/>
                  </a:cubicBezTo>
                  <a:cubicBezTo>
                    <a:pt x="801059" y="23386"/>
                    <a:pt x="925005" y="0"/>
                    <a:pt x="1054347" y="0"/>
                  </a:cubicBezTo>
                  <a:cubicBezTo>
                    <a:pt x="1636658" y="0"/>
                    <a:pt x="2108695" y="472037"/>
                    <a:pt x="2108695" y="105434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8">
              <a:extLst>
                <a:ext uri="{FF2B5EF4-FFF2-40B4-BE49-F238E27FC236}">
                  <a16:creationId xmlns:a16="http://schemas.microsoft.com/office/drawing/2014/main" id="{9207EE5A-2C0E-F9AA-ACF6-8A44FE475955}"/>
                </a:ext>
              </a:extLst>
            </p:cNvPr>
            <p:cNvSpPr/>
            <p:nvPr/>
          </p:nvSpPr>
          <p:spPr>
            <a:xfrm flipH="1">
              <a:off x="6431498" y="3279971"/>
              <a:ext cx="480851" cy="480851"/>
            </a:xfrm>
            <a:custGeom>
              <a:avLst/>
              <a:gdLst>
                <a:gd name="connsiteX0" fmla="*/ 480492 w 480851"/>
                <a:gd name="connsiteY0" fmla="*/ 228103 h 480851"/>
                <a:gd name="connsiteX1" fmla="*/ 480492 w 480851"/>
                <a:gd name="connsiteY1" fmla="*/ 228103 h 480851"/>
                <a:gd name="connsiteX2" fmla="*/ 240336 w 480851"/>
                <a:gd name="connsiteY2" fmla="*/ 0 h 480851"/>
                <a:gd name="connsiteX3" fmla="*/ 105057 w 480851"/>
                <a:gd name="connsiteY3" fmla="*/ 41735 h 480851"/>
                <a:gd name="connsiteX4" fmla="*/ 103258 w 480851"/>
                <a:gd name="connsiteY4" fmla="*/ 42994 h 480851"/>
                <a:gd name="connsiteX5" fmla="*/ 0 w 480851"/>
                <a:gd name="connsiteY5" fmla="*/ 240516 h 480851"/>
                <a:gd name="connsiteX6" fmla="*/ 240336 w 480851"/>
                <a:gd name="connsiteY6" fmla="*/ 480851 h 480851"/>
                <a:gd name="connsiteX7" fmla="*/ 437857 w 480851"/>
                <a:gd name="connsiteY7" fmla="*/ 377593 h 480851"/>
                <a:gd name="connsiteX8" fmla="*/ 442715 w 480851"/>
                <a:gd name="connsiteY8" fmla="*/ 370038 h 480851"/>
                <a:gd name="connsiteX9" fmla="*/ 471677 w 480851"/>
                <a:gd name="connsiteY9" fmla="*/ 306176 h 480851"/>
                <a:gd name="connsiteX10" fmla="*/ 480852 w 480851"/>
                <a:gd name="connsiteY10" fmla="*/ 240516 h 480851"/>
                <a:gd name="connsiteX11" fmla="*/ 480492 w 480851"/>
                <a:gd name="connsiteY11" fmla="*/ 228103 h 480851"/>
                <a:gd name="connsiteX12" fmla="*/ 240336 w 480851"/>
                <a:gd name="connsiteY12" fmla="*/ 340356 h 480851"/>
                <a:gd name="connsiteX13" fmla="*/ 140496 w 480851"/>
                <a:gd name="connsiteY13" fmla="*/ 240516 h 480851"/>
                <a:gd name="connsiteX14" fmla="*/ 206696 w 480851"/>
                <a:gd name="connsiteY14" fmla="*/ 146432 h 480851"/>
                <a:gd name="connsiteX15" fmla="*/ 240336 w 480851"/>
                <a:gd name="connsiteY15" fmla="*/ 140496 h 480851"/>
                <a:gd name="connsiteX16" fmla="*/ 246093 w 480851"/>
                <a:gd name="connsiteY16" fmla="*/ 140856 h 480851"/>
                <a:gd name="connsiteX17" fmla="*/ 333160 w 480851"/>
                <a:gd name="connsiteY17" fmla="*/ 203638 h 480851"/>
                <a:gd name="connsiteX18" fmla="*/ 333160 w 480851"/>
                <a:gd name="connsiteY18" fmla="*/ 203638 h 480851"/>
                <a:gd name="connsiteX19" fmla="*/ 340356 w 480851"/>
                <a:gd name="connsiteY19" fmla="*/ 240516 h 480851"/>
                <a:gd name="connsiteX20" fmla="*/ 334419 w 480851"/>
                <a:gd name="connsiteY20" fmla="*/ 274156 h 480851"/>
                <a:gd name="connsiteX21" fmla="*/ 240336 w 480851"/>
                <a:gd name="connsiteY21" fmla="*/ 340356 h 48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851" h="480851">
                  <a:moveTo>
                    <a:pt x="480492" y="228103"/>
                  </a:moveTo>
                  <a:lnTo>
                    <a:pt x="480492" y="228103"/>
                  </a:lnTo>
                  <a:cubicBezTo>
                    <a:pt x="474016" y="100919"/>
                    <a:pt x="368959" y="0"/>
                    <a:pt x="240336" y="0"/>
                  </a:cubicBezTo>
                  <a:cubicBezTo>
                    <a:pt x="190146" y="0"/>
                    <a:pt x="143554" y="15471"/>
                    <a:pt x="105057" y="41735"/>
                  </a:cubicBezTo>
                  <a:cubicBezTo>
                    <a:pt x="104338" y="42095"/>
                    <a:pt x="103798" y="42455"/>
                    <a:pt x="103258" y="42994"/>
                  </a:cubicBezTo>
                  <a:cubicBezTo>
                    <a:pt x="40836" y="86348"/>
                    <a:pt x="0" y="158665"/>
                    <a:pt x="0" y="240516"/>
                  </a:cubicBezTo>
                  <a:cubicBezTo>
                    <a:pt x="0" y="373276"/>
                    <a:pt x="107576" y="480851"/>
                    <a:pt x="240336" y="480851"/>
                  </a:cubicBezTo>
                  <a:cubicBezTo>
                    <a:pt x="322187" y="480851"/>
                    <a:pt x="394504" y="440016"/>
                    <a:pt x="437857" y="377593"/>
                  </a:cubicBezTo>
                  <a:cubicBezTo>
                    <a:pt x="439656" y="375075"/>
                    <a:pt x="441275" y="372556"/>
                    <a:pt x="442715" y="370038"/>
                  </a:cubicBezTo>
                  <a:cubicBezTo>
                    <a:pt x="455487" y="350610"/>
                    <a:pt x="465201" y="329022"/>
                    <a:pt x="471677" y="306176"/>
                  </a:cubicBezTo>
                  <a:cubicBezTo>
                    <a:pt x="477614" y="285309"/>
                    <a:pt x="480852" y="263362"/>
                    <a:pt x="480852" y="240516"/>
                  </a:cubicBezTo>
                  <a:cubicBezTo>
                    <a:pt x="480852" y="236378"/>
                    <a:pt x="480852" y="232241"/>
                    <a:pt x="480492" y="228103"/>
                  </a:cubicBezTo>
                  <a:close/>
                  <a:moveTo>
                    <a:pt x="240336" y="340356"/>
                  </a:moveTo>
                  <a:cubicBezTo>
                    <a:pt x="185289" y="340356"/>
                    <a:pt x="140496" y="295562"/>
                    <a:pt x="140496" y="240516"/>
                  </a:cubicBezTo>
                  <a:cubicBezTo>
                    <a:pt x="140496" y="197162"/>
                    <a:pt x="168199" y="160104"/>
                    <a:pt x="206696" y="146432"/>
                  </a:cubicBezTo>
                  <a:cubicBezTo>
                    <a:pt x="217130" y="142474"/>
                    <a:pt x="228463" y="140496"/>
                    <a:pt x="240336" y="140496"/>
                  </a:cubicBezTo>
                  <a:cubicBezTo>
                    <a:pt x="242315" y="140496"/>
                    <a:pt x="244114" y="140496"/>
                    <a:pt x="246093" y="140856"/>
                  </a:cubicBezTo>
                  <a:cubicBezTo>
                    <a:pt x="285849" y="143014"/>
                    <a:pt x="319308" y="168379"/>
                    <a:pt x="333160" y="203638"/>
                  </a:cubicBezTo>
                  <a:lnTo>
                    <a:pt x="333160" y="203638"/>
                  </a:lnTo>
                  <a:cubicBezTo>
                    <a:pt x="337837" y="215151"/>
                    <a:pt x="340356" y="227563"/>
                    <a:pt x="340356" y="240516"/>
                  </a:cubicBezTo>
                  <a:cubicBezTo>
                    <a:pt x="340356" y="252389"/>
                    <a:pt x="338377" y="263722"/>
                    <a:pt x="334419" y="274156"/>
                  </a:cubicBezTo>
                  <a:cubicBezTo>
                    <a:pt x="320748" y="312652"/>
                    <a:pt x="283690" y="340356"/>
                    <a:pt x="240336" y="340356"/>
                  </a:cubicBezTo>
                  <a:close/>
                </a:path>
              </a:pathLst>
            </a:custGeom>
            <a:gradFill>
              <a:gsLst>
                <a:gs pos="0">
                  <a:schemeClr val="bg2"/>
                </a:gs>
                <a:gs pos="50000">
                  <a:schemeClr val="bg2">
                    <a:lumMod val="40000"/>
                    <a:lumOff val="60000"/>
                  </a:schemeClr>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4" name="Freeform: Shape 59">
              <a:extLst>
                <a:ext uri="{FF2B5EF4-FFF2-40B4-BE49-F238E27FC236}">
                  <a16:creationId xmlns:a16="http://schemas.microsoft.com/office/drawing/2014/main" id="{DF8301A3-596F-0BFE-D613-A73D490C21F0}"/>
                </a:ext>
              </a:extLst>
            </p:cNvPr>
            <p:cNvSpPr/>
            <p:nvPr/>
          </p:nvSpPr>
          <p:spPr>
            <a:xfrm flipH="1">
              <a:off x="11522263" y="3691204"/>
              <a:ext cx="419867" cy="419867"/>
            </a:xfrm>
            <a:custGeom>
              <a:avLst/>
              <a:gdLst>
                <a:gd name="connsiteX0" fmla="*/ 209934 w 419867"/>
                <a:gd name="connsiteY0" fmla="*/ 0 h 419867"/>
                <a:gd name="connsiteX1" fmla="*/ 0 w 419867"/>
                <a:gd name="connsiteY1" fmla="*/ 209934 h 419867"/>
                <a:gd name="connsiteX2" fmla="*/ 209934 w 419867"/>
                <a:gd name="connsiteY2" fmla="*/ 419868 h 419867"/>
                <a:gd name="connsiteX3" fmla="*/ 419868 w 419867"/>
                <a:gd name="connsiteY3" fmla="*/ 209934 h 419867"/>
                <a:gd name="connsiteX4" fmla="*/ 209934 w 419867"/>
                <a:gd name="connsiteY4" fmla="*/ 0 h 419867"/>
                <a:gd name="connsiteX5" fmla="*/ 209934 w 419867"/>
                <a:gd name="connsiteY5" fmla="*/ 297182 h 419867"/>
                <a:gd name="connsiteX6" fmla="*/ 122686 w 419867"/>
                <a:gd name="connsiteY6" fmla="*/ 209934 h 419867"/>
                <a:gd name="connsiteX7" fmla="*/ 209934 w 419867"/>
                <a:gd name="connsiteY7" fmla="*/ 122686 h 419867"/>
                <a:gd name="connsiteX8" fmla="*/ 297182 w 419867"/>
                <a:gd name="connsiteY8" fmla="*/ 209934 h 419867"/>
                <a:gd name="connsiteX9" fmla="*/ 209934 w 419867"/>
                <a:gd name="connsiteY9" fmla="*/ 297182 h 41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867" h="419867">
                  <a:moveTo>
                    <a:pt x="209934" y="0"/>
                  </a:moveTo>
                  <a:cubicBezTo>
                    <a:pt x="94084" y="0"/>
                    <a:pt x="0" y="93904"/>
                    <a:pt x="0" y="209934"/>
                  </a:cubicBezTo>
                  <a:cubicBezTo>
                    <a:pt x="0" y="325964"/>
                    <a:pt x="94084" y="419868"/>
                    <a:pt x="209934" y="419868"/>
                  </a:cubicBezTo>
                  <a:cubicBezTo>
                    <a:pt x="325784" y="419868"/>
                    <a:pt x="419868" y="325784"/>
                    <a:pt x="419868" y="209934"/>
                  </a:cubicBezTo>
                  <a:cubicBezTo>
                    <a:pt x="419868" y="94083"/>
                    <a:pt x="325964" y="0"/>
                    <a:pt x="209934" y="0"/>
                  </a:cubicBezTo>
                  <a:close/>
                  <a:moveTo>
                    <a:pt x="209934" y="297182"/>
                  </a:moveTo>
                  <a:cubicBezTo>
                    <a:pt x="161903" y="297182"/>
                    <a:pt x="122686" y="257965"/>
                    <a:pt x="122686" y="209934"/>
                  </a:cubicBezTo>
                  <a:cubicBezTo>
                    <a:pt x="122686" y="161903"/>
                    <a:pt x="161903" y="122686"/>
                    <a:pt x="209934" y="122686"/>
                  </a:cubicBezTo>
                  <a:cubicBezTo>
                    <a:pt x="257965" y="122686"/>
                    <a:pt x="297182" y="161723"/>
                    <a:pt x="297182" y="209934"/>
                  </a:cubicBezTo>
                  <a:cubicBezTo>
                    <a:pt x="297182" y="258145"/>
                    <a:pt x="258145" y="297182"/>
                    <a:pt x="209934" y="297182"/>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5" name="Freeform: Shape 61">
            <a:extLst>
              <a:ext uri="{FF2B5EF4-FFF2-40B4-BE49-F238E27FC236}">
                <a16:creationId xmlns:a16="http://schemas.microsoft.com/office/drawing/2014/main" id="{D15967A4-BAA2-82AC-F7BE-3E1413C52D41}"/>
              </a:ext>
            </a:extLst>
          </p:cNvPr>
          <p:cNvSpPr/>
          <p:nvPr userDrawn="1"/>
        </p:nvSpPr>
        <p:spPr>
          <a:xfrm>
            <a:off x="-21866" y="-18281"/>
            <a:ext cx="12213866"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alpha val="32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a:extLst>
                <a:ext uri="{96DAC541-7B7A-43D3-8B79-37D633B846F1}">
                  <asvg:svgBlip xmlns:asvg="http://schemas.microsoft.com/office/drawing/2016/SVG/main" r:embed="rId2"/>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a:lum bright="100000"/>
              <a:extLst>
                <a:ext uri="{96DAC541-7B7A-43D3-8B79-37D633B846F1}">
                  <asvg:svgBlip xmlns:asvg="http://schemas.microsoft.com/office/drawing/2016/SVG/main" r:embed="rId2"/>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4147570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ver 5">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1067BC7C-A773-9F81-5271-6D864B0795C1}"/>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gradFill flip="none" rotWithShape="1">
            <a:gsLst>
              <a:gs pos="0">
                <a:schemeClr val="bg2"/>
              </a:gs>
              <a:gs pos="79000">
                <a:schemeClr val="bg2">
                  <a:lumMod val="50000"/>
                </a:schemeClr>
              </a:gs>
            </a:gsLst>
            <a:lin ang="13500000" scaled="1"/>
            <a:tileRect/>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F7663A97-211B-4782-DB90-8D7208B8FC2B}"/>
              </a:ext>
            </a:extLst>
          </p:cNvPr>
          <p:cNvSpPr/>
          <p:nvPr userDrawn="1"/>
        </p:nvSpPr>
        <p:spPr bwMode="auto">
          <a:xfrm>
            <a:off x="0" y="3962400"/>
            <a:ext cx="7689741" cy="2297780"/>
          </a:xfrm>
          <a:custGeom>
            <a:avLst/>
            <a:gdLst>
              <a:gd name="connsiteX0" fmla="*/ 0 w 7689741"/>
              <a:gd name="connsiteY0" fmla="*/ 0 h 2297780"/>
              <a:gd name="connsiteX1" fmla="*/ 7689741 w 7689741"/>
              <a:gd name="connsiteY1" fmla="*/ 0 h 2297780"/>
              <a:gd name="connsiteX2" fmla="*/ 5376932 w 7689741"/>
              <a:gd name="connsiteY2" fmla="*/ 2297780 h 2297780"/>
              <a:gd name="connsiteX3" fmla="*/ 0 w 7689741"/>
              <a:gd name="connsiteY3" fmla="*/ 2297780 h 2297780"/>
              <a:gd name="connsiteX4" fmla="*/ 0 w 7689741"/>
              <a:gd name="connsiteY4" fmla="*/ 0 h 229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9741" h="2297780">
                <a:moveTo>
                  <a:pt x="0" y="0"/>
                </a:moveTo>
                <a:lnTo>
                  <a:pt x="7689741" y="0"/>
                </a:lnTo>
                <a:lnTo>
                  <a:pt x="5376932" y="2297780"/>
                </a:lnTo>
                <a:lnTo>
                  <a:pt x="0" y="2297780"/>
                </a:lnTo>
                <a:lnTo>
                  <a:pt x="0" y="0"/>
                </a:lnTo>
                <a:close/>
              </a:path>
            </a:pathLst>
          </a:custGeom>
          <a:gradFill flip="none" rotWithShape="1">
            <a:gsLst>
              <a:gs pos="0">
                <a:schemeClr val="bg2">
                  <a:lumMod val="75000"/>
                </a:schemeClr>
              </a:gs>
              <a:gs pos="69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a:extLst>
                <a:ext uri="{96DAC541-7B7A-43D3-8B79-37D633B846F1}">
                  <asvg:svgBlip xmlns:asvg="http://schemas.microsoft.com/office/drawing/2016/SVG/main" r:embed="rId2"/>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a:lum bright="100000"/>
              <a:extLst>
                <a:ext uri="{96DAC541-7B7A-43D3-8B79-37D633B846F1}">
                  <asvg:svgBlip xmlns:asvg="http://schemas.microsoft.com/office/drawing/2016/SVG/main" r:embed="rId2"/>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85586"/>
            <a:ext cx="6843656" cy="1661993"/>
          </a:xfrm>
          <a:noFill/>
        </p:spPr>
        <p:txBody>
          <a:bodyPr wrap="square" lIns="0" tIns="0" rIns="0" bIns="0" anchor="b" anchorCtr="0">
            <a:spAutoFit/>
          </a:bodyPr>
          <a:lstStyle>
            <a:lvl1pPr>
              <a:defRPr kumimoji="0" lang="en-US" sz="5400" b="0" i="0" u="none" strike="noStrike" kern="1200" cap="none" spc="0" normalizeH="0" baseline="0" dirty="0">
                <a:ln>
                  <a:noFill/>
                </a:ln>
                <a:solidFill>
                  <a:srgbClr val="50E6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4341585"/>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939193"/>
            <a:ext cx="5486400" cy="941796"/>
          </a:xfrm>
        </p:spPr>
        <p:txBody>
          <a:bodyPr/>
          <a:lstStyle>
            <a:lvl1pPr marL="0" indent="0">
              <a:spcBef>
                <a:spcPts val="24"/>
              </a:spcBef>
              <a:buNone/>
              <a:defRPr kumimoji="0" lang="en-US" sz="18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
        <p:nvSpPr>
          <p:cNvPr id="4" name="Free-form: Shape 3">
            <a:extLst>
              <a:ext uri="{FF2B5EF4-FFF2-40B4-BE49-F238E27FC236}">
                <a16:creationId xmlns:a16="http://schemas.microsoft.com/office/drawing/2014/main" id="{FFA50941-9749-E449-4B27-E57EEC8DD5F3}"/>
              </a:ext>
            </a:extLst>
          </p:cNvPr>
          <p:cNvSpPr/>
          <p:nvPr userDrawn="1"/>
        </p:nvSpPr>
        <p:spPr bwMode="auto">
          <a:xfrm>
            <a:off x="7436274" y="-3432"/>
            <a:ext cx="4427515" cy="6864864"/>
          </a:xfrm>
          <a:custGeom>
            <a:avLst/>
            <a:gdLst>
              <a:gd name="connsiteX0" fmla="*/ 1789133 w 4427515"/>
              <a:gd name="connsiteY0" fmla="*/ 861707 h 6864864"/>
              <a:gd name="connsiteX1" fmla="*/ 4427515 w 4427515"/>
              <a:gd name="connsiteY1" fmla="*/ 3493895 h 6864864"/>
              <a:gd name="connsiteX2" fmla="*/ 1048613 w 4427515"/>
              <a:gd name="connsiteY2" fmla="*/ 6864864 h 6864864"/>
              <a:gd name="connsiteX3" fmla="*/ 123215 w 4427515"/>
              <a:gd name="connsiteY3" fmla="*/ 6864864 h 6864864"/>
              <a:gd name="connsiteX4" fmla="*/ 3502117 w 4427515"/>
              <a:gd name="connsiteY4" fmla="*/ 3493895 h 6864864"/>
              <a:gd name="connsiteX5" fmla="*/ 1326978 w 4427515"/>
              <a:gd name="connsiteY5" fmla="*/ 1323862 h 6864864"/>
              <a:gd name="connsiteX6" fmla="*/ 0 w 4427515"/>
              <a:gd name="connsiteY6" fmla="*/ 0 h 6864864"/>
              <a:gd name="connsiteX7" fmla="*/ 925398 w 4427515"/>
              <a:gd name="connsiteY7" fmla="*/ 0 h 6864864"/>
              <a:gd name="connsiteX8" fmla="*/ 1146848 w 4427515"/>
              <a:gd name="connsiteY8" fmla="*/ 220930 h 6864864"/>
              <a:gd name="connsiteX9" fmla="*/ 684693 w 4427515"/>
              <a:gd name="connsiteY9" fmla="*/ 683085 h 686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7515" h="6864864">
                <a:moveTo>
                  <a:pt x="1789133" y="861707"/>
                </a:moveTo>
                <a:lnTo>
                  <a:pt x="4427515" y="3493895"/>
                </a:lnTo>
                <a:lnTo>
                  <a:pt x="1048613" y="6864864"/>
                </a:lnTo>
                <a:lnTo>
                  <a:pt x="123215" y="6864864"/>
                </a:lnTo>
                <a:lnTo>
                  <a:pt x="3502117" y="3493895"/>
                </a:lnTo>
                <a:lnTo>
                  <a:pt x="1326978" y="1323862"/>
                </a:lnTo>
                <a:close/>
                <a:moveTo>
                  <a:pt x="0" y="0"/>
                </a:moveTo>
                <a:lnTo>
                  <a:pt x="925398" y="0"/>
                </a:lnTo>
                <a:lnTo>
                  <a:pt x="1146848" y="220930"/>
                </a:lnTo>
                <a:lnTo>
                  <a:pt x="684693" y="683085"/>
                </a:lnTo>
                <a:close/>
              </a:path>
            </a:pathLst>
          </a:custGeom>
          <a:gradFill flip="none" rotWithShape="1">
            <a:gsLst>
              <a:gs pos="58000">
                <a:schemeClr val="bg2">
                  <a:lumMod val="75000"/>
                </a:schemeClr>
              </a:gs>
              <a:gs pos="100000">
                <a:schemeClr val="bg2">
                  <a:lumMod val="75000"/>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85FAB7B8-87AF-BFFD-9EF8-D4760A0DDFAA}"/>
              </a:ext>
            </a:extLst>
          </p:cNvPr>
          <p:cNvSpPr/>
          <p:nvPr userDrawn="1"/>
        </p:nvSpPr>
        <p:spPr bwMode="auto">
          <a:xfrm>
            <a:off x="4775200" y="-3432"/>
            <a:ext cx="7416800" cy="6861432"/>
          </a:xfrm>
          <a:custGeom>
            <a:avLst/>
            <a:gdLst>
              <a:gd name="connsiteX0" fmla="*/ 3910617 w 7416800"/>
              <a:gd name="connsiteY0" fmla="*/ 0 h 6861432"/>
              <a:gd name="connsiteX1" fmla="*/ 6331089 w 7416800"/>
              <a:gd name="connsiteY1" fmla="*/ 0 h 6861432"/>
              <a:gd name="connsiteX2" fmla="*/ 7416800 w 7416800"/>
              <a:gd name="connsiteY2" fmla="*/ 1078655 h 6861432"/>
              <a:gd name="connsiteX3" fmla="*/ 7416800 w 7416800"/>
              <a:gd name="connsiteY3" fmla="*/ 1897573 h 6861432"/>
              <a:gd name="connsiteX4" fmla="*/ 2420472 w 7416800"/>
              <a:gd name="connsiteY4" fmla="*/ 6861432 h 6861432"/>
              <a:gd name="connsiteX5" fmla="*/ 0 w 7416800"/>
              <a:gd name="connsiteY5" fmla="*/ 6861432 h 6861432"/>
              <a:gd name="connsiteX6" fmla="*/ 5408465 w 7416800"/>
              <a:gd name="connsiteY6" fmla="*/ 1488114 h 686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6800" h="6861432">
                <a:moveTo>
                  <a:pt x="3910617" y="0"/>
                </a:moveTo>
                <a:lnTo>
                  <a:pt x="6331089" y="0"/>
                </a:lnTo>
                <a:lnTo>
                  <a:pt x="7416800" y="1078655"/>
                </a:lnTo>
                <a:lnTo>
                  <a:pt x="7416800" y="1897573"/>
                </a:lnTo>
                <a:lnTo>
                  <a:pt x="2420472" y="6861432"/>
                </a:lnTo>
                <a:lnTo>
                  <a:pt x="0" y="6861432"/>
                </a:lnTo>
                <a:lnTo>
                  <a:pt x="5408465" y="1488114"/>
                </a:lnTo>
                <a:close/>
              </a:path>
            </a:pathLst>
          </a:custGeom>
          <a:gradFill flip="none" rotWithShape="1">
            <a:gsLst>
              <a:gs pos="0">
                <a:schemeClr val="bg2">
                  <a:lumMod val="50000"/>
                </a:schemeClr>
              </a:gs>
              <a:gs pos="100000">
                <a:schemeClr val="bg2">
                  <a:lumMod val="50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Diamond 12">
            <a:extLst>
              <a:ext uri="{FF2B5EF4-FFF2-40B4-BE49-F238E27FC236}">
                <a16:creationId xmlns:a16="http://schemas.microsoft.com/office/drawing/2014/main" id="{28C9EB09-87DA-8721-20A2-ED61E9585A23}"/>
              </a:ext>
            </a:extLst>
          </p:cNvPr>
          <p:cNvSpPr/>
          <p:nvPr userDrawn="1"/>
        </p:nvSpPr>
        <p:spPr bwMode="auto">
          <a:xfrm>
            <a:off x="7589180" y="4504882"/>
            <a:ext cx="1897720" cy="1897720"/>
          </a:xfrm>
          <a:prstGeom prst="diamond">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F2B9B44-A761-B9A5-749A-5AF83CA02EC5}"/>
              </a:ext>
            </a:extLst>
          </p:cNvPr>
          <p:cNvSpPr/>
          <p:nvPr userDrawn="1"/>
        </p:nvSpPr>
        <p:spPr bwMode="auto">
          <a:xfrm>
            <a:off x="7975624" y="-3431"/>
            <a:ext cx="4216376" cy="4663101"/>
          </a:xfrm>
          <a:custGeom>
            <a:avLst/>
            <a:gdLst>
              <a:gd name="connsiteX0" fmla="*/ 1488113 w 4216376"/>
              <a:gd name="connsiteY0" fmla="*/ 0 h 4663101"/>
              <a:gd name="connsiteX1" fmla="*/ 4216376 w 4216376"/>
              <a:gd name="connsiteY1" fmla="*/ 0 h 4663101"/>
              <a:gd name="connsiteX2" fmla="*/ 4216376 w 4216376"/>
              <a:gd name="connsiteY2" fmla="*/ 3621713 h 4663101"/>
              <a:gd name="connsiteX3" fmla="*/ 3174988 w 4216376"/>
              <a:gd name="connsiteY3" fmla="*/ 4663101 h 4663101"/>
              <a:gd name="connsiteX4" fmla="*/ 0 w 4216376"/>
              <a:gd name="connsiteY4" fmla="*/ 1488113 h 4663101"/>
              <a:gd name="connsiteX5" fmla="*/ 382797 w 4216376"/>
              <a:gd name="connsiteY5" fmla="*/ 1105316 h 4663101"/>
              <a:gd name="connsiteX6" fmla="*/ 694485 w 4216376"/>
              <a:gd name="connsiteY6" fmla="*/ 1417004 h 4663101"/>
              <a:gd name="connsiteX7" fmla="*/ 1336016 w 4216376"/>
              <a:gd name="connsiteY7" fmla="*/ 775473 h 4663101"/>
              <a:gd name="connsiteX8" fmla="*/ 1024328 w 4216376"/>
              <a:gd name="connsiteY8" fmla="*/ 463785 h 4663101"/>
              <a:gd name="connsiteX0" fmla="*/ 4216376 w 4307816"/>
              <a:gd name="connsiteY0" fmla="*/ 0 h 4663101"/>
              <a:gd name="connsiteX1" fmla="*/ 4216376 w 4307816"/>
              <a:gd name="connsiteY1" fmla="*/ 3621713 h 4663101"/>
              <a:gd name="connsiteX2" fmla="*/ 3174988 w 4307816"/>
              <a:gd name="connsiteY2" fmla="*/ 4663101 h 4663101"/>
              <a:gd name="connsiteX3" fmla="*/ 0 w 4307816"/>
              <a:gd name="connsiteY3" fmla="*/ 1488113 h 4663101"/>
              <a:gd name="connsiteX4" fmla="*/ 382797 w 4307816"/>
              <a:gd name="connsiteY4" fmla="*/ 1105316 h 4663101"/>
              <a:gd name="connsiteX5" fmla="*/ 694485 w 4307816"/>
              <a:gd name="connsiteY5" fmla="*/ 1417004 h 4663101"/>
              <a:gd name="connsiteX6" fmla="*/ 1336016 w 4307816"/>
              <a:gd name="connsiteY6" fmla="*/ 775473 h 4663101"/>
              <a:gd name="connsiteX7" fmla="*/ 1024328 w 4307816"/>
              <a:gd name="connsiteY7" fmla="*/ 463785 h 4663101"/>
              <a:gd name="connsiteX8" fmla="*/ 1488113 w 4307816"/>
              <a:gd name="connsiteY8" fmla="*/ 0 h 4663101"/>
              <a:gd name="connsiteX9" fmla="*/ 4307816 w 4307816"/>
              <a:gd name="connsiteY9" fmla="*/ 91440 h 4663101"/>
              <a:gd name="connsiteX0" fmla="*/ 4216376 w 4216376"/>
              <a:gd name="connsiteY0" fmla="*/ 0 h 4663101"/>
              <a:gd name="connsiteX1" fmla="*/ 4216376 w 4216376"/>
              <a:gd name="connsiteY1" fmla="*/ 3621713 h 4663101"/>
              <a:gd name="connsiteX2" fmla="*/ 3174988 w 4216376"/>
              <a:gd name="connsiteY2" fmla="*/ 4663101 h 4663101"/>
              <a:gd name="connsiteX3" fmla="*/ 0 w 4216376"/>
              <a:gd name="connsiteY3" fmla="*/ 1488113 h 4663101"/>
              <a:gd name="connsiteX4" fmla="*/ 382797 w 4216376"/>
              <a:gd name="connsiteY4" fmla="*/ 1105316 h 4663101"/>
              <a:gd name="connsiteX5" fmla="*/ 694485 w 4216376"/>
              <a:gd name="connsiteY5" fmla="*/ 1417004 h 4663101"/>
              <a:gd name="connsiteX6" fmla="*/ 1336016 w 4216376"/>
              <a:gd name="connsiteY6" fmla="*/ 775473 h 4663101"/>
              <a:gd name="connsiteX7" fmla="*/ 1024328 w 4216376"/>
              <a:gd name="connsiteY7" fmla="*/ 463785 h 4663101"/>
              <a:gd name="connsiteX8" fmla="*/ 1488113 w 4216376"/>
              <a:gd name="connsiteY8" fmla="*/ 0 h 4663101"/>
              <a:gd name="connsiteX0" fmla="*/ 4216376 w 4216376"/>
              <a:gd name="connsiteY0" fmla="*/ 3621713 h 4663101"/>
              <a:gd name="connsiteX1" fmla="*/ 3174988 w 4216376"/>
              <a:gd name="connsiteY1" fmla="*/ 4663101 h 4663101"/>
              <a:gd name="connsiteX2" fmla="*/ 0 w 4216376"/>
              <a:gd name="connsiteY2" fmla="*/ 1488113 h 4663101"/>
              <a:gd name="connsiteX3" fmla="*/ 382797 w 4216376"/>
              <a:gd name="connsiteY3" fmla="*/ 1105316 h 4663101"/>
              <a:gd name="connsiteX4" fmla="*/ 694485 w 4216376"/>
              <a:gd name="connsiteY4" fmla="*/ 1417004 h 4663101"/>
              <a:gd name="connsiteX5" fmla="*/ 1336016 w 4216376"/>
              <a:gd name="connsiteY5" fmla="*/ 775473 h 4663101"/>
              <a:gd name="connsiteX6" fmla="*/ 1024328 w 4216376"/>
              <a:gd name="connsiteY6" fmla="*/ 463785 h 4663101"/>
              <a:gd name="connsiteX7" fmla="*/ 1488113 w 4216376"/>
              <a:gd name="connsiteY7" fmla="*/ 0 h 466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376" h="4663101">
                <a:moveTo>
                  <a:pt x="4216376" y="3621713"/>
                </a:moveTo>
                <a:lnTo>
                  <a:pt x="3174988" y="4663101"/>
                </a:lnTo>
                <a:lnTo>
                  <a:pt x="0" y="1488113"/>
                </a:lnTo>
                <a:lnTo>
                  <a:pt x="382797" y="1105316"/>
                </a:lnTo>
                <a:lnTo>
                  <a:pt x="694485" y="1417004"/>
                </a:lnTo>
                <a:lnTo>
                  <a:pt x="1336016" y="775473"/>
                </a:lnTo>
                <a:lnTo>
                  <a:pt x="1024328" y="463785"/>
                </a:lnTo>
                <a:lnTo>
                  <a:pt x="1488113" y="0"/>
                </a:lnTo>
              </a:path>
            </a:pathLst>
          </a:custGeom>
          <a:noFill/>
          <a:ln w="1270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Diamond 14">
            <a:extLst>
              <a:ext uri="{FF2B5EF4-FFF2-40B4-BE49-F238E27FC236}">
                <a16:creationId xmlns:a16="http://schemas.microsoft.com/office/drawing/2014/main" id="{9C9F5CBC-58F1-15AF-119A-A1B8E949CF33}"/>
              </a:ext>
            </a:extLst>
          </p:cNvPr>
          <p:cNvSpPr/>
          <p:nvPr userDrawn="1"/>
        </p:nvSpPr>
        <p:spPr bwMode="auto">
          <a:xfrm>
            <a:off x="8028578" y="130511"/>
            <a:ext cx="1283062" cy="1283062"/>
          </a:xfrm>
          <a:prstGeom prst="diamond">
            <a:avLst/>
          </a:prstGeom>
          <a:noFill/>
          <a:ln w="1270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Diamond 15">
            <a:extLst>
              <a:ext uri="{FF2B5EF4-FFF2-40B4-BE49-F238E27FC236}">
                <a16:creationId xmlns:a16="http://schemas.microsoft.com/office/drawing/2014/main" id="{987EA32E-C453-21B7-9E4A-DB92C0B0EBD5}"/>
              </a:ext>
            </a:extLst>
          </p:cNvPr>
          <p:cNvSpPr/>
          <p:nvPr userDrawn="1"/>
        </p:nvSpPr>
        <p:spPr bwMode="auto">
          <a:xfrm>
            <a:off x="9969522" y="3726553"/>
            <a:ext cx="2362178" cy="2362178"/>
          </a:xfrm>
          <a:prstGeom prst="diamond">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4FED8837-EA82-0134-1B2A-985F3BAB653E}"/>
              </a:ext>
            </a:extLst>
          </p:cNvPr>
          <p:cNvSpPr/>
          <p:nvPr userDrawn="1"/>
        </p:nvSpPr>
        <p:spPr bwMode="auto">
          <a:xfrm>
            <a:off x="9566574" y="5987398"/>
            <a:ext cx="1150822" cy="874035"/>
          </a:xfrm>
          <a:custGeom>
            <a:avLst/>
            <a:gdLst>
              <a:gd name="connsiteX0" fmla="*/ 575411 w 1150822"/>
              <a:gd name="connsiteY0" fmla="*/ 0 h 874035"/>
              <a:gd name="connsiteX1" fmla="*/ 1150822 w 1150822"/>
              <a:gd name="connsiteY1" fmla="*/ 575411 h 874035"/>
              <a:gd name="connsiteX2" fmla="*/ 852198 w 1150822"/>
              <a:gd name="connsiteY2" fmla="*/ 874035 h 874035"/>
              <a:gd name="connsiteX3" fmla="*/ 298624 w 1150822"/>
              <a:gd name="connsiteY3" fmla="*/ 874035 h 874035"/>
              <a:gd name="connsiteX4" fmla="*/ 0 w 1150822"/>
              <a:gd name="connsiteY4" fmla="*/ 575411 h 874035"/>
              <a:gd name="connsiteX0" fmla="*/ 298624 w 1150822"/>
              <a:gd name="connsiteY0" fmla="*/ 874035 h 965475"/>
              <a:gd name="connsiteX1" fmla="*/ 0 w 1150822"/>
              <a:gd name="connsiteY1" fmla="*/ 575411 h 965475"/>
              <a:gd name="connsiteX2" fmla="*/ 575411 w 1150822"/>
              <a:gd name="connsiteY2" fmla="*/ 0 h 965475"/>
              <a:gd name="connsiteX3" fmla="*/ 1150822 w 1150822"/>
              <a:gd name="connsiteY3" fmla="*/ 575411 h 965475"/>
              <a:gd name="connsiteX4" fmla="*/ 852198 w 1150822"/>
              <a:gd name="connsiteY4" fmla="*/ 874035 h 965475"/>
              <a:gd name="connsiteX5" fmla="*/ 390064 w 1150822"/>
              <a:gd name="connsiteY5" fmla="*/ 965475 h 965475"/>
              <a:gd name="connsiteX0" fmla="*/ 298624 w 1150822"/>
              <a:gd name="connsiteY0" fmla="*/ 874035 h 874035"/>
              <a:gd name="connsiteX1" fmla="*/ 0 w 1150822"/>
              <a:gd name="connsiteY1" fmla="*/ 575411 h 874035"/>
              <a:gd name="connsiteX2" fmla="*/ 575411 w 1150822"/>
              <a:gd name="connsiteY2" fmla="*/ 0 h 874035"/>
              <a:gd name="connsiteX3" fmla="*/ 1150822 w 1150822"/>
              <a:gd name="connsiteY3" fmla="*/ 575411 h 874035"/>
              <a:gd name="connsiteX4" fmla="*/ 852198 w 1150822"/>
              <a:gd name="connsiteY4" fmla="*/ 874035 h 874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22" h="874035">
                <a:moveTo>
                  <a:pt x="298624" y="874035"/>
                </a:moveTo>
                <a:lnTo>
                  <a:pt x="0" y="575411"/>
                </a:lnTo>
                <a:lnTo>
                  <a:pt x="575411" y="0"/>
                </a:lnTo>
                <a:lnTo>
                  <a:pt x="1150822" y="575411"/>
                </a:lnTo>
                <a:lnTo>
                  <a:pt x="852198" y="874035"/>
                </a:lnTo>
              </a:path>
            </a:pathLst>
          </a:custGeom>
          <a:noFill/>
          <a:ln w="1270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08339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ver 2 (Light)">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2182948"/>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04894" y="597820"/>
            <a:ext cx="3068320" cy="292608"/>
          </a:xfrm>
          <a:prstGeom prst="rect">
            <a:avLst/>
          </a:prstGeom>
        </p:spPr>
      </p:pic>
      <p:sp>
        <p:nvSpPr>
          <p:cNvPr id="3" name="Rectangle 2">
            <a:extLst>
              <a:ext uri="{FF2B5EF4-FFF2-40B4-BE49-F238E27FC236}">
                <a16:creationId xmlns:a16="http://schemas.microsoft.com/office/drawing/2014/main" id="{87691690-36F4-A761-184E-4D8B145236EF}"/>
              </a:ext>
            </a:extLst>
          </p:cNvPr>
          <p:cNvSpPr/>
          <p:nvPr userDrawn="1"/>
        </p:nvSpPr>
        <p:spPr bwMode="auto">
          <a:xfrm>
            <a:off x="0" y="3582124"/>
            <a:ext cx="8932366" cy="4224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3">
            <a:extLst>
              <a:ext uri="{FF2B5EF4-FFF2-40B4-BE49-F238E27FC236}">
                <a16:creationId xmlns:a16="http://schemas.microsoft.com/office/drawing/2014/main" id="{06615309-9057-852B-2CB7-FA4544F6C1F8}"/>
              </a:ext>
            </a:extLst>
          </p:cNvPr>
          <p:cNvSpPr/>
          <p:nvPr userDrawn="1"/>
        </p:nvSpPr>
        <p:spPr>
          <a:xfrm>
            <a:off x="6622699" y="2422546"/>
            <a:ext cx="5569302" cy="4499880"/>
          </a:xfrm>
          <a:custGeom>
            <a:avLst/>
            <a:gdLst>
              <a:gd name="connsiteX0" fmla="*/ 2720111 w 2720111"/>
              <a:gd name="connsiteY0" fmla="*/ 521894 h 2197793"/>
              <a:gd name="connsiteX1" fmla="*/ 2720111 w 2720111"/>
              <a:gd name="connsiteY1" fmla="*/ 2197794 h 2197793"/>
              <a:gd name="connsiteX2" fmla="*/ 0 w 2720111"/>
              <a:gd name="connsiteY2" fmla="*/ 2197794 h 2197793"/>
              <a:gd name="connsiteX3" fmla="*/ 2198006 w 2720111"/>
              <a:gd name="connsiteY3" fmla="*/ 0 h 2197793"/>
              <a:gd name="connsiteX4" fmla="*/ 2720111 w 2720111"/>
              <a:gd name="connsiteY4" fmla="*/ 521894 h 219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111" h="2197793">
                <a:moveTo>
                  <a:pt x="2720111" y="521894"/>
                </a:moveTo>
                <a:lnTo>
                  <a:pt x="2720111" y="2197794"/>
                </a:lnTo>
                <a:lnTo>
                  <a:pt x="0" y="2197794"/>
                </a:lnTo>
                <a:lnTo>
                  <a:pt x="2198006" y="0"/>
                </a:lnTo>
                <a:lnTo>
                  <a:pt x="2720111" y="521894"/>
                </a:lnTo>
                <a:close/>
              </a:path>
            </a:pathLst>
          </a:custGeom>
          <a:gradFill>
            <a:gsLst>
              <a:gs pos="0">
                <a:schemeClr val="bg2"/>
              </a:gs>
              <a:gs pos="50000">
                <a:schemeClr val="bg2">
                  <a:lumMod val="75000"/>
                </a:schemeClr>
              </a:gs>
              <a:gs pos="100000">
                <a:schemeClr val="bg2">
                  <a:lumMod val="50000"/>
                </a:schemeClr>
              </a:gs>
            </a:gsLst>
            <a:lin ang="18939364"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4">
            <a:extLst>
              <a:ext uri="{FF2B5EF4-FFF2-40B4-BE49-F238E27FC236}">
                <a16:creationId xmlns:a16="http://schemas.microsoft.com/office/drawing/2014/main" id="{15B1E47C-0B6D-B977-1542-9E0224F05FAF}"/>
              </a:ext>
            </a:extLst>
          </p:cNvPr>
          <p:cNvSpPr/>
          <p:nvPr userDrawn="1"/>
        </p:nvSpPr>
        <p:spPr>
          <a:xfrm>
            <a:off x="11125181" y="1353992"/>
            <a:ext cx="1066820" cy="2133642"/>
          </a:xfrm>
          <a:custGeom>
            <a:avLst/>
            <a:gdLst>
              <a:gd name="connsiteX0" fmla="*/ 521048 w 521047"/>
              <a:gd name="connsiteY0" fmla="*/ 0 h 1042095"/>
              <a:gd name="connsiteX1" fmla="*/ 521048 w 521047"/>
              <a:gd name="connsiteY1" fmla="*/ 1042096 h 1042095"/>
              <a:gd name="connsiteX2" fmla="*/ 0 w 521047"/>
              <a:gd name="connsiteY2" fmla="*/ 521048 h 1042095"/>
              <a:gd name="connsiteX3" fmla="*/ 521048 w 521047"/>
              <a:gd name="connsiteY3" fmla="*/ 0 h 1042095"/>
            </a:gdLst>
            <a:ahLst/>
            <a:cxnLst>
              <a:cxn ang="0">
                <a:pos x="connsiteX0" y="connsiteY0"/>
              </a:cxn>
              <a:cxn ang="0">
                <a:pos x="connsiteX1" y="connsiteY1"/>
              </a:cxn>
              <a:cxn ang="0">
                <a:pos x="connsiteX2" y="connsiteY2"/>
              </a:cxn>
              <a:cxn ang="0">
                <a:pos x="connsiteX3" y="connsiteY3"/>
              </a:cxn>
            </a:cxnLst>
            <a:rect l="l" t="t" r="r" b="b"/>
            <a:pathLst>
              <a:path w="521047" h="1042095">
                <a:moveTo>
                  <a:pt x="521048" y="0"/>
                </a:moveTo>
                <a:lnTo>
                  <a:pt x="521048" y="1042096"/>
                </a:lnTo>
                <a:lnTo>
                  <a:pt x="0" y="521048"/>
                </a:lnTo>
                <a:lnTo>
                  <a:pt x="521048" y="0"/>
                </a:lnTo>
                <a:close/>
              </a:path>
            </a:pathLst>
          </a:custGeom>
          <a:gradFill>
            <a:gsLst>
              <a:gs pos="0">
                <a:schemeClr val="bg2">
                  <a:lumMod val="20000"/>
                  <a:lumOff val="80000"/>
                </a:schemeClr>
              </a:gs>
              <a:gs pos="63000">
                <a:schemeClr val="bg2">
                  <a:lumMod val="60000"/>
                  <a:lumOff val="40000"/>
                </a:schemeClr>
              </a:gs>
            </a:gsLst>
            <a:lin ang="13500000" scaled="1"/>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5">
            <a:extLst>
              <a:ext uri="{FF2B5EF4-FFF2-40B4-BE49-F238E27FC236}">
                <a16:creationId xmlns:a16="http://schemas.microsoft.com/office/drawing/2014/main" id="{6985CF81-637B-5A8C-68C6-0BD66131EB61}"/>
              </a:ext>
            </a:extLst>
          </p:cNvPr>
          <p:cNvSpPr/>
          <p:nvPr userDrawn="1"/>
        </p:nvSpPr>
        <p:spPr>
          <a:xfrm>
            <a:off x="5301192" y="32485"/>
            <a:ext cx="6890809" cy="6889941"/>
          </a:xfrm>
          <a:custGeom>
            <a:avLst/>
            <a:gdLst>
              <a:gd name="connsiteX0" fmla="*/ 0 w 3365550"/>
              <a:gd name="connsiteY0" fmla="*/ 3365127 h 3365126"/>
              <a:gd name="connsiteX1" fmla="*/ 645439 w 3365550"/>
              <a:gd name="connsiteY1" fmla="*/ 3365127 h 3365126"/>
              <a:gd name="connsiteX2" fmla="*/ 3365550 w 3365550"/>
              <a:gd name="connsiteY2" fmla="*/ 645439 h 3365126"/>
              <a:gd name="connsiteX3" fmla="*/ 3365550 w 3365550"/>
              <a:gd name="connsiteY3" fmla="*/ 0 h 3365126"/>
              <a:gd name="connsiteX4" fmla="*/ 0 w 3365550"/>
              <a:gd name="connsiteY4" fmla="*/ 3365127 h 3365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550" h="3365126">
                <a:moveTo>
                  <a:pt x="0" y="3365127"/>
                </a:moveTo>
                <a:lnTo>
                  <a:pt x="645439" y="3365127"/>
                </a:lnTo>
                <a:lnTo>
                  <a:pt x="3365550" y="645439"/>
                </a:lnTo>
                <a:lnTo>
                  <a:pt x="3365550" y="0"/>
                </a:lnTo>
                <a:lnTo>
                  <a:pt x="0" y="3365127"/>
                </a:lnTo>
                <a:close/>
              </a:path>
            </a:pathLst>
          </a:custGeom>
          <a:solidFill>
            <a:schemeClr val="bg2">
              <a:lumMod val="20000"/>
              <a:lumOff val="8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6">
            <a:extLst>
              <a:ext uri="{FF2B5EF4-FFF2-40B4-BE49-F238E27FC236}">
                <a16:creationId xmlns:a16="http://schemas.microsoft.com/office/drawing/2014/main" id="{34FFCCB2-8B0D-E903-03D8-07A6431C42B4}"/>
              </a:ext>
            </a:extLst>
          </p:cNvPr>
          <p:cNvSpPr/>
          <p:nvPr userDrawn="1"/>
        </p:nvSpPr>
        <p:spPr>
          <a:xfrm>
            <a:off x="6013706" y="744999"/>
            <a:ext cx="6178295" cy="6177429"/>
          </a:xfrm>
          <a:custGeom>
            <a:avLst/>
            <a:gdLst>
              <a:gd name="connsiteX0" fmla="*/ 3017551 w 3017550"/>
              <a:gd name="connsiteY0" fmla="*/ 0 h 3017127"/>
              <a:gd name="connsiteX1" fmla="*/ 3017551 w 3017550"/>
              <a:gd name="connsiteY1" fmla="*/ 629361 h 3017127"/>
              <a:gd name="connsiteX2" fmla="*/ 629785 w 3017550"/>
              <a:gd name="connsiteY2" fmla="*/ 3017127 h 3017127"/>
              <a:gd name="connsiteX3" fmla="*/ 0 w 3017550"/>
              <a:gd name="connsiteY3" fmla="*/ 3017127 h 3017127"/>
              <a:gd name="connsiteX4" fmla="*/ 3017551 w 3017550"/>
              <a:gd name="connsiteY4" fmla="*/ 0 h 3017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50" h="3017127">
                <a:moveTo>
                  <a:pt x="3017551" y="0"/>
                </a:moveTo>
                <a:lnTo>
                  <a:pt x="3017551" y="629361"/>
                </a:lnTo>
                <a:lnTo>
                  <a:pt x="629785" y="3017127"/>
                </a:lnTo>
                <a:lnTo>
                  <a:pt x="0" y="3017127"/>
                </a:lnTo>
                <a:lnTo>
                  <a:pt x="3017551" y="0"/>
                </a:lnTo>
                <a:close/>
              </a:path>
            </a:pathLst>
          </a:custGeom>
          <a:solidFill>
            <a:schemeClr val="accent2">
              <a:alpha val="3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7">
            <a:extLst>
              <a:ext uri="{FF2B5EF4-FFF2-40B4-BE49-F238E27FC236}">
                <a16:creationId xmlns:a16="http://schemas.microsoft.com/office/drawing/2014/main" id="{303CED94-978D-A6B3-1FAE-EE2A373145F8}"/>
              </a:ext>
            </a:extLst>
          </p:cNvPr>
          <p:cNvSpPr/>
          <p:nvPr userDrawn="1"/>
        </p:nvSpPr>
        <p:spPr>
          <a:xfrm>
            <a:off x="7915187" y="0"/>
            <a:ext cx="4276814" cy="6758701"/>
          </a:xfrm>
          <a:custGeom>
            <a:avLst/>
            <a:gdLst>
              <a:gd name="connsiteX0" fmla="*/ 2088846 w 2088845"/>
              <a:gd name="connsiteY0" fmla="*/ 0 h 3301027"/>
              <a:gd name="connsiteX1" fmla="*/ 1212182 w 2088845"/>
              <a:gd name="connsiteY1" fmla="*/ 0 h 3301027"/>
              <a:gd name="connsiteX2" fmla="*/ 0 w 2088845"/>
              <a:gd name="connsiteY2" fmla="*/ 1212182 h 3301027"/>
              <a:gd name="connsiteX3" fmla="*/ 2088846 w 2088845"/>
              <a:gd name="connsiteY3" fmla="*/ 3301027 h 3301027"/>
              <a:gd name="connsiteX4" fmla="*/ 2088846 w 2088845"/>
              <a:gd name="connsiteY4" fmla="*/ 2388612 h 3301027"/>
              <a:gd name="connsiteX5" fmla="*/ 912416 w 2088845"/>
              <a:gd name="connsiteY5" fmla="*/ 1212182 h 3301027"/>
              <a:gd name="connsiteX6" fmla="*/ 2088846 w 2088845"/>
              <a:gd name="connsiteY6" fmla="*/ 35964 h 3301027"/>
              <a:gd name="connsiteX7" fmla="*/ 2088846 w 2088845"/>
              <a:gd name="connsiteY7" fmla="*/ 0 h 330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8845" h="3301027">
                <a:moveTo>
                  <a:pt x="2088846" y="0"/>
                </a:moveTo>
                <a:lnTo>
                  <a:pt x="1212182" y="0"/>
                </a:lnTo>
                <a:lnTo>
                  <a:pt x="0" y="1212182"/>
                </a:lnTo>
                <a:lnTo>
                  <a:pt x="2088846" y="3301027"/>
                </a:lnTo>
                <a:lnTo>
                  <a:pt x="2088846" y="2388612"/>
                </a:lnTo>
                <a:lnTo>
                  <a:pt x="912416" y="1212182"/>
                </a:lnTo>
                <a:lnTo>
                  <a:pt x="2088846" y="35964"/>
                </a:lnTo>
                <a:lnTo>
                  <a:pt x="2088846" y="0"/>
                </a:lnTo>
                <a:close/>
              </a:path>
            </a:pathLst>
          </a:custGeom>
          <a:solidFill>
            <a:schemeClr val="bg2"/>
          </a:soli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8">
            <a:extLst>
              <a:ext uri="{FF2B5EF4-FFF2-40B4-BE49-F238E27FC236}">
                <a16:creationId xmlns:a16="http://schemas.microsoft.com/office/drawing/2014/main" id="{9A37D814-1ED8-3FA8-04EC-F3776DBB6EC5}"/>
              </a:ext>
            </a:extLst>
          </p:cNvPr>
          <p:cNvSpPr/>
          <p:nvPr userDrawn="1"/>
        </p:nvSpPr>
        <p:spPr>
          <a:xfrm>
            <a:off x="8584498" y="-110662"/>
            <a:ext cx="2811070" cy="1877223"/>
          </a:xfrm>
          <a:custGeom>
            <a:avLst/>
            <a:gdLst>
              <a:gd name="connsiteX0" fmla="*/ 1372960 w 1372959"/>
              <a:gd name="connsiteY0" fmla="*/ 460333 h 916857"/>
              <a:gd name="connsiteX1" fmla="*/ 916647 w 1372959"/>
              <a:gd name="connsiteY1" fmla="*/ 916858 h 916857"/>
              <a:gd name="connsiteX2" fmla="*/ 0 w 1372959"/>
              <a:gd name="connsiteY2" fmla="*/ 0 h 916857"/>
              <a:gd name="connsiteX3" fmla="*/ 912627 w 1372959"/>
              <a:gd name="connsiteY3" fmla="*/ 0 h 916857"/>
              <a:gd name="connsiteX4" fmla="*/ 1372960 w 1372959"/>
              <a:gd name="connsiteY4" fmla="*/ 460333 h 916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959" h="916857">
                <a:moveTo>
                  <a:pt x="1372960" y="460333"/>
                </a:moveTo>
                <a:lnTo>
                  <a:pt x="916647" y="916858"/>
                </a:lnTo>
                <a:lnTo>
                  <a:pt x="0" y="0"/>
                </a:lnTo>
                <a:lnTo>
                  <a:pt x="912627" y="0"/>
                </a:lnTo>
                <a:lnTo>
                  <a:pt x="1372960" y="460333"/>
                </a:lnTo>
                <a:close/>
              </a:path>
            </a:pathLst>
          </a:custGeom>
          <a:solidFill>
            <a:schemeClr val="accent1"/>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9">
            <a:extLst>
              <a:ext uri="{FF2B5EF4-FFF2-40B4-BE49-F238E27FC236}">
                <a16:creationId xmlns:a16="http://schemas.microsoft.com/office/drawing/2014/main" id="{048EE216-B380-DCBB-4D5A-28CCD259FE2D}"/>
              </a:ext>
            </a:extLst>
          </p:cNvPr>
          <p:cNvSpPr/>
          <p:nvPr userDrawn="1"/>
        </p:nvSpPr>
        <p:spPr>
          <a:xfrm>
            <a:off x="7589900" y="0"/>
            <a:ext cx="3271932" cy="2338084"/>
          </a:xfrm>
          <a:custGeom>
            <a:avLst/>
            <a:gdLst>
              <a:gd name="connsiteX0" fmla="*/ 1598049 w 1598049"/>
              <a:gd name="connsiteY0" fmla="*/ 685634 h 1141947"/>
              <a:gd name="connsiteX1" fmla="*/ 1141524 w 1598049"/>
              <a:gd name="connsiteY1" fmla="*/ 1141947 h 1141947"/>
              <a:gd name="connsiteX2" fmla="*/ 0 w 1598049"/>
              <a:gd name="connsiteY2" fmla="*/ 0 h 1141947"/>
              <a:gd name="connsiteX3" fmla="*/ 912416 w 1598049"/>
              <a:gd name="connsiteY3" fmla="*/ 0 h 1141947"/>
              <a:gd name="connsiteX4" fmla="*/ 1598049 w 1598049"/>
              <a:gd name="connsiteY4" fmla="*/ 685634 h 1141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8049" h="1141947">
                <a:moveTo>
                  <a:pt x="1598049" y="685634"/>
                </a:moveTo>
                <a:lnTo>
                  <a:pt x="1141524" y="1141947"/>
                </a:lnTo>
                <a:lnTo>
                  <a:pt x="0" y="0"/>
                </a:lnTo>
                <a:lnTo>
                  <a:pt x="912416" y="0"/>
                </a:lnTo>
                <a:lnTo>
                  <a:pt x="1598049" y="685634"/>
                </a:lnTo>
                <a:close/>
              </a:path>
            </a:pathLst>
          </a:custGeom>
          <a:solidFill>
            <a:schemeClr val="bg1">
              <a:lumMod val="95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B2583B6A-9D33-6E0B-EE11-C4EA9408F207}"/>
              </a:ext>
            </a:extLst>
          </p:cNvPr>
          <p:cNvSpPr/>
          <p:nvPr userDrawn="1"/>
        </p:nvSpPr>
        <p:spPr bwMode="auto">
          <a:xfrm>
            <a:off x="604894" y="1952646"/>
            <a:ext cx="1033406" cy="1174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604894" y="3639437"/>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Tree>
    <p:extLst>
      <p:ext uri="{BB962C8B-B14F-4D97-AF65-F5344CB8AC3E}">
        <p14:creationId xmlns:p14="http://schemas.microsoft.com/office/powerpoint/2010/main" val="1577226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ver 3 (Light)">
    <p:bg>
      <p:bgPr>
        <a:solidFill>
          <a:schemeClr val="bg1"/>
        </a:solidFill>
        <a:effectLst/>
      </p:bgPr>
    </p:bg>
    <p:spTree>
      <p:nvGrpSpPr>
        <p:cNvPr id="1" name=""/>
        <p:cNvGrpSpPr/>
        <p:nvPr/>
      </p:nvGrpSpPr>
      <p:grpSpPr>
        <a:xfrm>
          <a:off x="0" y="0"/>
          <a:ext cx="0" cy="0"/>
          <a:chOff x="0" y="0"/>
          <a:chExt cx="0" cy="0"/>
        </a:xfrm>
      </p:grpSpPr>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04894" y="597820"/>
            <a:ext cx="3068320" cy="292608"/>
          </a:xfrm>
          <a:prstGeom prst="rect">
            <a:avLst/>
          </a:prstGeom>
        </p:spPr>
      </p:pic>
      <p:pic>
        <p:nvPicPr>
          <p:cNvPr id="4" name="Graphic 3">
            <a:extLst>
              <a:ext uri="{FF2B5EF4-FFF2-40B4-BE49-F238E27FC236}">
                <a16:creationId xmlns:a16="http://schemas.microsoft.com/office/drawing/2014/main" id="{E083E474-2D93-03F6-E624-8032165EA877}"/>
              </a:ext>
            </a:extLst>
          </p:cNvPr>
          <p:cNvPicPr>
            <a:picLocks noChangeAspect="1"/>
          </p:cNvPicPr>
          <p:nvPr userDrawn="1"/>
        </p:nvPicPr>
        <p:blipFill>
          <a:blip>
            <a:grayscl/>
            <a:alphaModFix amt="4000"/>
            <a:extLst>
              <a:ext uri="{96DAC541-7B7A-43D3-8B79-37D633B846F1}">
                <asvg:svgBlip xmlns:asvg="http://schemas.microsoft.com/office/drawing/2016/SVG/main" r:embed="rId3"/>
              </a:ext>
            </a:extLst>
          </a:blip>
          <a:srcRect l="42275" r="2049"/>
          <a:stretch>
            <a:fillRect/>
          </a:stretch>
        </p:blipFill>
        <p:spPr>
          <a:xfrm rot="18415104" flipH="1">
            <a:off x="1641996" y="482334"/>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6" name="Free-form: Shape 5">
            <a:extLst>
              <a:ext uri="{FF2B5EF4-FFF2-40B4-BE49-F238E27FC236}">
                <a16:creationId xmlns:a16="http://schemas.microsoft.com/office/drawing/2014/main" id="{6CE446BC-1085-B6B0-C786-19B8B12A4D7F}"/>
              </a:ext>
            </a:extLst>
          </p:cNvPr>
          <p:cNvSpPr/>
          <p:nvPr userDrawn="1"/>
        </p:nvSpPr>
        <p:spPr bwMode="auto">
          <a:xfrm flipH="1">
            <a:off x="2270754" y="1643743"/>
            <a:ext cx="9052565" cy="4365172"/>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E7A7ACAA-7CED-14F7-AC14-7AA34C19D311}"/>
              </a:ext>
            </a:extLst>
          </p:cNvPr>
          <p:cNvGrpSpPr/>
          <p:nvPr userDrawn="1"/>
        </p:nvGrpSpPr>
        <p:grpSpPr>
          <a:xfrm>
            <a:off x="0" y="1857798"/>
            <a:ext cx="1999622" cy="1111528"/>
            <a:chOff x="0" y="2143857"/>
            <a:chExt cx="1647336" cy="915703"/>
          </a:xfrm>
          <a:solidFill>
            <a:schemeClr val="bg1">
              <a:lumMod val="95000"/>
            </a:schemeClr>
          </a:solidFill>
        </p:grpSpPr>
        <p:grpSp>
          <p:nvGrpSpPr>
            <p:cNvPr id="10" name="Group 9">
              <a:extLst>
                <a:ext uri="{FF2B5EF4-FFF2-40B4-BE49-F238E27FC236}">
                  <a16:creationId xmlns:a16="http://schemas.microsoft.com/office/drawing/2014/main" id="{E2512CC7-AD4E-0DD6-8761-D76C2A813F2A}"/>
                </a:ext>
              </a:extLst>
            </p:cNvPr>
            <p:cNvGrpSpPr/>
            <p:nvPr/>
          </p:nvGrpSpPr>
          <p:grpSpPr>
            <a:xfrm>
              <a:off x="0" y="2356582"/>
              <a:ext cx="1647336" cy="64803"/>
              <a:chOff x="0" y="2352485"/>
              <a:chExt cx="1647336" cy="64803"/>
            </a:xfrm>
            <a:grpFill/>
          </p:grpSpPr>
          <p:sp>
            <p:nvSpPr>
              <p:cNvPr id="59" name="Oval 58">
                <a:extLst>
                  <a:ext uri="{FF2B5EF4-FFF2-40B4-BE49-F238E27FC236}">
                    <a16:creationId xmlns:a16="http://schemas.microsoft.com/office/drawing/2014/main" id="{7D1A037A-CEE9-2F20-DF1C-FE9A26019C81}"/>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DF523661-AD4B-7473-22A0-B07EA8B18CF3}"/>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D7654F09-F922-54EE-5ACC-2CC4276C0081}"/>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92DC399E-ADEC-2741-B9A4-F77133432C07}"/>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37F024E9-2BC9-7874-F21F-F1FB66F4D29D}"/>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856C7F18-DBDF-B629-6760-5BFA92ABD735}"/>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875D8325-05BE-6DD7-48E8-AE19A5E4DAB0}"/>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F0CDA91-46B4-40C5-08A8-BDEF8F9C3EFA}"/>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59C8F1-3866-08AA-DBAF-818D9708969E}"/>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644C65B9-4B78-DAC3-651F-296244D876C7}"/>
                </a:ext>
              </a:extLst>
            </p:cNvPr>
            <p:cNvGrpSpPr/>
            <p:nvPr/>
          </p:nvGrpSpPr>
          <p:grpSpPr>
            <a:xfrm>
              <a:off x="0" y="2569307"/>
              <a:ext cx="1647336" cy="64803"/>
              <a:chOff x="0" y="2561113"/>
              <a:chExt cx="1647336" cy="64803"/>
            </a:xfrm>
            <a:grpFill/>
          </p:grpSpPr>
          <p:sp>
            <p:nvSpPr>
              <p:cNvPr id="50" name="Oval 49">
                <a:extLst>
                  <a:ext uri="{FF2B5EF4-FFF2-40B4-BE49-F238E27FC236}">
                    <a16:creationId xmlns:a16="http://schemas.microsoft.com/office/drawing/2014/main" id="{370DA5D0-7931-BA78-691D-22693942D2F1}"/>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44060AF-5E99-705C-C0AF-FD220E66652B}"/>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FA9EDADF-22C1-2331-0DFC-DCE8152D8B13}"/>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77139504-DCE6-64B8-7ABD-3BC6274888E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15831C21-7379-8654-824E-36019B733E20}"/>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C33713FC-1CC6-65A0-1D2C-53DCFB92EB23}"/>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89A2EBB-E46D-C79F-A772-103A88493792}"/>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F84CFAA5-C901-DA64-4301-65BA55DC4C9D}"/>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69416453-1319-5703-E4B1-0A398B3E0B6D}"/>
                  </a:ext>
                </a:extLst>
              </p:cNvPr>
              <p:cNvSpPr/>
              <p:nvPr/>
            </p:nvSpPr>
            <p:spPr bwMode="auto">
              <a:xfrm>
                <a:off x="98908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75A2E959-5DAD-6810-E70E-9671474C360D}"/>
                </a:ext>
              </a:extLst>
            </p:cNvPr>
            <p:cNvGrpSpPr/>
            <p:nvPr/>
          </p:nvGrpSpPr>
          <p:grpSpPr>
            <a:xfrm>
              <a:off x="0" y="2143857"/>
              <a:ext cx="1647336" cy="64803"/>
              <a:chOff x="0" y="2143857"/>
              <a:chExt cx="1647336" cy="64803"/>
            </a:xfrm>
            <a:grpFill/>
          </p:grpSpPr>
          <p:sp>
            <p:nvSpPr>
              <p:cNvPr id="41" name="Oval 40">
                <a:extLst>
                  <a:ext uri="{FF2B5EF4-FFF2-40B4-BE49-F238E27FC236}">
                    <a16:creationId xmlns:a16="http://schemas.microsoft.com/office/drawing/2014/main" id="{B1B60CB3-E051-F18F-795E-153B8661E04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6271ED59-18AD-BB11-8A40-A541A46B6139}"/>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2F75A833-1FC3-0C71-D380-178DE4E68234}"/>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9359B67-5F1E-C317-4147-B24F70374053}"/>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E1DFDF77-C56B-EC48-3D58-E2FA5B4C70D9}"/>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8697244E-D21C-88A8-45B8-CA3EB8709BD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A175BF42-5005-B157-631B-0B595EC9616C}"/>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80422301-E306-48BD-F945-2277A2B79120}"/>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1A3776E-AAA8-7800-0579-EF76E368C1C1}"/>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571FE104-AA7C-F4DD-0D9E-16503144E9ED}"/>
                </a:ext>
              </a:extLst>
            </p:cNvPr>
            <p:cNvGrpSpPr/>
            <p:nvPr/>
          </p:nvGrpSpPr>
          <p:grpSpPr>
            <a:xfrm>
              <a:off x="0" y="2782032"/>
              <a:ext cx="1647336" cy="64803"/>
              <a:chOff x="0" y="2769740"/>
              <a:chExt cx="1647336" cy="64803"/>
            </a:xfrm>
            <a:grpFill/>
          </p:grpSpPr>
          <p:sp>
            <p:nvSpPr>
              <p:cNvPr id="32" name="Oval 31">
                <a:extLst>
                  <a:ext uri="{FF2B5EF4-FFF2-40B4-BE49-F238E27FC236}">
                    <a16:creationId xmlns:a16="http://schemas.microsoft.com/office/drawing/2014/main" id="{6924F270-20EF-8D3E-76E4-1CAF47DA6635}"/>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A15D63E-D7D9-E34E-6F28-D4F872328FB9}"/>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B82A9B26-6CB2-45FF-7246-994DE57B0D89}"/>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42BF673-03E6-EAD0-B88D-C9F38479DBF0}"/>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A6854C4D-5BEC-6D4F-ECBE-F03E194F873B}"/>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2171685-4DEE-80AE-132E-1CC58526A8F0}"/>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C2794D7F-8B05-3220-8CE0-43A58AD6B735}"/>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C3063A3B-F5B3-6E4B-DDEC-9CBDA798577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56FC5BEE-F537-1E52-3E02-57FA4B7C0510}"/>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B1FBEC8-40BE-023E-91A9-D70930DD690C}"/>
                </a:ext>
              </a:extLst>
            </p:cNvPr>
            <p:cNvGrpSpPr/>
            <p:nvPr/>
          </p:nvGrpSpPr>
          <p:grpSpPr>
            <a:xfrm>
              <a:off x="0" y="2994757"/>
              <a:ext cx="1647336" cy="64803"/>
              <a:chOff x="0" y="2143857"/>
              <a:chExt cx="1647336" cy="64803"/>
            </a:xfrm>
            <a:grpFill/>
          </p:grpSpPr>
          <p:sp>
            <p:nvSpPr>
              <p:cNvPr id="23" name="Oval 22">
                <a:extLst>
                  <a:ext uri="{FF2B5EF4-FFF2-40B4-BE49-F238E27FC236}">
                    <a16:creationId xmlns:a16="http://schemas.microsoft.com/office/drawing/2014/main" id="{98BFA0E7-9905-1252-EBE8-76FCBF97AD10}"/>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8F93444-FFA0-43BE-C787-E7B51B253934}"/>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965CA70D-90F3-B548-EA12-F97CED7F6CD2}"/>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6289A8A-8F59-C6F4-28CD-1DEC69061374}"/>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1A4F0D-74E8-C59E-C01E-4E2CF6A18FD6}"/>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93D4A81-BF06-97B2-195F-EFC0B53A652D}"/>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8FC3D0B-D9CC-DACA-37A3-D15CCD2DA283}"/>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3DC35A6C-6E3F-8360-7826-37FFD02B131E}"/>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D40D6CF0-2C1F-B050-8392-64AB3C98C70C}"/>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C5AB2085-3A36-4EBA-9969-F87F875F093B}"/>
              </a:ext>
            </a:extLst>
          </p:cNvPr>
          <p:cNvGrpSpPr/>
          <p:nvPr userDrawn="1"/>
        </p:nvGrpSpPr>
        <p:grpSpPr>
          <a:xfrm>
            <a:off x="11016820" y="5720920"/>
            <a:ext cx="870379" cy="870379"/>
            <a:chOff x="11016820" y="5720920"/>
            <a:chExt cx="870379" cy="870379"/>
          </a:xfrm>
        </p:grpSpPr>
        <p:sp>
          <p:nvSpPr>
            <p:cNvPr id="70" name="Oval 69">
              <a:extLst>
                <a:ext uri="{FF2B5EF4-FFF2-40B4-BE49-F238E27FC236}">
                  <a16:creationId xmlns:a16="http://schemas.microsoft.com/office/drawing/2014/main" id="{FA747C3B-5F40-2626-1407-17F8DB341DC1}"/>
                </a:ext>
              </a:extLst>
            </p:cNvPr>
            <p:cNvSpPr/>
            <p:nvPr/>
          </p:nvSpPr>
          <p:spPr bwMode="auto">
            <a:xfrm>
              <a:off x="11798515"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29466268-1797-C5F9-8A26-B22B1038B38A}"/>
                </a:ext>
              </a:extLst>
            </p:cNvPr>
            <p:cNvSpPr/>
            <p:nvPr/>
          </p:nvSpPr>
          <p:spPr bwMode="auto">
            <a:xfrm>
              <a:off x="11798515"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741AE4AE-4314-E957-3475-46F126D7762C}"/>
                </a:ext>
              </a:extLst>
            </p:cNvPr>
            <p:cNvSpPr/>
            <p:nvPr/>
          </p:nvSpPr>
          <p:spPr bwMode="auto">
            <a:xfrm>
              <a:off x="11798515"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4D6E5199-B1E6-C0F7-307E-A0BA56C15E5D}"/>
                </a:ext>
              </a:extLst>
            </p:cNvPr>
            <p:cNvSpPr/>
            <p:nvPr/>
          </p:nvSpPr>
          <p:spPr bwMode="auto">
            <a:xfrm>
              <a:off x="11798515"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2E240D5B-FD26-8CB5-C1A7-4CBB6A665454}"/>
                </a:ext>
              </a:extLst>
            </p:cNvPr>
            <p:cNvSpPr/>
            <p:nvPr/>
          </p:nvSpPr>
          <p:spPr bwMode="auto">
            <a:xfrm rot="5400000">
              <a:off x="1153795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8352D7E5-1D42-095A-6264-E22CABA65399}"/>
                </a:ext>
              </a:extLst>
            </p:cNvPr>
            <p:cNvSpPr/>
            <p:nvPr/>
          </p:nvSpPr>
          <p:spPr bwMode="auto">
            <a:xfrm rot="5400000">
              <a:off x="11277384"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32CB5A7-1F46-6D3E-6BF0-9D04171733BE}"/>
                </a:ext>
              </a:extLst>
            </p:cNvPr>
            <p:cNvSpPr/>
            <p:nvPr/>
          </p:nvSpPr>
          <p:spPr bwMode="auto">
            <a:xfrm rot="5400000">
              <a:off x="1101682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5AF8893D-3C15-3BD6-D997-D639559D308A}"/>
                </a:ext>
              </a:extLst>
            </p:cNvPr>
            <p:cNvSpPr/>
            <p:nvPr/>
          </p:nvSpPr>
          <p:spPr bwMode="auto">
            <a:xfrm rot="5400000">
              <a:off x="1153795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BC42C8E-D62B-7792-7EB7-D7352C9645DA}"/>
                </a:ext>
              </a:extLst>
            </p:cNvPr>
            <p:cNvSpPr/>
            <p:nvPr/>
          </p:nvSpPr>
          <p:spPr bwMode="auto">
            <a:xfrm rot="5400000">
              <a:off x="11277384"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D64392F9-3C23-70DD-56F4-DCAA1F8A4B10}"/>
                </a:ext>
              </a:extLst>
            </p:cNvPr>
            <p:cNvSpPr/>
            <p:nvPr/>
          </p:nvSpPr>
          <p:spPr bwMode="auto">
            <a:xfrm rot="5400000">
              <a:off x="11537950"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3D96143-81DE-9835-79A0-8BEDCED415FF}"/>
                </a:ext>
              </a:extLst>
            </p:cNvPr>
            <p:cNvSpPr/>
            <p:nvPr/>
          </p:nvSpPr>
          <p:spPr bwMode="auto">
            <a:xfrm rot="5400000">
              <a:off x="1101682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2EF2A520-8CE1-BAAA-B1E9-9B9E9E95BA0A}"/>
                </a:ext>
              </a:extLst>
            </p:cNvPr>
            <p:cNvSpPr/>
            <p:nvPr/>
          </p:nvSpPr>
          <p:spPr bwMode="auto">
            <a:xfrm rot="5400000">
              <a:off x="11537950"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82" name="Free-form: Shape 81">
            <a:extLst>
              <a:ext uri="{FF2B5EF4-FFF2-40B4-BE49-F238E27FC236}">
                <a16:creationId xmlns:a16="http://schemas.microsoft.com/office/drawing/2014/main" id="{DAF02231-77D6-1273-D9CC-2C5922C98250}"/>
              </a:ext>
            </a:extLst>
          </p:cNvPr>
          <p:cNvSpPr/>
          <p:nvPr userDrawn="1"/>
        </p:nvSpPr>
        <p:spPr bwMode="auto">
          <a:xfrm>
            <a:off x="1714499" y="1498600"/>
            <a:ext cx="5829301" cy="1829924"/>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Lst>
            <a:ahLst/>
            <a:cxnLst>
              <a:cxn ang="0">
                <a:pos x="connsiteX0" y="connsiteY0"/>
              </a:cxn>
              <a:cxn ang="0">
                <a:pos x="connsiteX1" y="connsiteY1"/>
              </a:cxn>
              <a:cxn ang="0">
                <a:pos x="connsiteX2" y="connsiteY2"/>
              </a:cxn>
              <a:cxn ang="0">
                <a:pos x="connsiteX3" y="connsiteY3"/>
              </a:cxn>
            </a:cxnLst>
            <a:rect l="l" t="t" r="r" b="b"/>
            <a:pathLst>
              <a:path w="4343400" h="1473200">
                <a:moveTo>
                  <a:pt x="0" y="1473200"/>
                </a:moveTo>
                <a:lnTo>
                  <a:pt x="0" y="0"/>
                </a:lnTo>
                <a:lnTo>
                  <a:pt x="4343400" y="0"/>
                </a:lnTo>
                <a:lnTo>
                  <a:pt x="4343400" y="304800"/>
                </a:lnTo>
              </a:path>
            </a:pathLst>
          </a:custGeom>
          <a:noFill/>
          <a:ln w="635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E78E5A3B-573D-8EAA-2EDC-2A58D18893A4}"/>
              </a:ext>
            </a:extLst>
          </p:cNvPr>
          <p:cNvGrpSpPr/>
          <p:nvPr userDrawn="1"/>
        </p:nvGrpSpPr>
        <p:grpSpPr>
          <a:xfrm>
            <a:off x="1714499" y="4027444"/>
            <a:ext cx="600855" cy="789824"/>
            <a:chOff x="1463597" y="3871131"/>
            <a:chExt cx="545832" cy="717497"/>
          </a:xfrm>
        </p:grpSpPr>
        <p:sp>
          <p:nvSpPr>
            <p:cNvPr id="87" name="Graphic 317">
              <a:extLst>
                <a:ext uri="{FF2B5EF4-FFF2-40B4-BE49-F238E27FC236}">
                  <a16:creationId xmlns:a16="http://schemas.microsoft.com/office/drawing/2014/main" id="{2FFDB439-2F7B-3B1E-CE78-BA7807C99AA0}"/>
                </a:ext>
              </a:extLst>
            </p:cNvPr>
            <p:cNvSpPr/>
            <p:nvPr/>
          </p:nvSpPr>
          <p:spPr>
            <a:xfrm rot="16200000">
              <a:off x="1428057" y="4007257"/>
              <a:ext cx="717497" cy="44524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solidFill>
              <a:schemeClr val="bg1">
                <a:lumMod val="95000"/>
              </a:schemeClr>
            </a:solidFill>
            <a:ln w="50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Graphic 318">
              <a:extLst>
                <a:ext uri="{FF2B5EF4-FFF2-40B4-BE49-F238E27FC236}">
                  <a16:creationId xmlns:a16="http://schemas.microsoft.com/office/drawing/2014/main" id="{5EAF443F-3B09-AFA5-713A-8E51763F6818}"/>
                </a:ext>
              </a:extLst>
            </p:cNvPr>
            <p:cNvSpPr/>
            <p:nvPr/>
          </p:nvSpPr>
          <p:spPr>
            <a:xfrm rot="16200000">
              <a:off x="1353386" y="4049637"/>
              <a:ext cx="580908" cy="36048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noFill/>
            <a:ln w="12700"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9" name="Free-form: Shape 88">
            <a:extLst>
              <a:ext uri="{FF2B5EF4-FFF2-40B4-BE49-F238E27FC236}">
                <a16:creationId xmlns:a16="http://schemas.microsoft.com/office/drawing/2014/main" id="{7C11D0DB-B1BF-9C66-06DE-20BB7B89491F}"/>
              </a:ext>
            </a:extLst>
          </p:cNvPr>
          <p:cNvSpPr/>
          <p:nvPr userDrawn="1"/>
        </p:nvSpPr>
        <p:spPr bwMode="auto">
          <a:xfrm>
            <a:off x="2" y="5647174"/>
            <a:ext cx="2699684" cy="1210826"/>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pattFill prst="wdDnDiag">
            <a:fgClr>
              <a:srgbClr val="D8E9F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270758" y="2124717"/>
            <a:ext cx="5829297" cy="1354217"/>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2619375" y="426846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lumMod val="50000"/>
                  </a:srgbClr>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2619375" y="4859638"/>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40943046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29C65921-FD7F-B796-44F6-E9E410683CD9}"/>
              </a:ext>
            </a:extLst>
          </p:cNvPr>
          <p:cNvSpPr/>
          <p:nvPr userDrawn="1"/>
        </p:nvSpPr>
        <p:spPr bwMode="auto">
          <a:xfrm>
            <a:off x="0" y="2328"/>
            <a:ext cx="4025900" cy="6857997"/>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Arrow: U-Turn 4">
            <a:extLst>
              <a:ext uri="{FF2B5EF4-FFF2-40B4-BE49-F238E27FC236}">
                <a16:creationId xmlns:a16="http://schemas.microsoft.com/office/drawing/2014/main" id="{9813402F-4AE0-5DF2-8034-09DE25CC529B}"/>
              </a:ext>
            </a:extLst>
          </p:cNvPr>
          <p:cNvSpPr/>
          <p:nvPr userDrawn="1"/>
        </p:nvSpPr>
        <p:spPr bwMode="auto">
          <a:xfrm rot="5400000">
            <a:off x="1718628" y="2893060"/>
            <a:ext cx="5686424" cy="1071880"/>
          </a:xfrm>
          <a:prstGeom prst="uturnArrow">
            <a:avLst>
              <a:gd name="adj1" fmla="val 25000"/>
              <a:gd name="adj2" fmla="val 0"/>
              <a:gd name="adj3" fmla="val 25000"/>
              <a:gd name="adj4" fmla="val 10792"/>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4A001AE1-8659-BE68-D13E-1749B7C6F739}"/>
              </a:ext>
            </a:extLst>
          </p:cNvPr>
          <p:cNvGrpSpPr/>
          <p:nvPr userDrawn="1"/>
        </p:nvGrpSpPr>
        <p:grpSpPr>
          <a:xfrm>
            <a:off x="4655194" y="1191140"/>
            <a:ext cx="875440" cy="693220"/>
            <a:chOff x="4655194" y="1191140"/>
            <a:chExt cx="875440" cy="693220"/>
          </a:xfrm>
        </p:grpSpPr>
        <p:sp>
          <p:nvSpPr>
            <p:cNvPr id="9" name="Oval 8">
              <a:extLst>
                <a:ext uri="{FF2B5EF4-FFF2-40B4-BE49-F238E27FC236}">
                  <a16:creationId xmlns:a16="http://schemas.microsoft.com/office/drawing/2014/main" id="{B25ED429-AE6A-B1A3-13DF-0807FF238451}"/>
                </a:ext>
              </a:extLst>
            </p:cNvPr>
            <p:cNvSpPr/>
            <p:nvPr/>
          </p:nvSpPr>
          <p:spPr bwMode="auto">
            <a:xfrm>
              <a:off x="4746304" y="1191140"/>
              <a:ext cx="693220" cy="69322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0" name="TextBox 9">
              <a:extLst>
                <a:ext uri="{FF2B5EF4-FFF2-40B4-BE49-F238E27FC236}">
                  <a16:creationId xmlns:a16="http://schemas.microsoft.com/office/drawing/2014/main" id="{4A86AB34-4D15-7377-D025-110BE01996D4}"/>
                </a:ext>
              </a:extLst>
            </p:cNvPr>
            <p:cNvSpPr txBox="1"/>
            <p:nvPr/>
          </p:nvSpPr>
          <p:spPr>
            <a:xfrm>
              <a:off x="4655194" y="1353084"/>
              <a:ext cx="87544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1</a:t>
              </a:r>
            </a:p>
          </p:txBody>
        </p:sp>
      </p:grpSp>
      <p:grpSp>
        <p:nvGrpSpPr>
          <p:cNvPr id="12" name="Group 11">
            <a:extLst>
              <a:ext uri="{FF2B5EF4-FFF2-40B4-BE49-F238E27FC236}">
                <a16:creationId xmlns:a16="http://schemas.microsoft.com/office/drawing/2014/main" id="{BEE9EF4B-403F-24CD-7476-4B9CEC30288B}"/>
              </a:ext>
            </a:extLst>
          </p:cNvPr>
          <p:cNvGrpSpPr/>
          <p:nvPr/>
        </p:nvGrpSpPr>
        <p:grpSpPr>
          <a:xfrm>
            <a:off x="4655194" y="2491228"/>
            <a:ext cx="875439" cy="693220"/>
            <a:chOff x="4542890" y="2973275"/>
            <a:chExt cx="1122682" cy="889000"/>
          </a:xfrm>
        </p:grpSpPr>
        <p:sp>
          <p:nvSpPr>
            <p:cNvPr id="14" name="Oval 13">
              <a:extLst>
                <a:ext uri="{FF2B5EF4-FFF2-40B4-BE49-F238E27FC236}">
                  <a16:creationId xmlns:a16="http://schemas.microsoft.com/office/drawing/2014/main" id="{826C87C4-A125-7CE6-E5A4-CA32960ED41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5" name="TextBox 14">
              <a:extLst>
                <a:ext uri="{FF2B5EF4-FFF2-40B4-BE49-F238E27FC236}">
                  <a16:creationId xmlns:a16="http://schemas.microsoft.com/office/drawing/2014/main" id="{ABE076AC-7D9B-0DF2-53A3-6CE0BDEA6EF6}"/>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2</a:t>
              </a:r>
            </a:p>
          </p:txBody>
        </p:sp>
      </p:grpSp>
      <p:grpSp>
        <p:nvGrpSpPr>
          <p:cNvPr id="18" name="Group 17">
            <a:extLst>
              <a:ext uri="{FF2B5EF4-FFF2-40B4-BE49-F238E27FC236}">
                <a16:creationId xmlns:a16="http://schemas.microsoft.com/office/drawing/2014/main" id="{02665FB2-6199-D848-B7A0-CB7398D06B75}"/>
              </a:ext>
            </a:extLst>
          </p:cNvPr>
          <p:cNvGrpSpPr/>
          <p:nvPr userDrawn="1"/>
        </p:nvGrpSpPr>
        <p:grpSpPr>
          <a:xfrm>
            <a:off x="82210" y="487355"/>
            <a:ext cx="1999622" cy="1111528"/>
            <a:chOff x="0" y="2143857"/>
            <a:chExt cx="1647336" cy="915703"/>
          </a:xfrm>
          <a:solidFill>
            <a:schemeClr val="accent1">
              <a:lumMod val="20000"/>
              <a:lumOff val="80000"/>
            </a:schemeClr>
          </a:solidFill>
        </p:grpSpPr>
        <p:grpSp>
          <p:nvGrpSpPr>
            <p:cNvPr id="19" name="Group 18">
              <a:extLst>
                <a:ext uri="{FF2B5EF4-FFF2-40B4-BE49-F238E27FC236}">
                  <a16:creationId xmlns:a16="http://schemas.microsoft.com/office/drawing/2014/main" id="{90C3E72C-BC08-E613-5F40-3CCF61D54557}"/>
                </a:ext>
              </a:extLst>
            </p:cNvPr>
            <p:cNvGrpSpPr/>
            <p:nvPr/>
          </p:nvGrpSpPr>
          <p:grpSpPr>
            <a:xfrm>
              <a:off x="0" y="2356582"/>
              <a:ext cx="1647336" cy="64803"/>
              <a:chOff x="0" y="2352485"/>
              <a:chExt cx="1647336" cy="64803"/>
            </a:xfrm>
            <a:grpFill/>
          </p:grpSpPr>
          <p:sp>
            <p:nvSpPr>
              <p:cNvPr id="60" name="Oval 59">
                <a:extLst>
                  <a:ext uri="{FF2B5EF4-FFF2-40B4-BE49-F238E27FC236}">
                    <a16:creationId xmlns:a16="http://schemas.microsoft.com/office/drawing/2014/main" id="{A90DAD7A-43C3-0B7B-06F0-B83E4BC2982F}"/>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C826D7C4-3E96-7653-78A8-963550094E62}"/>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8B7CD4CB-B826-FC84-67D7-CBF3F39C5EAF}"/>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F35B59A6-6763-B8B1-90AE-7C1C223A150B}"/>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D6474B4-6827-9BF9-FAF2-E1795B70A592}"/>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0741D26-8134-B07C-5729-7489D8773DB2}"/>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D63A4E95-2F66-BFE2-4B98-F21E0E241CA6}"/>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A31585C-BEE0-6E48-7C99-D4F3E7FB0B0F}"/>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E580A55-B12F-81CE-4C39-011911B47C96}"/>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C0FE0B3-F9C8-2DCE-1AD7-2D310541667A}"/>
                </a:ext>
              </a:extLst>
            </p:cNvPr>
            <p:cNvGrpSpPr/>
            <p:nvPr/>
          </p:nvGrpSpPr>
          <p:grpSpPr>
            <a:xfrm>
              <a:off x="0" y="2569307"/>
              <a:ext cx="1647336" cy="64804"/>
              <a:chOff x="0" y="2561113"/>
              <a:chExt cx="1647336" cy="64804"/>
            </a:xfrm>
            <a:grpFill/>
          </p:grpSpPr>
          <p:sp>
            <p:nvSpPr>
              <p:cNvPr id="51" name="Oval 50">
                <a:extLst>
                  <a:ext uri="{FF2B5EF4-FFF2-40B4-BE49-F238E27FC236}">
                    <a16:creationId xmlns:a16="http://schemas.microsoft.com/office/drawing/2014/main" id="{5F539D38-BAC6-E106-8351-378D03B95ECB}"/>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7CD3226-D29E-43DE-5EDC-EE4C81470C07}"/>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F45FBE0-18FE-403A-20BA-C7B34EB2C81C}"/>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761FDE27-595C-FFC5-51E2-A1ED4B275F9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209AC06-E726-AB85-14F5-6B00239D701A}"/>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16558105-8E50-3399-15D7-31043E9AD44E}"/>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AA12D00-9BAD-5E66-25AF-C256F8A82720}"/>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1E39797-6B0D-14A9-60AB-0801F02D8959}"/>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13D16B7-D349-AA7B-93A4-4F2737B66013}"/>
                  </a:ext>
                </a:extLst>
              </p:cNvPr>
              <p:cNvSpPr/>
              <p:nvPr/>
            </p:nvSpPr>
            <p:spPr bwMode="auto">
              <a:xfrm>
                <a:off x="989083" y="2561114"/>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151B41DB-F6F9-349B-2F3E-A7D471C23451}"/>
                </a:ext>
              </a:extLst>
            </p:cNvPr>
            <p:cNvGrpSpPr/>
            <p:nvPr/>
          </p:nvGrpSpPr>
          <p:grpSpPr>
            <a:xfrm>
              <a:off x="0" y="2143857"/>
              <a:ext cx="1647336" cy="64803"/>
              <a:chOff x="0" y="2143857"/>
              <a:chExt cx="1647336" cy="64803"/>
            </a:xfrm>
            <a:grpFill/>
          </p:grpSpPr>
          <p:sp>
            <p:nvSpPr>
              <p:cNvPr id="42" name="Oval 41">
                <a:extLst>
                  <a:ext uri="{FF2B5EF4-FFF2-40B4-BE49-F238E27FC236}">
                    <a16:creationId xmlns:a16="http://schemas.microsoft.com/office/drawing/2014/main" id="{E2EC5D2A-A54B-10AB-1E7F-6D4E2CB71DA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F7142276-15F4-0710-1242-1121E7122CD8}"/>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0D36DC4-3C12-7C0F-D16A-D8703E6BDBB1}"/>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CC0488-9DB0-DA62-1B25-0127C8FE9827}"/>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6B78467-3055-9EA7-0D52-D646B9BD7953}"/>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513A2EF-5D16-E2C7-FD52-025F7D40CF1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684A6D68-14DB-96DF-A697-DA0D78888DA2}"/>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B7386B6C-CA37-6018-FD08-8A8E49F5C3C1}"/>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6AC8E9AC-E8EE-0CD7-248D-ACA0A76B920F}"/>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6033F52-E3A6-1680-DC0D-D620CD1DA149}"/>
                </a:ext>
              </a:extLst>
            </p:cNvPr>
            <p:cNvGrpSpPr/>
            <p:nvPr/>
          </p:nvGrpSpPr>
          <p:grpSpPr>
            <a:xfrm>
              <a:off x="0" y="2782032"/>
              <a:ext cx="1647336" cy="64803"/>
              <a:chOff x="0" y="2769740"/>
              <a:chExt cx="1647336" cy="64803"/>
            </a:xfrm>
            <a:grpFill/>
          </p:grpSpPr>
          <p:sp>
            <p:nvSpPr>
              <p:cNvPr id="33" name="Oval 32">
                <a:extLst>
                  <a:ext uri="{FF2B5EF4-FFF2-40B4-BE49-F238E27FC236}">
                    <a16:creationId xmlns:a16="http://schemas.microsoft.com/office/drawing/2014/main" id="{751A4015-A7FF-D134-974D-1EB42EF2821A}"/>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4FA86999-E837-FCDB-A569-94D7AC160918}"/>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2DC6340-3A97-7491-6E84-4D8D919FA7AA}"/>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C5E774E-5267-777B-E099-4AA24D882CCB}"/>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066CC9F6-B651-F2D5-C726-DBB970B82C48}"/>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EB603B9-F1AD-A280-D081-930CA5045ED3}"/>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7A75424-081A-21D0-FD3F-24A0F7B93067}"/>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54AD13A-8999-2AD7-ACB0-8A7885185A5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92072C5-EFDC-BF8F-5FF4-90ED48601C2F}"/>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1C1D9B22-F84B-76EC-EAD6-E8E51C8A99B2}"/>
                </a:ext>
              </a:extLst>
            </p:cNvPr>
            <p:cNvGrpSpPr/>
            <p:nvPr/>
          </p:nvGrpSpPr>
          <p:grpSpPr>
            <a:xfrm>
              <a:off x="0" y="2994757"/>
              <a:ext cx="1647336" cy="64803"/>
              <a:chOff x="0" y="2143857"/>
              <a:chExt cx="1647336" cy="64803"/>
            </a:xfrm>
            <a:grpFill/>
          </p:grpSpPr>
          <p:sp>
            <p:nvSpPr>
              <p:cNvPr id="24" name="Oval 23">
                <a:extLst>
                  <a:ext uri="{FF2B5EF4-FFF2-40B4-BE49-F238E27FC236}">
                    <a16:creationId xmlns:a16="http://schemas.microsoft.com/office/drawing/2014/main" id="{F7544CC5-44C3-3B85-469B-EC335C813333}"/>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8D28A50-3AFC-B551-9745-3C2A16D8F6DA}"/>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C9A610-2142-CAC9-B135-417591FE0CE7}"/>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32838E-BCBA-A6CC-9F23-4EBF3D2FFD61}"/>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C6883B0-59EF-596C-A3F3-94671C4E4082}"/>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A5978B37-DDC4-4B1C-987A-E4C3539B68CE}"/>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0D680B7-0E1F-1FA3-7E94-93B924F96FF8}"/>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76895536-276A-D448-DA48-E142A73E6D29}"/>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ECD4F65B-6DC0-8341-E2DD-9326858C8588}"/>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7EFACC46-D7C6-A9C9-A713-51BBDF6E0826}"/>
              </a:ext>
            </a:extLst>
          </p:cNvPr>
          <p:cNvGrpSpPr/>
          <p:nvPr userDrawn="1"/>
        </p:nvGrpSpPr>
        <p:grpSpPr>
          <a:xfrm>
            <a:off x="10348517" y="5559865"/>
            <a:ext cx="1843479" cy="1298140"/>
            <a:chOff x="10348517" y="5559865"/>
            <a:chExt cx="1843479" cy="1298140"/>
          </a:xfrm>
        </p:grpSpPr>
        <p:grpSp>
          <p:nvGrpSpPr>
            <p:cNvPr id="70" name="Graphic 8">
              <a:extLst>
                <a:ext uri="{FF2B5EF4-FFF2-40B4-BE49-F238E27FC236}">
                  <a16:creationId xmlns:a16="http://schemas.microsoft.com/office/drawing/2014/main" id="{352583EF-A44C-30BC-DF51-A58388043305}"/>
                </a:ext>
              </a:extLst>
            </p:cNvPr>
            <p:cNvGrpSpPr/>
            <p:nvPr/>
          </p:nvGrpSpPr>
          <p:grpSpPr>
            <a:xfrm flipH="1">
              <a:off x="10348517" y="5687417"/>
              <a:ext cx="1563963" cy="1170588"/>
              <a:chOff x="5302292" y="8602600"/>
              <a:chExt cx="1381243" cy="1033826"/>
            </a:xfrm>
          </p:grpSpPr>
          <p:sp>
            <p:nvSpPr>
              <p:cNvPr id="76" name="Freeform: Shape 75">
                <a:extLst>
                  <a:ext uri="{FF2B5EF4-FFF2-40B4-BE49-F238E27FC236}">
                    <a16:creationId xmlns:a16="http://schemas.microsoft.com/office/drawing/2014/main" id="{275B7312-75C1-319A-B5F7-65094F88892C}"/>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A8C487D-BDBE-F196-E82A-BEF7FD134ED6}"/>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813152B-3F53-FB86-B069-1A6D1F434A56}"/>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C916D3A-E314-69C1-0E7E-EC479B137F8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aphic 8">
              <a:extLst>
                <a:ext uri="{FF2B5EF4-FFF2-40B4-BE49-F238E27FC236}">
                  <a16:creationId xmlns:a16="http://schemas.microsoft.com/office/drawing/2014/main" id="{10392A2F-ABC4-CCDE-715B-1A1C9DD77AA2}"/>
                </a:ext>
              </a:extLst>
            </p:cNvPr>
            <p:cNvGrpSpPr/>
            <p:nvPr/>
          </p:nvGrpSpPr>
          <p:grpSpPr>
            <a:xfrm flipH="1">
              <a:off x="11280562" y="5559865"/>
              <a:ext cx="911434" cy="1298132"/>
              <a:chOff x="5055426" y="8489952"/>
              <a:chExt cx="804949" cy="1146469"/>
            </a:xfrm>
          </p:grpSpPr>
          <p:sp>
            <p:nvSpPr>
              <p:cNvPr id="72" name="Freeform: Shape 71">
                <a:extLst>
                  <a:ext uri="{FF2B5EF4-FFF2-40B4-BE49-F238E27FC236}">
                    <a16:creationId xmlns:a16="http://schemas.microsoft.com/office/drawing/2014/main" id="{DA1BE768-C446-2BBC-8B4B-82BB8537E644}"/>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6B75C75-110C-F534-F18D-2EC1E6583E06}"/>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1F3A462-2CFA-EC34-F2E5-2DD79D1BA34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6FD0968-77A6-E12D-A940-20167CABAB77}"/>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accent1">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TextBox 79">
            <a:extLst>
              <a:ext uri="{FF2B5EF4-FFF2-40B4-BE49-F238E27FC236}">
                <a16:creationId xmlns:a16="http://schemas.microsoft.com/office/drawing/2014/main" id="{CF4122C2-0364-1B55-B2B7-9EFB1BF42341}"/>
              </a:ext>
            </a:extLst>
          </p:cNvPr>
          <p:cNvSpPr txBox="1"/>
          <p:nvPr userDrawn="1"/>
        </p:nvSpPr>
        <p:spPr>
          <a:xfrm>
            <a:off x="361661" y="3013502"/>
            <a:ext cx="3130970" cy="830997"/>
          </a:xfrm>
          <a:prstGeom prst="rect">
            <a:avLst/>
          </a:prstGeom>
          <a:noFill/>
        </p:spPr>
        <p:txBody>
          <a:bodyPr wrap="square" lIns="0" tIns="0" rIns="0" bIns="0" rtlCol="0">
            <a:spAutoFit/>
          </a:bodyPr>
          <a:lstStyle/>
          <a:p>
            <a:pPr algn="l"/>
            <a:r>
              <a:rPr lang="en-US" sz="5400" b="1">
                <a:solidFill>
                  <a:schemeClr val="tx2"/>
                </a:solidFill>
                <a:latin typeface="+mj-lt"/>
              </a:rPr>
              <a:t>Agenda</a:t>
            </a:r>
          </a:p>
        </p:txBody>
      </p:sp>
      <p:grpSp>
        <p:nvGrpSpPr>
          <p:cNvPr id="87" name="Group 86">
            <a:extLst>
              <a:ext uri="{FF2B5EF4-FFF2-40B4-BE49-F238E27FC236}">
                <a16:creationId xmlns:a16="http://schemas.microsoft.com/office/drawing/2014/main" id="{BFBAC349-3C49-7052-471D-B4179B5F42E5}"/>
              </a:ext>
            </a:extLst>
          </p:cNvPr>
          <p:cNvGrpSpPr/>
          <p:nvPr userDrawn="1"/>
        </p:nvGrpSpPr>
        <p:grpSpPr>
          <a:xfrm>
            <a:off x="4655192" y="3791316"/>
            <a:ext cx="875439" cy="693220"/>
            <a:chOff x="4542888" y="2973275"/>
            <a:chExt cx="1122682" cy="889000"/>
          </a:xfrm>
        </p:grpSpPr>
        <p:sp>
          <p:nvSpPr>
            <p:cNvPr id="89" name="Oval 88">
              <a:extLst>
                <a:ext uri="{FF2B5EF4-FFF2-40B4-BE49-F238E27FC236}">
                  <a16:creationId xmlns:a16="http://schemas.microsoft.com/office/drawing/2014/main" id="{4FA8D70B-7D7D-CBAB-81D5-170BDE9AB1B5}"/>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90" name="TextBox 89">
              <a:extLst>
                <a:ext uri="{FF2B5EF4-FFF2-40B4-BE49-F238E27FC236}">
                  <a16:creationId xmlns:a16="http://schemas.microsoft.com/office/drawing/2014/main" id="{E8898D7D-F01D-5294-4D87-F3517D23372B}"/>
                </a:ext>
              </a:extLst>
            </p:cNvPr>
            <p:cNvSpPr txBox="1"/>
            <p:nvPr userDrawn="1"/>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3</a:t>
              </a:r>
            </a:p>
          </p:txBody>
        </p:sp>
      </p:grpSp>
      <p:grpSp>
        <p:nvGrpSpPr>
          <p:cNvPr id="97" name="Group 96">
            <a:extLst>
              <a:ext uri="{FF2B5EF4-FFF2-40B4-BE49-F238E27FC236}">
                <a16:creationId xmlns:a16="http://schemas.microsoft.com/office/drawing/2014/main" id="{DBA52503-C894-6277-EE31-EF57BB111575}"/>
              </a:ext>
            </a:extLst>
          </p:cNvPr>
          <p:cNvGrpSpPr/>
          <p:nvPr/>
        </p:nvGrpSpPr>
        <p:grpSpPr>
          <a:xfrm>
            <a:off x="4655194" y="5091403"/>
            <a:ext cx="875439" cy="693220"/>
            <a:chOff x="4542890" y="2973275"/>
            <a:chExt cx="1122682" cy="889000"/>
          </a:xfrm>
        </p:grpSpPr>
        <p:sp>
          <p:nvSpPr>
            <p:cNvPr id="99" name="Oval 98">
              <a:extLst>
                <a:ext uri="{FF2B5EF4-FFF2-40B4-BE49-F238E27FC236}">
                  <a16:creationId xmlns:a16="http://schemas.microsoft.com/office/drawing/2014/main" id="{CDA04284-D495-8C1F-0D82-E5D538A6315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00" name="TextBox 99">
              <a:extLst>
                <a:ext uri="{FF2B5EF4-FFF2-40B4-BE49-F238E27FC236}">
                  <a16:creationId xmlns:a16="http://schemas.microsoft.com/office/drawing/2014/main" id="{645464B5-B1A2-C821-0236-3B1982AB0DB1}"/>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4</a:t>
              </a:r>
            </a:p>
          </p:txBody>
        </p:sp>
      </p:grpSp>
      <p:sp>
        <p:nvSpPr>
          <p:cNvPr id="101" name="Text Placeholder 2">
            <a:extLst>
              <a:ext uri="{FF2B5EF4-FFF2-40B4-BE49-F238E27FC236}">
                <a16:creationId xmlns:a16="http://schemas.microsoft.com/office/drawing/2014/main" id="{E8EC1362-0CB6-2ADF-991C-4E36B45C0928}"/>
              </a:ext>
            </a:extLst>
          </p:cNvPr>
          <p:cNvSpPr>
            <a:spLocks noGrp="1"/>
          </p:cNvSpPr>
          <p:nvPr>
            <p:ph type="body" sz="quarter" idx="10"/>
          </p:nvPr>
        </p:nvSpPr>
        <p:spPr>
          <a:xfrm>
            <a:off x="5656602" y="1399251"/>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102" name="Text Placeholder 2">
            <a:extLst>
              <a:ext uri="{FF2B5EF4-FFF2-40B4-BE49-F238E27FC236}">
                <a16:creationId xmlns:a16="http://schemas.microsoft.com/office/drawing/2014/main" id="{DB300B4E-15B0-3EC4-2E0C-DB32B767F4E3}"/>
              </a:ext>
            </a:extLst>
          </p:cNvPr>
          <p:cNvSpPr>
            <a:spLocks noGrp="1"/>
          </p:cNvSpPr>
          <p:nvPr>
            <p:ph type="body" sz="quarter" idx="11"/>
          </p:nvPr>
        </p:nvSpPr>
        <p:spPr>
          <a:xfrm>
            <a:off x="5656602" y="2689079"/>
            <a:ext cx="6070600" cy="307777"/>
          </a:xfrm>
        </p:spPr>
        <p:txBody>
          <a:bodyPr/>
          <a:lstStyle>
            <a:lvl1pPr marL="0" indent="0">
              <a:buNone/>
              <a:defRPr sz="2000">
                <a:solidFill>
                  <a:schemeClr val="tx2"/>
                </a:solidFill>
                <a:latin typeface="+mj-lt"/>
              </a:defRPr>
            </a:lvl1pPr>
          </a:lstStyle>
          <a:p>
            <a:pPr lvl="0"/>
            <a:r>
              <a:rPr lang="en-US"/>
              <a:t>Click to edit Master text styles</a:t>
            </a:r>
          </a:p>
        </p:txBody>
      </p:sp>
      <p:sp>
        <p:nvSpPr>
          <p:cNvPr id="103" name="Text Placeholder 2">
            <a:extLst>
              <a:ext uri="{FF2B5EF4-FFF2-40B4-BE49-F238E27FC236}">
                <a16:creationId xmlns:a16="http://schemas.microsoft.com/office/drawing/2014/main" id="{AD6785CC-4508-96E8-DD76-F2BEDCFF29E3}"/>
              </a:ext>
            </a:extLst>
          </p:cNvPr>
          <p:cNvSpPr>
            <a:spLocks noGrp="1"/>
          </p:cNvSpPr>
          <p:nvPr>
            <p:ph type="body" sz="quarter" idx="12"/>
          </p:nvPr>
        </p:nvSpPr>
        <p:spPr>
          <a:xfrm>
            <a:off x="5656602" y="4009685"/>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104" name="Text Placeholder 2">
            <a:extLst>
              <a:ext uri="{FF2B5EF4-FFF2-40B4-BE49-F238E27FC236}">
                <a16:creationId xmlns:a16="http://schemas.microsoft.com/office/drawing/2014/main" id="{D3E17AB8-A8BA-A7E1-7A4F-836B74379087}"/>
              </a:ext>
            </a:extLst>
          </p:cNvPr>
          <p:cNvSpPr>
            <a:spLocks noGrp="1"/>
          </p:cNvSpPr>
          <p:nvPr>
            <p:ph type="body" sz="quarter" idx="13"/>
          </p:nvPr>
        </p:nvSpPr>
        <p:spPr>
          <a:xfrm>
            <a:off x="5656602" y="5299514"/>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36520319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 Custom">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29C65921-FD7F-B796-44F6-E9E410683CD9}"/>
              </a:ext>
            </a:extLst>
          </p:cNvPr>
          <p:cNvSpPr/>
          <p:nvPr userDrawn="1"/>
        </p:nvSpPr>
        <p:spPr bwMode="auto">
          <a:xfrm>
            <a:off x="0" y="2328"/>
            <a:ext cx="4025900" cy="6857997"/>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Arrow: U-Turn 4">
            <a:extLst>
              <a:ext uri="{FF2B5EF4-FFF2-40B4-BE49-F238E27FC236}">
                <a16:creationId xmlns:a16="http://schemas.microsoft.com/office/drawing/2014/main" id="{9813402F-4AE0-5DF2-8034-09DE25CC529B}"/>
              </a:ext>
            </a:extLst>
          </p:cNvPr>
          <p:cNvSpPr/>
          <p:nvPr userDrawn="1"/>
        </p:nvSpPr>
        <p:spPr bwMode="auto">
          <a:xfrm rot="5400000">
            <a:off x="1718628" y="2893060"/>
            <a:ext cx="5686424" cy="1071880"/>
          </a:xfrm>
          <a:prstGeom prst="uturnArrow">
            <a:avLst>
              <a:gd name="adj1" fmla="val 25000"/>
              <a:gd name="adj2" fmla="val 0"/>
              <a:gd name="adj3" fmla="val 25000"/>
              <a:gd name="adj4" fmla="val 10792"/>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02665FB2-6199-D848-B7A0-CB7398D06B75}"/>
              </a:ext>
            </a:extLst>
          </p:cNvPr>
          <p:cNvGrpSpPr/>
          <p:nvPr userDrawn="1"/>
        </p:nvGrpSpPr>
        <p:grpSpPr>
          <a:xfrm>
            <a:off x="82210" y="487355"/>
            <a:ext cx="1999622" cy="1111528"/>
            <a:chOff x="0" y="2143857"/>
            <a:chExt cx="1647336" cy="915703"/>
          </a:xfrm>
          <a:solidFill>
            <a:schemeClr val="accent1">
              <a:lumMod val="20000"/>
              <a:lumOff val="80000"/>
            </a:schemeClr>
          </a:solidFill>
        </p:grpSpPr>
        <p:grpSp>
          <p:nvGrpSpPr>
            <p:cNvPr id="19" name="Group 18">
              <a:extLst>
                <a:ext uri="{FF2B5EF4-FFF2-40B4-BE49-F238E27FC236}">
                  <a16:creationId xmlns:a16="http://schemas.microsoft.com/office/drawing/2014/main" id="{90C3E72C-BC08-E613-5F40-3CCF61D54557}"/>
                </a:ext>
              </a:extLst>
            </p:cNvPr>
            <p:cNvGrpSpPr/>
            <p:nvPr/>
          </p:nvGrpSpPr>
          <p:grpSpPr>
            <a:xfrm>
              <a:off x="0" y="2356582"/>
              <a:ext cx="1647336" cy="64803"/>
              <a:chOff x="0" y="2352485"/>
              <a:chExt cx="1647336" cy="64803"/>
            </a:xfrm>
            <a:grpFill/>
          </p:grpSpPr>
          <p:sp>
            <p:nvSpPr>
              <p:cNvPr id="60" name="Oval 59">
                <a:extLst>
                  <a:ext uri="{FF2B5EF4-FFF2-40B4-BE49-F238E27FC236}">
                    <a16:creationId xmlns:a16="http://schemas.microsoft.com/office/drawing/2014/main" id="{A90DAD7A-43C3-0B7B-06F0-B83E4BC2982F}"/>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C826D7C4-3E96-7653-78A8-963550094E62}"/>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8B7CD4CB-B826-FC84-67D7-CBF3F39C5EAF}"/>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F35B59A6-6763-B8B1-90AE-7C1C223A150B}"/>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D6474B4-6827-9BF9-FAF2-E1795B70A592}"/>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0741D26-8134-B07C-5729-7489D8773DB2}"/>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D63A4E95-2F66-BFE2-4B98-F21E0E241CA6}"/>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A31585C-BEE0-6E48-7C99-D4F3E7FB0B0F}"/>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E580A55-B12F-81CE-4C39-011911B47C96}"/>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C0FE0B3-F9C8-2DCE-1AD7-2D310541667A}"/>
                </a:ext>
              </a:extLst>
            </p:cNvPr>
            <p:cNvGrpSpPr/>
            <p:nvPr/>
          </p:nvGrpSpPr>
          <p:grpSpPr>
            <a:xfrm>
              <a:off x="0" y="2569307"/>
              <a:ext cx="1647336" cy="64804"/>
              <a:chOff x="0" y="2561113"/>
              <a:chExt cx="1647336" cy="64804"/>
            </a:xfrm>
            <a:grpFill/>
          </p:grpSpPr>
          <p:sp>
            <p:nvSpPr>
              <p:cNvPr id="51" name="Oval 50">
                <a:extLst>
                  <a:ext uri="{FF2B5EF4-FFF2-40B4-BE49-F238E27FC236}">
                    <a16:creationId xmlns:a16="http://schemas.microsoft.com/office/drawing/2014/main" id="{5F539D38-BAC6-E106-8351-378D03B95ECB}"/>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7CD3226-D29E-43DE-5EDC-EE4C81470C07}"/>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F45FBE0-18FE-403A-20BA-C7B34EB2C81C}"/>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761FDE27-595C-FFC5-51E2-A1ED4B275F9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209AC06-E726-AB85-14F5-6B00239D701A}"/>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16558105-8E50-3399-15D7-31043E9AD44E}"/>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AA12D00-9BAD-5E66-25AF-C256F8A82720}"/>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1E39797-6B0D-14A9-60AB-0801F02D8959}"/>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13D16B7-D349-AA7B-93A4-4F2737B66013}"/>
                  </a:ext>
                </a:extLst>
              </p:cNvPr>
              <p:cNvSpPr/>
              <p:nvPr/>
            </p:nvSpPr>
            <p:spPr bwMode="auto">
              <a:xfrm>
                <a:off x="989083" y="2561114"/>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151B41DB-F6F9-349B-2F3E-A7D471C23451}"/>
                </a:ext>
              </a:extLst>
            </p:cNvPr>
            <p:cNvGrpSpPr/>
            <p:nvPr/>
          </p:nvGrpSpPr>
          <p:grpSpPr>
            <a:xfrm>
              <a:off x="0" y="2143857"/>
              <a:ext cx="1647336" cy="64803"/>
              <a:chOff x="0" y="2143857"/>
              <a:chExt cx="1647336" cy="64803"/>
            </a:xfrm>
            <a:grpFill/>
          </p:grpSpPr>
          <p:sp>
            <p:nvSpPr>
              <p:cNvPr id="42" name="Oval 41">
                <a:extLst>
                  <a:ext uri="{FF2B5EF4-FFF2-40B4-BE49-F238E27FC236}">
                    <a16:creationId xmlns:a16="http://schemas.microsoft.com/office/drawing/2014/main" id="{E2EC5D2A-A54B-10AB-1E7F-6D4E2CB71DA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F7142276-15F4-0710-1242-1121E7122CD8}"/>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0D36DC4-3C12-7C0F-D16A-D8703E6BDBB1}"/>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CC0488-9DB0-DA62-1B25-0127C8FE9827}"/>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6B78467-3055-9EA7-0D52-D646B9BD7953}"/>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513A2EF-5D16-E2C7-FD52-025F7D40CF1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684A6D68-14DB-96DF-A697-DA0D78888DA2}"/>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B7386B6C-CA37-6018-FD08-8A8E49F5C3C1}"/>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6AC8E9AC-E8EE-0CD7-248D-ACA0A76B920F}"/>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6033F52-E3A6-1680-DC0D-D620CD1DA149}"/>
                </a:ext>
              </a:extLst>
            </p:cNvPr>
            <p:cNvGrpSpPr/>
            <p:nvPr/>
          </p:nvGrpSpPr>
          <p:grpSpPr>
            <a:xfrm>
              <a:off x="0" y="2782032"/>
              <a:ext cx="1647336" cy="64803"/>
              <a:chOff x="0" y="2769740"/>
              <a:chExt cx="1647336" cy="64803"/>
            </a:xfrm>
            <a:grpFill/>
          </p:grpSpPr>
          <p:sp>
            <p:nvSpPr>
              <p:cNvPr id="33" name="Oval 32">
                <a:extLst>
                  <a:ext uri="{FF2B5EF4-FFF2-40B4-BE49-F238E27FC236}">
                    <a16:creationId xmlns:a16="http://schemas.microsoft.com/office/drawing/2014/main" id="{751A4015-A7FF-D134-974D-1EB42EF2821A}"/>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4FA86999-E837-FCDB-A569-94D7AC160918}"/>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2DC6340-3A97-7491-6E84-4D8D919FA7AA}"/>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C5E774E-5267-777B-E099-4AA24D882CCB}"/>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066CC9F6-B651-F2D5-C726-DBB970B82C48}"/>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EB603B9-F1AD-A280-D081-930CA5045ED3}"/>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7A75424-081A-21D0-FD3F-24A0F7B93067}"/>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54AD13A-8999-2AD7-ACB0-8A7885185A5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92072C5-EFDC-BF8F-5FF4-90ED48601C2F}"/>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1C1D9B22-F84B-76EC-EAD6-E8E51C8A99B2}"/>
                </a:ext>
              </a:extLst>
            </p:cNvPr>
            <p:cNvGrpSpPr/>
            <p:nvPr/>
          </p:nvGrpSpPr>
          <p:grpSpPr>
            <a:xfrm>
              <a:off x="0" y="2994757"/>
              <a:ext cx="1647336" cy="64803"/>
              <a:chOff x="0" y="2143857"/>
              <a:chExt cx="1647336" cy="64803"/>
            </a:xfrm>
            <a:grpFill/>
          </p:grpSpPr>
          <p:sp>
            <p:nvSpPr>
              <p:cNvPr id="24" name="Oval 23">
                <a:extLst>
                  <a:ext uri="{FF2B5EF4-FFF2-40B4-BE49-F238E27FC236}">
                    <a16:creationId xmlns:a16="http://schemas.microsoft.com/office/drawing/2014/main" id="{F7544CC5-44C3-3B85-469B-EC335C813333}"/>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8D28A50-3AFC-B551-9745-3C2A16D8F6DA}"/>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C9A610-2142-CAC9-B135-417591FE0CE7}"/>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32838E-BCBA-A6CC-9F23-4EBF3D2FFD61}"/>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C6883B0-59EF-596C-A3F3-94671C4E4082}"/>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A5978B37-DDC4-4B1C-987A-E4C3539B68CE}"/>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0D680B7-0E1F-1FA3-7E94-93B924F96FF8}"/>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76895536-276A-D448-DA48-E142A73E6D29}"/>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ECD4F65B-6DC0-8341-E2DD-9326858C8588}"/>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7EFACC46-D7C6-A9C9-A713-51BBDF6E0826}"/>
              </a:ext>
            </a:extLst>
          </p:cNvPr>
          <p:cNvGrpSpPr/>
          <p:nvPr userDrawn="1"/>
        </p:nvGrpSpPr>
        <p:grpSpPr>
          <a:xfrm>
            <a:off x="10348517" y="5559865"/>
            <a:ext cx="1843479" cy="1298140"/>
            <a:chOff x="10348517" y="5559865"/>
            <a:chExt cx="1843479" cy="1298140"/>
          </a:xfrm>
        </p:grpSpPr>
        <p:grpSp>
          <p:nvGrpSpPr>
            <p:cNvPr id="70" name="Graphic 8">
              <a:extLst>
                <a:ext uri="{FF2B5EF4-FFF2-40B4-BE49-F238E27FC236}">
                  <a16:creationId xmlns:a16="http://schemas.microsoft.com/office/drawing/2014/main" id="{352583EF-A44C-30BC-DF51-A58388043305}"/>
                </a:ext>
              </a:extLst>
            </p:cNvPr>
            <p:cNvGrpSpPr/>
            <p:nvPr/>
          </p:nvGrpSpPr>
          <p:grpSpPr>
            <a:xfrm flipH="1">
              <a:off x="10348517" y="5687417"/>
              <a:ext cx="1563963" cy="1170588"/>
              <a:chOff x="5302292" y="8602600"/>
              <a:chExt cx="1381243" cy="1033826"/>
            </a:xfrm>
          </p:grpSpPr>
          <p:sp>
            <p:nvSpPr>
              <p:cNvPr id="76" name="Freeform: Shape 75">
                <a:extLst>
                  <a:ext uri="{FF2B5EF4-FFF2-40B4-BE49-F238E27FC236}">
                    <a16:creationId xmlns:a16="http://schemas.microsoft.com/office/drawing/2014/main" id="{275B7312-75C1-319A-B5F7-65094F88892C}"/>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A8C487D-BDBE-F196-E82A-BEF7FD134ED6}"/>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813152B-3F53-FB86-B069-1A6D1F434A56}"/>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C916D3A-E314-69C1-0E7E-EC479B137F8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aphic 8">
              <a:extLst>
                <a:ext uri="{FF2B5EF4-FFF2-40B4-BE49-F238E27FC236}">
                  <a16:creationId xmlns:a16="http://schemas.microsoft.com/office/drawing/2014/main" id="{10392A2F-ABC4-CCDE-715B-1A1C9DD77AA2}"/>
                </a:ext>
              </a:extLst>
            </p:cNvPr>
            <p:cNvGrpSpPr/>
            <p:nvPr/>
          </p:nvGrpSpPr>
          <p:grpSpPr>
            <a:xfrm flipH="1">
              <a:off x="11280562" y="5559865"/>
              <a:ext cx="911434" cy="1298132"/>
              <a:chOff x="5055426" y="8489952"/>
              <a:chExt cx="804949" cy="1146469"/>
            </a:xfrm>
          </p:grpSpPr>
          <p:sp>
            <p:nvSpPr>
              <p:cNvPr id="72" name="Freeform: Shape 71">
                <a:extLst>
                  <a:ext uri="{FF2B5EF4-FFF2-40B4-BE49-F238E27FC236}">
                    <a16:creationId xmlns:a16="http://schemas.microsoft.com/office/drawing/2014/main" id="{DA1BE768-C446-2BBC-8B4B-82BB8537E644}"/>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6B75C75-110C-F534-F18D-2EC1E6583E06}"/>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1F3A462-2CFA-EC34-F2E5-2DD79D1BA34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6FD0968-77A6-E12D-A940-20167CABAB77}"/>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a:solidFill>
                  <a:schemeClr val="accent1">
                    <a:lumMod val="20000"/>
                    <a:lumOff val="8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TextBox 79">
            <a:extLst>
              <a:ext uri="{FF2B5EF4-FFF2-40B4-BE49-F238E27FC236}">
                <a16:creationId xmlns:a16="http://schemas.microsoft.com/office/drawing/2014/main" id="{CF4122C2-0364-1B55-B2B7-9EFB1BF42341}"/>
              </a:ext>
            </a:extLst>
          </p:cNvPr>
          <p:cNvSpPr txBox="1"/>
          <p:nvPr userDrawn="1"/>
        </p:nvSpPr>
        <p:spPr>
          <a:xfrm>
            <a:off x="361661" y="3013502"/>
            <a:ext cx="3130970" cy="830997"/>
          </a:xfrm>
          <a:prstGeom prst="rect">
            <a:avLst/>
          </a:prstGeom>
          <a:noFill/>
        </p:spPr>
        <p:txBody>
          <a:bodyPr wrap="square" lIns="0" tIns="0" rIns="0" bIns="0" rtlCol="0">
            <a:spAutoFit/>
          </a:bodyPr>
          <a:lstStyle/>
          <a:p>
            <a:pPr algn="l"/>
            <a:r>
              <a:rPr lang="en-US" sz="5400" b="1">
                <a:solidFill>
                  <a:schemeClr val="tx2"/>
                </a:solidFill>
                <a:latin typeface="+mj-lt"/>
              </a:rPr>
              <a:t>Agenda</a:t>
            </a:r>
          </a:p>
        </p:txBody>
      </p:sp>
      <p:sp>
        <p:nvSpPr>
          <p:cNvPr id="88" name="Text Placeholder 2">
            <a:extLst>
              <a:ext uri="{FF2B5EF4-FFF2-40B4-BE49-F238E27FC236}">
                <a16:creationId xmlns:a16="http://schemas.microsoft.com/office/drawing/2014/main" id="{80CA7126-A722-4A6D-94E4-86D5D8B0DACC}"/>
              </a:ext>
            </a:extLst>
          </p:cNvPr>
          <p:cNvSpPr>
            <a:spLocks noGrp="1"/>
          </p:cNvSpPr>
          <p:nvPr>
            <p:ph type="body" sz="quarter" idx="10"/>
          </p:nvPr>
        </p:nvSpPr>
        <p:spPr>
          <a:xfrm>
            <a:off x="5656602" y="1399251"/>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89" name="Text Placeholder 2">
            <a:extLst>
              <a:ext uri="{FF2B5EF4-FFF2-40B4-BE49-F238E27FC236}">
                <a16:creationId xmlns:a16="http://schemas.microsoft.com/office/drawing/2014/main" id="{C91922D3-B3BD-6E24-7894-81A764EE130D}"/>
              </a:ext>
            </a:extLst>
          </p:cNvPr>
          <p:cNvSpPr>
            <a:spLocks noGrp="1"/>
          </p:cNvSpPr>
          <p:nvPr>
            <p:ph type="body" sz="quarter" idx="11"/>
          </p:nvPr>
        </p:nvSpPr>
        <p:spPr>
          <a:xfrm>
            <a:off x="5656602" y="2689079"/>
            <a:ext cx="6070600" cy="307777"/>
          </a:xfrm>
        </p:spPr>
        <p:txBody>
          <a:bodyPr/>
          <a:lstStyle>
            <a:lvl1pPr marL="0" indent="0">
              <a:buNone/>
              <a:defRPr sz="2000">
                <a:solidFill>
                  <a:schemeClr val="tx2"/>
                </a:solidFill>
                <a:latin typeface="+mj-lt"/>
              </a:defRPr>
            </a:lvl1pPr>
          </a:lstStyle>
          <a:p>
            <a:pPr lvl="0"/>
            <a:r>
              <a:rPr lang="en-US"/>
              <a:t>Click to edit Master text styles</a:t>
            </a:r>
          </a:p>
        </p:txBody>
      </p:sp>
      <p:sp>
        <p:nvSpPr>
          <p:cNvPr id="90" name="Text Placeholder 2">
            <a:extLst>
              <a:ext uri="{FF2B5EF4-FFF2-40B4-BE49-F238E27FC236}">
                <a16:creationId xmlns:a16="http://schemas.microsoft.com/office/drawing/2014/main" id="{D0BA5C99-C35F-4CB1-F304-4E0A03ADA13D}"/>
              </a:ext>
            </a:extLst>
          </p:cNvPr>
          <p:cNvSpPr>
            <a:spLocks noGrp="1"/>
          </p:cNvSpPr>
          <p:nvPr>
            <p:ph type="body" sz="quarter" idx="12"/>
          </p:nvPr>
        </p:nvSpPr>
        <p:spPr>
          <a:xfrm>
            <a:off x="5656602" y="4009685"/>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91" name="Text Placeholder 2">
            <a:extLst>
              <a:ext uri="{FF2B5EF4-FFF2-40B4-BE49-F238E27FC236}">
                <a16:creationId xmlns:a16="http://schemas.microsoft.com/office/drawing/2014/main" id="{01D53BFC-2D97-154F-8FFE-EE1BE62B5442}"/>
              </a:ext>
            </a:extLst>
          </p:cNvPr>
          <p:cNvSpPr>
            <a:spLocks noGrp="1"/>
          </p:cNvSpPr>
          <p:nvPr>
            <p:ph type="body" sz="quarter" idx="13"/>
          </p:nvPr>
        </p:nvSpPr>
        <p:spPr>
          <a:xfrm>
            <a:off x="5656602" y="5299514"/>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74316042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537"/>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0601348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ED844777-CE79-0284-5BE2-894F11F01939}"/>
              </a:ext>
            </a:extLst>
          </p:cNvPr>
          <p:cNvSpPr/>
          <p:nvPr userDrawn="1"/>
        </p:nvSpPr>
        <p:spPr>
          <a:xfrm>
            <a:off x="531361" y="4955412"/>
            <a:ext cx="1462540" cy="1390022"/>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pattFill prst="wdDnDiag">
            <a:fgClr>
              <a:schemeClr val="accent2">
                <a:lumMod val="20000"/>
                <a:lumOff val="80000"/>
              </a:schemeClr>
            </a:fgClr>
            <a:bgClr>
              <a:schemeClr val="bg1"/>
            </a:bgClr>
          </a:pattFill>
          <a:ln w="14405"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0AF8181F-29BE-6A80-09A3-61738088E5A7}"/>
              </a:ext>
            </a:extLst>
          </p:cNvPr>
          <p:cNvSpPr/>
          <p:nvPr userDrawn="1"/>
        </p:nvSpPr>
        <p:spPr>
          <a:xfrm flipV="1">
            <a:off x="1" y="2085662"/>
            <a:ext cx="12191998" cy="3282750"/>
          </a:xfrm>
          <a:custGeom>
            <a:avLst/>
            <a:gdLst>
              <a:gd name="connsiteX0" fmla="*/ 225390 w 12191998"/>
              <a:gd name="connsiteY0" fmla="*/ 3282750 h 3282750"/>
              <a:gd name="connsiteX1" fmla="*/ 9880096 w 12191998"/>
              <a:gd name="connsiteY1" fmla="*/ 3282750 h 3282750"/>
              <a:gd name="connsiteX2" fmla="*/ 10320199 w 12191998"/>
              <a:gd name="connsiteY2" fmla="*/ 3100060 h 3282750"/>
              <a:gd name="connsiteX3" fmla="*/ 12191998 w 12191998"/>
              <a:gd name="connsiteY3" fmla="*/ 1221634 h 3282750"/>
              <a:gd name="connsiteX4" fmla="*/ 12191998 w 12191998"/>
              <a:gd name="connsiteY4" fmla="*/ 1523 h 3282750"/>
              <a:gd name="connsiteX5" fmla="*/ 11409355 w 12191998"/>
              <a:gd name="connsiteY5" fmla="*/ 1523 h 3282750"/>
              <a:gd name="connsiteX6" fmla="*/ 11410872 w 12191998"/>
              <a:gd name="connsiteY6" fmla="*/ 0 h 3282750"/>
              <a:gd name="connsiteX7" fmla="*/ 9138442 w 12191998"/>
              <a:gd name="connsiteY7" fmla="*/ 0 h 3282750"/>
              <a:gd name="connsiteX8" fmla="*/ 6866012 w 12191998"/>
              <a:gd name="connsiteY8" fmla="*/ 0 h 3282750"/>
              <a:gd name="connsiteX9" fmla="*/ 5045748 w 12191998"/>
              <a:gd name="connsiteY9" fmla="*/ 0 h 3282750"/>
              <a:gd name="connsiteX10" fmla="*/ 4593580 w 12191998"/>
              <a:gd name="connsiteY10" fmla="*/ 0 h 3282750"/>
              <a:gd name="connsiteX11" fmla="*/ 2773318 w 12191998"/>
              <a:gd name="connsiteY11" fmla="*/ 0 h 3282750"/>
              <a:gd name="connsiteX12" fmla="*/ 500887 w 12191998"/>
              <a:gd name="connsiteY12" fmla="*/ 0 h 3282750"/>
              <a:gd name="connsiteX13" fmla="*/ 0 w 12191998"/>
              <a:gd name="connsiteY13" fmla="*/ 0 h 3282750"/>
              <a:gd name="connsiteX14" fmla="*/ 0 w 12191998"/>
              <a:gd name="connsiteY14" fmla="*/ 3282749 h 3282750"/>
              <a:gd name="connsiteX15" fmla="*/ 225390 w 12191998"/>
              <a:gd name="connsiteY15" fmla="*/ 3282749 h 32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8" h="3282750">
                <a:moveTo>
                  <a:pt x="225390" y="3282750"/>
                </a:moveTo>
                <a:lnTo>
                  <a:pt x="9880096" y="3282750"/>
                </a:lnTo>
                <a:cubicBezTo>
                  <a:pt x="10045266" y="3282750"/>
                  <a:pt x="10203546" y="3217012"/>
                  <a:pt x="10320199" y="3100060"/>
                </a:cubicBezTo>
                <a:lnTo>
                  <a:pt x="12191998" y="1221634"/>
                </a:lnTo>
                <a:lnTo>
                  <a:pt x="12191998" y="1523"/>
                </a:lnTo>
                <a:lnTo>
                  <a:pt x="11409355" y="1523"/>
                </a:lnTo>
                <a:lnTo>
                  <a:pt x="11410872" y="0"/>
                </a:lnTo>
                <a:lnTo>
                  <a:pt x="9138442" y="0"/>
                </a:lnTo>
                <a:lnTo>
                  <a:pt x="6866012" y="0"/>
                </a:lnTo>
                <a:lnTo>
                  <a:pt x="5045748" y="0"/>
                </a:lnTo>
                <a:lnTo>
                  <a:pt x="4593580" y="0"/>
                </a:lnTo>
                <a:lnTo>
                  <a:pt x="2773318" y="0"/>
                </a:lnTo>
                <a:lnTo>
                  <a:pt x="500887" y="0"/>
                </a:lnTo>
                <a:lnTo>
                  <a:pt x="0" y="0"/>
                </a:lnTo>
                <a:lnTo>
                  <a:pt x="0" y="3282749"/>
                </a:lnTo>
                <a:lnTo>
                  <a:pt x="225390" y="3282749"/>
                </a:lnTo>
                <a:close/>
              </a:path>
            </a:pathLst>
          </a:custGeom>
          <a:solidFill>
            <a:schemeClr val="bg1">
              <a:lumMod val="95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 name="Freeform: Shape 4">
            <a:extLst>
              <a:ext uri="{FF2B5EF4-FFF2-40B4-BE49-F238E27FC236}">
                <a16:creationId xmlns:a16="http://schemas.microsoft.com/office/drawing/2014/main" id="{B3C25D0A-1F33-776E-6F3E-6A0A063F92B0}"/>
              </a:ext>
            </a:extLst>
          </p:cNvPr>
          <p:cNvSpPr/>
          <p:nvPr userDrawn="1"/>
        </p:nvSpPr>
        <p:spPr>
          <a:xfrm flipV="1">
            <a:off x="7329714" y="0"/>
            <a:ext cx="4862286" cy="3709134"/>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solidFill>
            <a:schemeClr val="bg2">
              <a:lumMod val="20000"/>
              <a:lumOff val="80000"/>
              <a:alpha val="30000"/>
            </a:schemeClr>
          </a:solidFill>
          <a:ln w="14405"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0652A53A-E401-C01D-5589-E40F2FCFFE2A}"/>
              </a:ext>
            </a:extLst>
          </p:cNvPr>
          <p:cNvGrpSpPr/>
          <p:nvPr userDrawn="1"/>
        </p:nvGrpSpPr>
        <p:grpSpPr>
          <a:xfrm>
            <a:off x="10348517" y="5559865"/>
            <a:ext cx="1843479" cy="1298140"/>
            <a:chOff x="10348517" y="5559865"/>
            <a:chExt cx="1843479" cy="1298140"/>
          </a:xfrm>
        </p:grpSpPr>
        <p:grpSp>
          <p:nvGrpSpPr>
            <p:cNvPr id="10" name="Graphic 8">
              <a:extLst>
                <a:ext uri="{FF2B5EF4-FFF2-40B4-BE49-F238E27FC236}">
                  <a16:creationId xmlns:a16="http://schemas.microsoft.com/office/drawing/2014/main" id="{F8016201-D7C6-68F7-DEA4-AD786CC9681A}"/>
                </a:ext>
              </a:extLst>
            </p:cNvPr>
            <p:cNvGrpSpPr/>
            <p:nvPr/>
          </p:nvGrpSpPr>
          <p:grpSpPr>
            <a:xfrm flipH="1">
              <a:off x="10348517" y="5687417"/>
              <a:ext cx="1563963" cy="1170588"/>
              <a:chOff x="5302292" y="8602600"/>
              <a:chExt cx="1381243" cy="1033826"/>
            </a:xfrm>
          </p:grpSpPr>
          <p:sp>
            <p:nvSpPr>
              <p:cNvPr id="16" name="Freeform: Shape 15">
                <a:extLst>
                  <a:ext uri="{FF2B5EF4-FFF2-40B4-BE49-F238E27FC236}">
                    <a16:creationId xmlns:a16="http://schemas.microsoft.com/office/drawing/2014/main" id="{2C93684E-892F-CA9D-9DE8-79F3C0DE070D}"/>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6FE72EB-4EE6-3B97-4A09-5A81889ACEEB}"/>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726AF702-A088-3F6E-FBA1-B7AA82AD143C}"/>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7DF3AA3-8EA8-90A3-ECB5-80DBADEB446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grpSp>
        <p:grpSp>
          <p:nvGrpSpPr>
            <p:cNvPr id="11" name="Graphic 8">
              <a:extLst>
                <a:ext uri="{FF2B5EF4-FFF2-40B4-BE49-F238E27FC236}">
                  <a16:creationId xmlns:a16="http://schemas.microsoft.com/office/drawing/2014/main" id="{AC3289CF-09B3-7069-4B76-09588AF84DDF}"/>
                </a:ext>
              </a:extLst>
            </p:cNvPr>
            <p:cNvGrpSpPr/>
            <p:nvPr/>
          </p:nvGrpSpPr>
          <p:grpSpPr>
            <a:xfrm flipH="1">
              <a:off x="11280562" y="5559865"/>
              <a:ext cx="911434" cy="1298132"/>
              <a:chOff x="5055426" y="8489952"/>
              <a:chExt cx="804949" cy="1146469"/>
            </a:xfrm>
          </p:grpSpPr>
          <p:sp>
            <p:nvSpPr>
              <p:cNvPr id="12" name="Freeform: Shape 11">
                <a:extLst>
                  <a:ext uri="{FF2B5EF4-FFF2-40B4-BE49-F238E27FC236}">
                    <a16:creationId xmlns:a16="http://schemas.microsoft.com/office/drawing/2014/main" id="{7A33D4D5-8187-BD37-1867-EBA824583467}"/>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E8E5DF6-B228-1927-D581-550B588CDB68}"/>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F4889C4-3E2A-6838-32BC-1A667153D4EF}"/>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A5CCD32A-5E75-A627-E14D-6F44D12504A3}"/>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bg1">
                    <a:lumMod val="85000"/>
                  </a:schemeClr>
                </a:solidFill>
                <a:prstDash val="solid"/>
                <a:miter/>
              </a:ln>
            </p:spPr>
            <p:txBody>
              <a:bodyPr rtlCol="0" anchor="ctr"/>
              <a:lstStyle/>
              <a:p>
                <a:endParaRPr lang="en-US"/>
              </a:p>
            </p:txBody>
          </p:sp>
        </p:grpSp>
      </p:grpSp>
      <p:pic>
        <p:nvPicPr>
          <p:cNvPr id="20" name="Graphic 19">
            <a:extLst>
              <a:ext uri="{FF2B5EF4-FFF2-40B4-BE49-F238E27FC236}">
                <a16:creationId xmlns:a16="http://schemas.microsoft.com/office/drawing/2014/main" id="{CF0D4489-DE7F-FE2F-298A-D109E1B47D0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519161" y="2357437"/>
            <a:ext cx="5866264" cy="423863"/>
          </a:xfrm>
          <a:prstGeom prst="rect">
            <a:avLst/>
          </a:prstGeom>
        </p:spPr>
      </p:pic>
      <p:sp>
        <p:nvSpPr>
          <p:cNvPr id="2" name="Title 1">
            <a:extLst>
              <a:ext uri="{FF2B5EF4-FFF2-40B4-BE49-F238E27FC236}">
                <a16:creationId xmlns:a16="http://schemas.microsoft.com/office/drawing/2014/main" id="{F1136817-8D12-7A19-C49E-B7812A53F312}"/>
              </a:ext>
            </a:extLst>
          </p:cNvPr>
          <p:cNvSpPr>
            <a:spLocks noGrp="1"/>
          </p:cNvSpPr>
          <p:nvPr>
            <p:ph type="title"/>
          </p:nvPr>
        </p:nvSpPr>
        <p:spPr>
          <a:xfrm>
            <a:off x="604894" y="3388484"/>
            <a:ext cx="11018520" cy="677108"/>
          </a:xfrm>
        </p:spPr>
        <p:txBody>
          <a:bodyPr anchor="ctr"/>
          <a:lstStyle>
            <a:lvl1pPr>
              <a:defRPr sz="4400">
                <a:solidFill>
                  <a:schemeClr val="bg2"/>
                </a:solidFill>
              </a:defRPr>
            </a:lvl1pPr>
          </a:lstStyle>
          <a:p>
            <a:r>
              <a:rPr lang="en-US"/>
              <a:t>Click to edit Master title style</a:t>
            </a:r>
          </a:p>
        </p:txBody>
      </p:sp>
    </p:spTree>
    <p:extLst>
      <p:ext uri="{BB962C8B-B14F-4D97-AF65-F5344CB8AC3E}">
        <p14:creationId xmlns:p14="http://schemas.microsoft.com/office/powerpoint/2010/main" val="2316839985"/>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rvice Experience">
    <p:spTree>
      <p:nvGrpSpPr>
        <p:cNvPr id="1" name=""/>
        <p:cNvGrpSpPr/>
        <p:nvPr/>
      </p:nvGrpSpPr>
      <p:grpSpPr>
        <a:xfrm>
          <a:off x="0" y="0"/>
          <a:ext cx="0" cy="0"/>
          <a:chOff x="0" y="0"/>
          <a:chExt cx="0" cy="0"/>
        </a:xfrm>
      </p:grpSpPr>
      <p:sp>
        <p:nvSpPr>
          <p:cNvPr id="65" name="Text Placeholder 64">
            <a:extLst>
              <a:ext uri="{FF2B5EF4-FFF2-40B4-BE49-F238E27FC236}">
                <a16:creationId xmlns:a16="http://schemas.microsoft.com/office/drawing/2014/main" id="{1A5378FA-E20A-AEE6-943C-6237A15CE89C}"/>
              </a:ext>
            </a:extLst>
          </p:cNvPr>
          <p:cNvSpPr>
            <a:spLocks noGrp="1"/>
          </p:cNvSpPr>
          <p:nvPr>
            <p:ph type="body" sz="quarter" idx="10"/>
          </p:nvPr>
        </p:nvSpPr>
        <p:spPr>
          <a:xfrm>
            <a:off x="588263" y="1303528"/>
            <a:ext cx="9736094" cy="1719074"/>
          </a:xfrm>
          <a:prstGeom prst="roundRect">
            <a:avLst>
              <a:gd name="adj" fmla="val 7802"/>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8F8F8"/>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8" name="Text Placeholder 64">
            <a:extLst>
              <a:ext uri="{FF2B5EF4-FFF2-40B4-BE49-F238E27FC236}">
                <a16:creationId xmlns:a16="http://schemas.microsoft.com/office/drawing/2014/main" id="{6C8466A7-95B5-6740-955E-ECB144EDE9B6}"/>
              </a:ext>
            </a:extLst>
          </p:cNvPr>
          <p:cNvSpPr>
            <a:spLocks noGrp="1"/>
          </p:cNvSpPr>
          <p:nvPr>
            <p:ph type="body" sz="quarter" idx="31"/>
          </p:nvPr>
        </p:nvSpPr>
        <p:spPr>
          <a:xfrm>
            <a:off x="799882" y="1515237"/>
            <a:ext cx="9312856" cy="1298449"/>
          </a:xfrm>
          <a:prstGeom prst="roundRect">
            <a:avLst>
              <a:gd name="adj" fmla="val 780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8F8F8"/>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
        <p:nvSpPr>
          <p:cNvPr id="75" name="Picture Placeholder 56">
            <a:extLst>
              <a:ext uri="{FF2B5EF4-FFF2-40B4-BE49-F238E27FC236}">
                <a16:creationId xmlns:a16="http://schemas.microsoft.com/office/drawing/2014/main" id="{815DAE2C-3186-2DBD-0901-D9D2DD456A11}"/>
              </a:ext>
            </a:extLst>
          </p:cNvPr>
          <p:cNvSpPr>
            <a:spLocks noGrp="1"/>
          </p:cNvSpPr>
          <p:nvPr userDrawn="1">
            <p:ph type="pic" sz="quarter" idx="25" hasCustomPrompt="1"/>
          </p:nvPr>
        </p:nvSpPr>
        <p:spPr>
          <a:xfrm>
            <a:off x="1523956"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7" name="Picture Placeholder 56">
            <a:extLst>
              <a:ext uri="{FF2B5EF4-FFF2-40B4-BE49-F238E27FC236}">
                <a16:creationId xmlns:a16="http://schemas.microsoft.com/office/drawing/2014/main" id="{6930F3DD-E6FB-AE7B-2F98-F8A54A7AFDEC}"/>
              </a:ext>
            </a:extLst>
          </p:cNvPr>
          <p:cNvSpPr>
            <a:spLocks noGrp="1"/>
          </p:cNvSpPr>
          <p:nvPr userDrawn="1">
            <p:ph type="pic" sz="quarter" idx="26" hasCustomPrompt="1"/>
          </p:nvPr>
        </p:nvSpPr>
        <p:spPr>
          <a:xfrm>
            <a:off x="3349317"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8" name="Picture Placeholder 56">
            <a:extLst>
              <a:ext uri="{FF2B5EF4-FFF2-40B4-BE49-F238E27FC236}">
                <a16:creationId xmlns:a16="http://schemas.microsoft.com/office/drawing/2014/main" id="{CE08CA08-58F3-4EC1-3890-D00E7FCCBCAA}"/>
              </a:ext>
            </a:extLst>
          </p:cNvPr>
          <p:cNvSpPr>
            <a:spLocks noGrp="1"/>
          </p:cNvSpPr>
          <p:nvPr userDrawn="1">
            <p:ph type="pic" sz="quarter" idx="27" hasCustomPrompt="1"/>
          </p:nvPr>
        </p:nvSpPr>
        <p:spPr>
          <a:xfrm>
            <a:off x="5174678"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9" name="Picture Placeholder 56">
            <a:extLst>
              <a:ext uri="{FF2B5EF4-FFF2-40B4-BE49-F238E27FC236}">
                <a16:creationId xmlns:a16="http://schemas.microsoft.com/office/drawing/2014/main" id="{C9D7F5A7-AD7A-540D-1083-37A090BE4869}"/>
              </a:ext>
            </a:extLst>
          </p:cNvPr>
          <p:cNvSpPr>
            <a:spLocks noGrp="1"/>
          </p:cNvSpPr>
          <p:nvPr userDrawn="1">
            <p:ph type="pic" sz="quarter" idx="28" hasCustomPrompt="1"/>
          </p:nvPr>
        </p:nvSpPr>
        <p:spPr>
          <a:xfrm>
            <a:off x="7000039"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0" name="Picture Placeholder 56">
            <a:extLst>
              <a:ext uri="{FF2B5EF4-FFF2-40B4-BE49-F238E27FC236}">
                <a16:creationId xmlns:a16="http://schemas.microsoft.com/office/drawing/2014/main" id="{4FAB11E7-74B5-F506-129D-1D190E7EA688}"/>
              </a:ext>
            </a:extLst>
          </p:cNvPr>
          <p:cNvSpPr>
            <a:spLocks noGrp="1"/>
          </p:cNvSpPr>
          <p:nvPr userDrawn="1">
            <p:ph type="pic" sz="quarter" idx="29" hasCustomPrompt="1"/>
          </p:nvPr>
        </p:nvSpPr>
        <p:spPr>
          <a:xfrm>
            <a:off x="8825401"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1" name="Text Placeholder 64">
            <a:extLst>
              <a:ext uri="{FF2B5EF4-FFF2-40B4-BE49-F238E27FC236}">
                <a16:creationId xmlns:a16="http://schemas.microsoft.com/office/drawing/2014/main" id="{631E6F77-01FB-2800-555A-AC8B02B0832A}"/>
              </a:ext>
            </a:extLst>
          </p:cNvPr>
          <p:cNvSpPr>
            <a:spLocks noGrp="1"/>
          </p:cNvSpPr>
          <p:nvPr userDrawn="1">
            <p:ph type="body" sz="quarter" idx="30"/>
          </p:nvPr>
        </p:nvSpPr>
        <p:spPr>
          <a:xfrm>
            <a:off x="588263" y="3204672"/>
            <a:ext cx="9736094" cy="3363465"/>
          </a:xfrm>
          <a:prstGeom prst="roundRect">
            <a:avLst>
              <a:gd name="adj" fmla="val 396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AFAFA"/>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9" name="Text Placeholder 64">
            <a:extLst>
              <a:ext uri="{FF2B5EF4-FFF2-40B4-BE49-F238E27FC236}">
                <a16:creationId xmlns:a16="http://schemas.microsoft.com/office/drawing/2014/main" id="{348CC9D6-A879-61D8-076A-EB323D00AD71}"/>
              </a:ext>
            </a:extLst>
          </p:cNvPr>
          <p:cNvSpPr>
            <a:spLocks noGrp="1"/>
          </p:cNvSpPr>
          <p:nvPr userDrawn="1">
            <p:ph type="body" sz="quarter" idx="32"/>
          </p:nvPr>
        </p:nvSpPr>
        <p:spPr>
          <a:xfrm>
            <a:off x="799882" y="3408435"/>
            <a:ext cx="9312856" cy="2955940"/>
          </a:xfrm>
          <a:prstGeom prst="roundRect">
            <a:avLst>
              <a:gd name="adj" fmla="val 350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9F9F9"/>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91" name="Text Placeholder 64">
            <a:extLst>
              <a:ext uri="{FF2B5EF4-FFF2-40B4-BE49-F238E27FC236}">
                <a16:creationId xmlns:a16="http://schemas.microsoft.com/office/drawing/2014/main" id="{1FDAB499-40EB-D6F1-2DED-0585C4144F30}"/>
              </a:ext>
            </a:extLst>
          </p:cNvPr>
          <p:cNvSpPr>
            <a:spLocks noGrp="1"/>
          </p:cNvSpPr>
          <p:nvPr userDrawn="1">
            <p:ph type="body" sz="quarter" idx="34"/>
          </p:nvPr>
        </p:nvSpPr>
        <p:spPr>
          <a:xfrm rot="5400000">
            <a:off x="427232" y="393747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92" name="Text Placeholder 64">
            <a:extLst>
              <a:ext uri="{FF2B5EF4-FFF2-40B4-BE49-F238E27FC236}">
                <a16:creationId xmlns:a16="http://schemas.microsoft.com/office/drawing/2014/main" id="{25E5A691-0B96-F6BE-C533-6AB34C2A6F8C}"/>
              </a:ext>
            </a:extLst>
          </p:cNvPr>
          <p:cNvSpPr>
            <a:spLocks noGrp="1"/>
          </p:cNvSpPr>
          <p:nvPr userDrawn="1">
            <p:ph type="body" sz="quarter" idx="35"/>
          </p:nvPr>
        </p:nvSpPr>
        <p:spPr>
          <a:xfrm rot="5400000">
            <a:off x="427232" y="534024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105" name="Picture Placeholder 56">
            <a:extLst>
              <a:ext uri="{FF2B5EF4-FFF2-40B4-BE49-F238E27FC236}">
                <a16:creationId xmlns:a16="http://schemas.microsoft.com/office/drawing/2014/main" id="{9E8C9B8F-BEDD-58AC-9B52-F5437B342B1E}"/>
              </a:ext>
            </a:extLst>
          </p:cNvPr>
          <p:cNvSpPr>
            <a:spLocks noGrp="1"/>
          </p:cNvSpPr>
          <p:nvPr userDrawn="1">
            <p:ph type="pic" sz="quarter" idx="45" hasCustomPrompt="1"/>
          </p:nvPr>
        </p:nvSpPr>
        <p:spPr>
          <a:xfrm>
            <a:off x="173560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6" name="Picture Placeholder 56">
            <a:extLst>
              <a:ext uri="{FF2B5EF4-FFF2-40B4-BE49-F238E27FC236}">
                <a16:creationId xmlns:a16="http://schemas.microsoft.com/office/drawing/2014/main" id="{86CE796E-7A0C-5271-48EB-685081BEABB1}"/>
              </a:ext>
            </a:extLst>
          </p:cNvPr>
          <p:cNvSpPr>
            <a:spLocks noGrp="1"/>
          </p:cNvSpPr>
          <p:nvPr userDrawn="1">
            <p:ph type="pic" sz="quarter" idx="46" hasCustomPrompt="1"/>
          </p:nvPr>
        </p:nvSpPr>
        <p:spPr>
          <a:xfrm>
            <a:off x="297054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7" name="Picture Placeholder 56">
            <a:extLst>
              <a:ext uri="{FF2B5EF4-FFF2-40B4-BE49-F238E27FC236}">
                <a16:creationId xmlns:a16="http://schemas.microsoft.com/office/drawing/2014/main" id="{90DADFF7-652B-E770-88A6-B6AAA5AC1380}"/>
              </a:ext>
            </a:extLst>
          </p:cNvPr>
          <p:cNvSpPr>
            <a:spLocks noGrp="1"/>
          </p:cNvSpPr>
          <p:nvPr userDrawn="1">
            <p:ph type="pic" sz="quarter" idx="47" hasCustomPrompt="1"/>
          </p:nvPr>
        </p:nvSpPr>
        <p:spPr>
          <a:xfrm>
            <a:off x="420547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8" name="Picture Placeholder 56">
            <a:extLst>
              <a:ext uri="{FF2B5EF4-FFF2-40B4-BE49-F238E27FC236}">
                <a16:creationId xmlns:a16="http://schemas.microsoft.com/office/drawing/2014/main" id="{9FDD5191-59F9-758B-360C-D452B63F50CF}"/>
              </a:ext>
            </a:extLst>
          </p:cNvPr>
          <p:cNvSpPr>
            <a:spLocks noGrp="1"/>
          </p:cNvSpPr>
          <p:nvPr userDrawn="1">
            <p:ph type="pic" sz="quarter" idx="48" hasCustomPrompt="1"/>
          </p:nvPr>
        </p:nvSpPr>
        <p:spPr>
          <a:xfrm>
            <a:off x="544041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9" name="Picture Placeholder 56">
            <a:extLst>
              <a:ext uri="{FF2B5EF4-FFF2-40B4-BE49-F238E27FC236}">
                <a16:creationId xmlns:a16="http://schemas.microsoft.com/office/drawing/2014/main" id="{E65D5A6B-5940-9C32-993C-69CFEAE16F4D}"/>
              </a:ext>
            </a:extLst>
          </p:cNvPr>
          <p:cNvSpPr>
            <a:spLocks noGrp="1"/>
          </p:cNvSpPr>
          <p:nvPr userDrawn="1">
            <p:ph type="pic" sz="quarter" idx="49" hasCustomPrompt="1"/>
          </p:nvPr>
        </p:nvSpPr>
        <p:spPr>
          <a:xfrm>
            <a:off x="667534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0" name="Picture Placeholder 56">
            <a:extLst>
              <a:ext uri="{FF2B5EF4-FFF2-40B4-BE49-F238E27FC236}">
                <a16:creationId xmlns:a16="http://schemas.microsoft.com/office/drawing/2014/main" id="{3500A3BB-59C7-36A6-6E4C-04961FB1BE62}"/>
              </a:ext>
            </a:extLst>
          </p:cNvPr>
          <p:cNvSpPr>
            <a:spLocks noGrp="1"/>
          </p:cNvSpPr>
          <p:nvPr userDrawn="1">
            <p:ph type="pic" sz="quarter" idx="50" hasCustomPrompt="1"/>
          </p:nvPr>
        </p:nvSpPr>
        <p:spPr>
          <a:xfrm>
            <a:off x="791028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1" name="Picture Placeholder 56">
            <a:extLst>
              <a:ext uri="{FF2B5EF4-FFF2-40B4-BE49-F238E27FC236}">
                <a16:creationId xmlns:a16="http://schemas.microsoft.com/office/drawing/2014/main" id="{70414032-732A-C947-727C-7462B3739F7A}"/>
              </a:ext>
            </a:extLst>
          </p:cNvPr>
          <p:cNvSpPr>
            <a:spLocks noGrp="1"/>
          </p:cNvSpPr>
          <p:nvPr userDrawn="1">
            <p:ph type="pic" sz="quarter" idx="51" hasCustomPrompt="1"/>
          </p:nvPr>
        </p:nvSpPr>
        <p:spPr>
          <a:xfrm>
            <a:off x="9145218"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6" name="Picture Placeholder 56">
            <a:extLst>
              <a:ext uri="{FF2B5EF4-FFF2-40B4-BE49-F238E27FC236}">
                <a16:creationId xmlns:a16="http://schemas.microsoft.com/office/drawing/2014/main" id="{9808DC25-2647-6528-E3A2-DEAA4E130438}"/>
              </a:ext>
            </a:extLst>
          </p:cNvPr>
          <p:cNvSpPr>
            <a:spLocks noGrp="1"/>
          </p:cNvSpPr>
          <p:nvPr userDrawn="1">
            <p:ph type="pic" sz="quarter" idx="56" hasCustomPrompt="1"/>
          </p:nvPr>
        </p:nvSpPr>
        <p:spPr>
          <a:xfrm>
            <a:off x="1970760"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7" name="Picture Placeholder 56">
            <a:extLst>
              <a:ext uri="{FF2B5EF4-FFF2-40B4-BE49-F238E27FC236}">
                <a16:creationId xmlns:a16="http://schemas.microsoft.com/office/drawing/2014/main" id="{99A0E4E2-505F-40AB-B17F-C3533F531719}"/>
              </a:ext>
            </a:extLst>
          </p:cNvPr>
          <p:cNvSpPr>
            <a:spLocks noGrp="1"/>
          </p:cNvSpPr>
          <p:nvPr userDrawn="1">
            <p:ph type="pic" sz="quarter" idx="57" hasCustomPrompt="1"/>
          </p:nvPr>
        </p:nvSpPr>
        <p:spPr>
          <a:xfrm>
            <a:off x="3767132"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8" name="Picture Placeholder 56">
            <a:extLst>
              <a:ext uri="{FF2B5EF4-FFF2-40B4-BE49-F238E27FC236}">
                <a16:creationId xmlns:a16="http://schemas.microsoft.com/office/drawing/2014/main" id="{F56A45FF-258D-6B0F-9286-E9A7D73A0461}"/>
              </a:ext>
            </a:extLst>
          </p:cNvPr>
          <p:cNvSpPr>
            <a:spLocks noGrp="1"/>
          </p:cNvSpPr>
          <p:nvPr userDrawn="1">
            <p:ph type="pic" sz="quarter" idx="58" hasCustomPrompt="1"/>
          </p:nvPr>
        </p:nvSpPr>
        <p:spPr>
          <a:xfrm>
            <a:off x="5563504"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9" name="Picture Placeholder 56">
            <a:extLst>
              <a:ext uri="{FF2B5EF4-FFF2-40B4-BE49-F238E27FC236}">
                <a16:creationId xmlns:a16="http://schemas.microsoft.com/office/drawing/2014/main" id="{636D1123-7C66-1DF0-009B-4D9327656D44}"/>
              </a:ext>
            </a:extLst>
          </p:cNvPr>
          <p:cNvSpPr>
            <a:spLocks noGrp="1"/>
          </p:cNvSpPr>
          <p:nvPr userDrawn="1">
            <p:ph type="pic" sz="quarter" idx="59" hasCustomPrompt="1"/>
          </p:nvPr>
        </p:nvSpPr>
        <p:spPr>
          <a:xfrm>
            <a:off x="7359876"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0" name="Picture Placeholder 56">
            <a:extLst>
              <a:ext uri="{FF2B5EF4-FFF2-40B4-BE49-F238E27FC236}">
                <a16:creationId xmlns:a16="http://schemas.microsoft.com/office/drawing/2014/main" id="{839F2AAD-8EEB-81BD-1861-BBD43C2F7231}"/>
              </a:ext>
            </a:extLst>
          </p:cNvPr>
          <p:cNvSpPr>
            <a:spLocks noGrp="1"/>
          </p:cNvSpPr>
          <p:nvPr userDrawn="1">
            <p:ph type="pic" sz="quarter" idx="60" hasCustomPrompt="1"/>
          </p:nvPr>
        </p:nvSpPr>
        <p:spPr>
          <a:xfrm>
            <a:off x="8586036" y="5123301"/>
            <a:ext cx="1398753"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5" name="Picture Placeholder 56">
            <a:extLst>
              <a:ext uri="{FF2B5EF4-FFF2-40B4-BE49-F238E27FC236}">
                <a16:creationId xmlns:a16="http://schemas.microsoft.com/office/drawing/2014/main" id="{15C311E6-0EBF-A309-C7FC-58B3B017429A}"/>
              </a:ext>
            </a:extLst>
          </p:cNvPr>
          <p:cNvSpPr>
            <a:spLocks noGrp="1"/>
          </p:cNvSpPr>
          <p:nvPr>
            <p:ph type="pic" sz="quarter" idx="63" hasCustomPrompt="1"/>
          </p:nvPr>
        </p:nvSpPr>
        <p:spPr>
          <a:xfrm>
            <a:off x="10807553" y="354281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8" name="Picture Placeholder 56">
            <a:extLst>
              <a:ext uri="{FF2B5EF4-FFF2-40B4-BE49-F238E27FC236}">
                <a16:creationId xmlns:a16="http://schemas.microsoft.com/office/drawing/2014/main" id="{83D49837-199A-99B0-1A46-C7E28E26F880}"/>
              </a:ext>
            </a:extLst>
          </p:cNvPr>
          <p:cNvSpPr>
            <a:spLocks noGrp="1"/>
          </p:cNvSpPr>
          <p:nvPr>
            <p:ph type="pic" sz="quarter" idx="66" hasCustomPrompt="1"/>
          </p:nvPr>
        </p:nvSpPr>
        <p:spPr>
          <a:xfrm>
            <a:off x="10807553" y="5651500"/>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31" name="Text Placeholder 130">
            <a:extLst>
              <a:ext uri="{FF2B5EF4-FFF2-40B4-BE49-F238E27FC236}">
                <a16:creationId xmlns:a16="http://schemas.microsoft.com/office/drawing/2014/main" id="{8E8F3A8C-4965-7B08-A459-A80D02E1B91B}"/>
              </a:ext>
            </a:extLst>
          </p:cNvPr>
          <p:cNvSpPr>
            <a:spLocks noGrp="1"/>
          </p:cNvSpPr>
          <p:nvPr>
            <p:ph type="body" sz="quarter" idx="67"/>
          </p:nvPr>
        </p:nvSpPr>
        <p:spPr>
          <a:xfrm>
            <a:off x="2792636"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4" name="Text Placeholder 130">
            <a:extLst>
              <a:ext uri="{FF2B5EF4-FFF2-40B4-BE49-F238E27FC236}">
                <a16:creationId xmlns:a16="http://schemas.microsoft.com/office/drawing/2014/main" id="{272E9F8F-3BEB-8A88-788D-B988CA634369}"/>
              </a:ext>
            </a:extLst>
          </p:cNvPr>
          <p:cNvSpPr>
            <a:spLocks noGrp="1"/>
          </p:cNvSpPr>
          <p:nvPr>
            <p:ph type="body" sz="quarter" idx="68"/>
          </p:nvPr>
        </p:nvSpPr>
        <p:spPr>
          <a:xfrm>
            <a:off x="4617997"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5" name="Text Placeholder 130">
            <a:extLst>
              <a:ext uri="{FF2B5EF4-FFF2-40B4-BE49-F238E27FC236}">
                <a16:creationId xmlns:a16="http://schemas.microsoft.com/office/drawing/2014/main" id="{26154540-F4D7-0CB2-7414-A3351D18B818}"/>
              </a:ext>
            </a:extLst>
          </p:cNvPr>
          <p:cNvSpPr>
            <a:spLocks noGrp="1"/>
          </p:cNvSpPr>
          <p:nvPr>
            <p:ph type="body" sz="quarter" idx="69"/>
          </p:nvPr>
        </p:nvSpPr>
        <p:spPr>
          <a:xfrm>
            <a:off x="967275"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6" name="Text Placeholder 130">
            <a:extLst>
              <a:ext uri="{FF2B5EF4-FFF2-40B4-BE49-F238E27FC236}">
                <a16:creationId xmlns:a16="http://schemas.microsoft.com/office/drawing/2014/main" id="{40074630-6D82-B22B-E19B-1BD2DBA8C980}"/>
              </a:ext>
            </a:extLst>
          </p:cNvPr>
          <p:cNvSpPr>
            <a:spLocks noGrp="1"/>
          </p:cNvSpPr>
          <p:nvPr>
            <p:ph type="body" sz="quarter" idx="70"/>
          </p:nvPr>
        </p:nvSpPr>
        <p:spPr>
          <a:xfrm>
            <a:off x="6443358"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7" name="Text Placeholder 130">
            <a:extLst>
              <a:ext uri="{FF2B5EF4-FFF2-40B4-BE49-F238E27FC236}">
                <a16:creationId xmlns:a16="http://schemas.microsoft.com/office/drawing/2014/main" id="{6FC17F1B-0B4B-8D86-E554-F321477865AB}"/>
              </a:ext>
            </a:extLst>
          </p:cNvPr>
          <p:cNvSpPr>
            <a:spLocks noGrp="1"/>
          </p:cNvSpPr>
          <p:nvPr>
            <p:ph type="body" sz="quarter" idx="71"/>
          </p:nvPr>
        </p:nvSpPr>
        <p:spPr>
          <a:xfrm>
            <a:off x="8268720"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8" name="Text Placeholder 130">
            <a:extLst>
              <a:ext uri="{FF2B5EF4-FFF2-40B4-BE49-F238E27FC236}">
                <a16:creationId xmlns:a16="http://schemas.microsoft.com/office/drawing/2014/main" id="{95D346BD-EFCF-6E95-BECC-5C22596B6D93}"/>
              </a:ext>
            </a:extLst>
          </p:cNvPr>
          <p:cNvSpPr>
            <a:spLocks noGrp="1"/>
          </p:cNvSpPr>
          <p:nvPr>
            <p:ph type="body" sz="quarter" idx="72"/>
          </p:nvPr>
        </p:nvSpPr>
        <p:spPr>
          <a:xfrm>
            <a:off x="147436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9" name="Text Placeholder 130">
            <a:extLst>
              <a:ext uri="{FF2B5EF4-FFF2-40B4-BE49-F238E27FC236}">
                <a16:creationId xmlns:a16="http://schemas.microsoft.com/office/drawing/2014/main" id="{A6CF814F-7789-8C24-D45B-754078124A49}"/>
              </a:ext>
            </a:extLst>
          </p:cNvPr>
          <p:cNvSpPr>
            <a:spLocks noGrp="1"/>
          </p:cNvSpPr>
          <p:nvPr>
            <p:ph type="body" sz="quarter" idx="73"/>
          </p:nvPr>
        </p:nvSpPr>
        <p:spPr>
          <a:xfrm>
            <a:off x="270929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0" name="Text Placeholder 130">
            <a:extLst>
              <a:ext uri="{FF2B5EF4-FFF2-40B4-BE49-F238E27FC236}">
                <a16:creationId xmlns:a16="http://schemas.microsoft.com/office/drawing/2014/main" id="{D9CD112F-A6CF-FA11-A9F2-4D9FD70DD473}"/>
              </a:ext>
            </a:extLst>
          </p:cNvPr>
          <p:cNvSpPr>
            <a:spLocks noGrp="1"/>
          </p:cNvSpPr>
          <p:nvPr>
            <p:ph type="body" sz="quarter" idx="74"/>
          </p:nvPr>
        </p:nvSpPr>
        <p:spPr>
          <a:xfrm>
            <a:off x="394423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1" name="Text Placeholder 130">
            <a:extLst>
              <a:ext uri="{FF2B5EF4-FFF2-40B4-BE49-F238E27FC236}">
                <a16:creationId xmlns:a16="http://schemas.microsoft.com/office/drawing/2014/main" id="{817F3721-1024-A4E8-F5FB-13C6743C550C}"/>
              </a:ext>
            </a:extLst>
          </p:cNvPr>
          <p:cNvSpPr>
            <a:spLocks noGrp="1"/>
          </p:cNvSpPr>
          <p:nvPr>
            <p:ph type="body" sz="quarter" idx="75"/>
          </p:nvPr>
        </p:nvSpPr>
        <p:spPr>
          <a:xfrm>
            <a:off x="517916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3" name="Text Placeholder 130">
            <a:extLst>
              <a:ext uri="{FF2B5EF4-FFF2-40B4-BE49-F238E27FC236}">
                <a16:creationId xmlns:a16="http://schemas.microsoft.com/office/drawing/2014/main" id="{17A5DA22-6139-D033-5842-73063563161A}"/>
              </a:ext>
            </a:extLst>
          </p:cNvPr>
          <p:cNvSpPr>
            <a:spLocks noGrp="1"/>
          </p:cNvSpPr>
          <p:nvPr>
            <p:ph type="body" sz="quarter" idx="76"/>
          </p:nvPr>
        </p:nvSpPr>
        <p:spPr>
          <a:xfrm>
            <a:off x="641410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4" name="Text Placeholder 130">
            <a:extLst>
              <a:ext uri="{FF2B5EF4-FFF2-40B4-BE49-F238E27FC236}">
                <a16:creationId xmlns:a16="http://schemas.microsoft.com/office/drawing/2014/main" id="{1FD3FBC3-B29E-DD2A-5B9B-09E1D0F0C692}"/>
              </a:ext>
            </a:extLst>
          </p:cNvPr>
          <p:cNvSpPr>
            <a:spLocks noGrp="1"/>
          </p:cNvSpPr>
          <p:nvPr>
            <p:ph type="body" sz="quarter" idx="77"/>
          </p:nvPr>
        </p:nvSpPr>
        <p:spPr>
          <a:xfrm>
            <a:off x="764903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5" name="Text Placeholder 130">
            <a:extLst>
              <a:ext uri="{FF2B5EF4-FFF2-40B4-BE49-F238E27FC236}">
                <a16:creationId xmlns:a16="http://schemas.microsoft.com/office/drawing/2014/main" id="{52DE49F7-3439-7AC3-6449-D71A0F2C0EA0}"/>
              </a:ext>
            </a:extLst>
          </p:cNvPr>
          <p:cNvSpPr>
            <a:spLocks noGrp="1"/>
          </p:cNvSpPr>
          <p:nvPr>
            <p:ph type="body" sz="quarter" idx="78"/>
          </p:nvPr>
        </p:nvSpPr>
        <p:spPr>
          <a:xfrm>
            <a:off x="8883973"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6" name="Text Placeholder 130">
            <a:extLst>
              <a:ext uri="{FF2B5EF4-FFF2-40B4-BE49-F238E27FC236}">
                <a16:creationId xmlns:a16="http://schemas.microsoft.com/office/drawing/2014/main" id="{6785F2BD-DC91-97F4-C6D8-13E85E5AA809}"/>
              </a:ext>
            </a:extLst>
          </p:cNvPr>
          <p:cNvSpPr>
            <a:spLocks noGrp="1"/>
          </p:cNvSpPr>
          <p:nvPr>
            <p:ph type="body" sz="quarter" idx="79"/>
          </p:nvPr>
        </p:nvSpPr>
        <p:spPr>
          <a:xfrm>
            <a:off x="1474364"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7" name="Text Placeholder 130">
            <a:extLst>
              <a:ext uri="{FF2B5EF4-FFF2-40B4-BE49-F238E27FC236}">
                <a16:creationId xmlns:a16="http://schemas.microsoft.com/office/drawing/2014/main" id="{585E728A-5488-61D6-A5B3-E86D66DED4E0}"/>
              </a:ext>
            </a:extLst>
          </p:cNvPr>
          <p:cNvSpPr>
            <a:spLocks noGrp="1"/>
          </p:cNvSpPr>
          <p:nvPr>
            <p:ph type="body" sz="quarter" idx="80"/>
          </p:nvPr>
        </p:nvSpPr>
        <p:spPr>
          <a:xfrm>
            <a:off x="3270736"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8" name="Text Placeholder 130">
            <a:extLst>
              <a:ext uri="{FF2B5EF4-FFF2-40B4-BE49-F238E27FC236}">
                <a16:creationId xmlns:a16="http://schemas.microsoft.com/office/drawing/2014/main" id="{49F66A41-4831-0333-EDE9-4EF664FC4DA1}"/>
              </a:ext>
            </a:extLst>
          </p:cNvPr>
          <p:cNvSpPr>
            <a:spLocks noGrp="1"/>
          </p:cNvSpPr>
          <p:nvPr>
            <p:ph type="body" sz="quarter" idx="81"/>
          </p:nvPr>
        </p:nvSpPr>
        <p:spPr>
          <a:xfrm>
            <a:off x="5067108"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9" name="Text Placeholder 130">
            <a:extLst>
              <a:ext uri="{FF2B5EF4-FFF2-40B4-BE49-F238E27FC236}">
                <a16:creationId xmlns:a16="http://schemas.microsoft.com/office/drawing/2014/main" id="{4F15F3B8-FACA-114B-A72D-D41C9DC6F09C}"/>
              </a:ext>
            </a:extLst>
          </p:cNvPr>
          <p:cNvSpPr>
            <a:spLocks noGrp="1"/>
          </p:cNvSpPr>
          <p:nvPr>
            <p:ph type="body" sz="quarter" idx="82"/>
          </p:nvPr>
        </p:nvSpPr>
        <p:spPr>
          <a:xfrm>
            <a:off x="6863481"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0" name="Text Placeholder 130">
            <a:extLst>
              <a:ext uri="{FF2B5EF4-FFF2-40B4-BE49-F238E27FC236}">
                <a16:creationId xmlns:a16="http://schemas.microsoft.com/office/drawing/2014/main" id="{C0ACD9A0-F1DA-42B8-B346-F4659AFA6038}"/>
              </a:ext>
            </a:extLst>
          </p:cNvPr>
          <p:cNvSpPr>
            <a:spLocks noGrp="1"/>
          </p:cNvSpPr>
          <p:nvPr>
            <p:ph type="body" sz="quarter" idx="83"/>
          </p:nvPr>
        </p:nvSpPr>
        <p:spPr>
          <a:xfrm rot="16200000">
            <a:off x="427232" y="542189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1" name="Text Placeholder 130">
            <a:extLst>
              <a:ext uri="{FF2B5EF4-FFF2-40B4-BE49-F238E27FC236}">
                <a16:creationId xmlns:a16="http://schemas.microsoft.com/office/drawing/2014/main" id="{C519E704-F352-286C-187F-06133EE880CE}"/>
              </a:ext>
            </a:extLst>
          </p:cNvPr>
          <p:cNvSpPr>
            <a:spLocks noGrp="1"/>
          </p:cNvSpPr>
          <p:nvPr>
            <p:ph type="body" sz="quarter" idx="84"/>
          </p:nvPr>
        </p:nvSpPr>
        <p:spPr>
          <a:xfrm rot="16200000">
            <a:off x="427232" y="401912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2" name="Text Placeholder 130">
            <a:extLst>
              <a:ext uri="{FF2B5EF4-FFF2-40B4-BE49-F238E27FC236}">
                <a16:creationId xmlns:a16="http://schemas.microsoft.com/office/drawing/2014/main" id="{759E6BCC-B4BB-984F-59D3-8C319B099C39}"/>
              </a:ext>
            </a:extLst>
          </p:cNvPr>
          <p:cNvSpPr>
            <a:spLocks noGrp="1"/>
          </p:cNvSpPr>
          <p:nvPr>
            <p:ph type="body" sz="quarter" idx="85"/>
          </p:nvPr>
        </p:nvSpPr>
        <p:spPr>
          <a:xfrm>
            <a:off x="4540395" y="3296596"/>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3" name="Text Placeholder 130">
            <a:extLst>
              <a:ext uri="{FF2B5EF4-FFF2-40B4-BE49-F238E27FC236}">
                <a16:creationId xmlns:a16="http://schemas.microsoft.com/office/drawing/2014/main" id="{3DBC576F-D323-8E20-63EF-14A1799F3C77}"/>
              </a:ext>
            </a:extLst>
          </p:cNvPr>
          <p:cNvSpPr>
            <a:spLocks noGrp="1"/>
          </p:cNvSpPr>
          <p:nvPr>
            <p:ph type="body" sz="quarter" idx="86"/>
          </p:nvPr>
        </p:nvSpPr>
        <p:spPr>
          <a:xfrm>
            <a:off x="4540395" y="1390604"/>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4" name="Text Placeholder 130">
            <a:extLst>
              <a:ext uri="{FF2B5EF4-FFF2-40B4-BE49-F238E27FC236}">
                <a16:creationId xmlns:a16="http://schemas.microsoft.com/office/drawing/2014/main" id="{0CC0519A-3FBA-7B17-A350-5BD8EB2E48FA}"/>
              </a:ext>
            </a:extLst>
          </p:cNvPr>
          <p:cNvSpPr>
            <a:spLocks noGrp="1"/>
          </p:cNvSpPr>
          <p:nvPr>
            <p:ph type="body" sz="quarter" idx="87"/>
          </p:nvPr>
        </p:nvSpPr>
        <p:spPr>
          <a:xfrm>
            <a:off x="10510534" y="3254232"/>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5" name="Text Placeholder 130">
            <a:extLst>
              <a:ext uri="{FF2B5EF4-FFF2-40B4-BE49-F238E27FC236}">
                <a16:creationId xmlns:a16="http://schemas.microsoft.com/office/drawing/2014/main" id="{3239A6BB-C497-4438-3D99-A6B9F463EAB1}"/>
              </a:ext>
            </a:extLst>
          </p:cNvPr>
          <p:cNvSpPr>
            <a:spLocks noGrp="1"/>
          </p:cNvSpPr>
          <p:nvPr>
            <p:ph type="body" sz="quarter" idx="88"/>
          </p:nvPr>
        </p:nvSpPr>
        <p:spPr>
          <a:xfrm>
            <a:off x="10510534" y="6331411"/>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6" name="Text Placeholder 130">
            <a:extLst>
              <a:ext uri="{FF2B5EF4-FFF2-40B4-BE49-F238E27FC236}">
                <a16:creationId xmlns:a16="http://schemas.microsoft.com/office/drawing/2014/main" id="{17ACB126-8F3B-AFAF-BBB5-0FE7CF5D47FF}"/>
              </a:ext>
            </a:extLst>
          </p:cNvPr>
          <p:cNvSpPr>
            <a:spLocks noGrp="1"/>
          </p:cNvSpPr>
          <p:nvPr>
            <p:ph type="body" sz="quarter" idx="89"/>
          </p:nvPr>
        </p:nvSpPr>
        <p:spPr>
          <a:xfrm>
            <a:off x="10578458" y="4499683"/>
            <a:ext cx="1036516" cy="773444"/>
          </a:xfrm>
          <a:solidFill>
            <a:schemeClr val="bg1"/>
          </a:solidFill>
        </p:spPr>
        <p:txBody>
          <a:bodyPr anchor="ctr" anchorCtr="0">
            <a:noAutofit/>
          </a:bodyP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
        <p:nvSpPr>
          <p:cNvPr id="157" name="Text Placeholder 130">
            <a:extLst>
              <a:ext uri="{FF2B5EF4-FFF2-40B4-BE49-F238E27FC236}">
                <a16:creationId xmlns:a16="http://schemas.microsoft.com/office/drawing/2014/main" id="{CD46F206-2FC2-9482-02DD-4CE50ABEFBA6}"/>
              </a:ext>
            </a:extLst>
          </p:cNvPr>
          <p:cNvSpPr>
            <a:spLocks noGrp="1"/>
          </p:cNvSpPr>
          <p:nvPr>
            <p:ph type="body" sz="quarter" idx="90"/>
          </p:nvPr>
        </p:nvSpPr>
        <p:spPr>
          <a:xfrm>
            <a:off x="10651029" y="1824038"/>
            <a:ext cx="891374" cy="714374"/>
          </a:xfrm>
        </p:spPr>
        <p:txBody>
          <a:bodyPr anchor="ct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Tree>
    <p:extLst>
      <p:ext uri="{BB962C8B-B14F-4D97-AF65-F5344CB8AC3E}">
        <p14:creationId xmlns:p14="http://schemas.microsoft.com/office/powerpoint/2010/main" val="4011446925"/>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peaker Guidanc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D924C7-0356-6225-E12D-52F6C07AEA4F}"/>
              </a:ext>
            </a:extLst>
          </p:cNvPr>
          <p:cNvSpPr/>
          <p:nvPr userDrawn="1"/>
        </p:nvSpPr>
        <p:spPr bwMode="auto">
          <a:xfrm flipH="1">
            <a:off x="2524538" y="1152524"/>
            <a:ext cx="9081674" cy="511430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82C25624-FD92-7EF6-BDD3-64F1782E1E0B}"/>
              </a:ext>
            </a:extLst>
          </p:cNvPr>
          <p:cNvSpPr/>
          <p:nvPr userDrawn="1"/>
        </p:nvSpPr>
        <p:spPr bwMode="auto">
          <a:xfrm>
            <a:off x="0" y="6266834"/>
            <a:ext cx="12192000" cy="5911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p:txBody>
          <a:bodyPr/>
          <a:lstStyle>
            <a:lvl1pPr>
              <a:defRPr/>
            </a:lvl1pPr>
          </a:lstStyle>
          <a:p>
            <a:r>
              <a:rPr lang="en-US"/>
              <a:t>Add Title here</a:t>
            </a:r>
          </a:p>
        </p:txBody>
      </p:sp>
      <p:sp>
        <p:nvSpPr>
          <p:cNvPr id="15" name="Text Placeholder 5">
            <a:extLst>
              <a:ext uri="{FF2B5EF4-FFF2-40B4-BE49-F238E27FC236}">
                <a16:creationId xmlns:a16="http://schemas.microsoft.com/office/drawing/2014/main" id="{D205E7A8-1881-A585-87DB-A2BD273F9506}"/>
              </a:ext>
            </a:extLst>
          </p:cNvPr>
          <p:cNvSpPr>
            <a:spLocks noGrp="1"/>
          </p:cNvSpPr>
          <p:nvPr>
            <p:ph type="body" sz="quarter" idx="20" hasCustomPrompt="1"/>
          </p:nvPr>
        </p:nvSpPr>
        <p:spPr>
          <a:xfrm>
            <a:off x="2603500" y="115252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6" name="Text Placeholder 5">
            <a:extLst>
              <a:ext uri="{FF2B5EF4-FFF2-40B4-BE49-F238E27FC236}">
                <a16:creationId xmlns:a16="http://schemas.microsoft.com/office/drawing/2014/main" id="{AE27D661-5D7F-C05F-4F97-7818CB1C50E0}"/>
              </a:ext>
            </a:extLst>
          </p:cNvPr>
          <p:cNvSpPr>
            <a:spLocks noGrp="1"/>
          </p:cNvSpPr>
          <p:nvPr>
            <p:ph type="body" sz="quarter" idx="21" hasCustomPrompt="1"/>
          </p:nvPr>
        </p:nvSpPr>
        <p:spPr>
          <a:xfrm>
            <a:off x="2603500" y="1890977"/>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7" name="Text Placeholder 5">
            <a:extLst>
              <a:ext uri="{FF2B5EF4-FFF2-40B4-BE49-F238E27FC236}">
                <a16:creationId xmlns:a16="http://schemas.microsoft.com/office/drawing/2014/main" id="{94DD9AD2-18DF-C76D-C40C-3BC3856BC6F0}"/>
              </a:ext>
            </a:extLst>
          </p:cNvPr>
          <p:cNvSpPr>
            <a:spLocks noGrp="1"/>
          </p:cNvSpPr>
          <p:nvPr>
            <p:ph type="body" sz="quarter" idx="22" hasCustomPrompt="1"/>
          </p:nvPr>
        </p:nvSpPr>
        <p:spPr>
          <a:xfrm>
            <a:off x="2603500" y="2629429"/>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8" name="Text Placeholder 5">
            <a:extLst>
              <a:ext uri="{FF2B5EF4-FFF2-40B4-BE49-F238E27FC236}">
                <a16:creationId xmlns:a16="http://schemas.microsoft.com/office/drawing/2014/main" id="{B3E59AB2-BBBB-24AE-6D25-42A2F78E7CBA}"/>
              </a:ext>
            </a:extLst>
          </p:cNvPr>
          <p:cNvSpPr>
            <a:spLocks noGrp="1"/>
          </p:cNvSpPr>
          <p:nvPr>
            <p:ph type="body" sz="quarter" idx="23" hasCustomPrompt="1"/>
          </p:nvPr>
        </p:nvSpPr>
        <p:spPr>
          <a:xfrm>
            <a:off x="2603500" y="3367881"/>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9" name="Text Placeholder 5">
            <a:extLst>
              <a:ext uri="{FF2B5EF4-FFF2-40B4-BE49-F238E27FC236}">
                <a16:creationId xmlns:a16="http://schemas.microsoft.com/office/drawing/2014/main" id="{030D4C9A-59E0-BD9C-F67D-75EB7DD853A3}"/>
              </a:ext>
            </a:extLst>
          </p:cNvPr>
          <p:cNvSpPr>
            <a:spLocks noGrp="1"/>
          </p:cNvSpPr>
          <p:nvPr>
            <p:ph type="body" sz="quarter" idx="24" hasCustomPrompt="1"/>
          </p:nvPr>
        </p:nvSpPr>
        <p:spPr>
          <a:xfrm>
            <a:off x="2603500" y="4106333"/>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0" name="Text Placeholder 5">
            <a:extLst>
              <a:ext uri="{FF2B5EF4-FFF2-40B4-BE49-F238E27FC236}">
                <a16:creationId xmlns:a16="http://schemas.microsoft.com/office/drawing/2014/main" id="{53FFF5E9-EB90-274A-4F32-79223FFCBE75}"/>
              </a:ext>
            </a:extLst>
          </p:cNvPr>
          <p:cNvSpPr>
            <a:spLocks noGrp="1"/>
          </p:cNvSpPr>
          <p:nvPr>
            <p:ph type="body" sz="quarter" idx="25" hasCustomPrompt="1"/>
          </p:nvPr>
        </p:nvSpPr>
        <p:spPr>
          <a:xfrm>
            <a:off x="2603500" y="484478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1" name="Text Placeholder 5">
            <a:extLst>
              <a:ext uri="{FF2B5EF4-FFF2-40B4-BE49-F238E27FC236}">
                <a16:creationId xmlns:a16="http://schemas.microsoft.com/office/drawing/2014/main" id="{092C99D8-DBE4-4260-924F-35D46E0B0A84}"/>
              </a:ext>
            </a:extLst>
          </p:cNvPr>
          <p:cNvSpPr>
            <a:spLocks noGrp="1"/>
          </p:cNvSpPr>
          <p:nvPr>
            <p:ph type="body" sz="quarter" idx="26" hasCustomPrompt="1"/>
          </p:nvPr>
        </p:nvSpPr>
        <p:spPr>
          <a:xfrm>
            <a:off x="2603500" y="558323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cxnSp>
        <p:nvCxnSpPr>
          <p:cNvPr id="25" name="Straight Connector 24">
            <a:extLst>
              <a:ext uri="{FF2B5EF4-FFF2-40B4-BE49-F238E27FC236}">
                <a16:creationId xmlns:a16="http://schemas.microsoft.com/office/drawing/2014/main" id="{B7C3725F-901C-C01F-E141-69E4374DC60C}"/>
              </a:ext>
            </a:extLst>
          </p:cNvPr>
          <p:cNvCxnSpPr>
            <a:cxnSpLocks/>
          </p:cNvCxnSpPr>
          <p:nvPr userDrawn="1"/>
        </p:nvCxnSpPr>
        <p:spPr>
          <a:xfrm>
            <a:off x="2603499" y="186465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CCF5029-E2DC-F2CF-6F92-B65540D53548}"/>
              </a:ext>
            </a:extLst>
          </p:cNvPr>
          <p:cNvCxnSpPr>
            <a:cxnSpLocks/>
          </p:cNvCxnSpPr>
          <p:nvPr userDrawn="1"/>
        </p:nvCxnSpPr>
        <p:spPr>
          <a:xfrm>
            <a:off x="2603499" y="2603103"/>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075192-50B7-3FC8-2E43-9002B60CDB09}"/>
              </a:ext>
            </a:extLst>
          </p:cNvPr>
          <p:cNvCxnSpPr>
            <a:cxnSpLocks/>
          </p:cNvCxnSpPr>
          <p:nvPr userDrawn="1"/>
        </p:nvCxnSpPr>
        <p:spPr>
          <a:xfrm>
            <a:off x="2603499" y="3341555"/>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253E800-D778-A32C-B978-EBD31A8823CD}"/>
              </a:ext>
            </a:extLst>
          </p:cNvPr>
          <p:cNvCxnSpPr>
            <a:cxnSpLocks/>
          </p:cNvCxnSpPr>
          <p:nvPr userDrawn="1"/>
        </p:nvCxnSpPr>
        <p:spPr>
          <a:xfrm>
            <a:off x="2603499" y="4080007"/>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E0AFDF1-6406-00A6-9E52-3B64F6CEAA6B}"/>
              </a:ext>
            </a:extLst>
          </p:cNvPr>
          <p:cNvCxnSpPr>
            <a:cxnSpLocks/>
          </p:cNvCxnSpPr>
          <p:nvPr userDrawn="1"/>
        </p:nvCxnSpPr>
        <p:spPr>
          <a:xfrm>
            <a:off x="2603499" y="4818459"/>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62580B5-E917-7977-84AB-B816900A32BA}"/>
              </a:ext>
            </a:extLst>
          </p:cNvPr>
          <p:cNvCxnSpPr>
            <a:cxnSpLocks/>
          </p:cNvCxnSpPr>
          <p:nvPr userDrawn="1"/>
        </p:nvCxnSpPr>
        <p:spPr>
          <a:xfrm>
            <a:off x="2603499" y="555691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B204E465-9A88-A57C-E10C-26DBF15524EE}"/>
              </a:ext>
            </a:extLst>
          </p:cNvPr>
          <p:cNvSpPr>
            <a:spLocks noGrp="1"/>
          </p:cNvSpPr>
          <p:nvPr>
            <p:ph type="body" sz="quarter" idx="13" hasCustomPrompt="1"/>
          </p:nvPr>
        </p:nvSpPr>
        <p:spPr>
          <a:xfrm>
            <a:off x="-1" y="115252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endParaRPr lang="en-US"/>
          </a:p>
        </p:txBody>
      </p:sp>
      <p:sp>
        <p:nvSpPr>
          <p:cNvPr id="7" name="Text Placeholder 5">
            <a:extLst>
              <a:ext uri="{FF2B5EF4-FFF2-40B4-BE49-F238E27FC236}">
                <a16:creationId xmlns:a16="http://schemas.microsoft.com/office/drawing/2014/main" id="{CED3A873-AF8D-D678-59D4-767C43AE3572}"/>
              </a:ext>
            </a:extLst>
          </p:cNvPr>
          <p:cNvSpPr>
            <a:spLocks noGrp="1"/>
          </p:cNvSpPr>
          <p:nvPr>
            <p:ph type="body" sz="quarter" idx="14" hasCustomPrompt="1"/>
          </p:nvPr>
        </p:nvSpPr>
        <p:spPr>
          <a:xfrm>
            <a:off x="-1" y="1890977"/>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8" name="Text Placeholder 5">
            <a:extLst>
              <a:ext uri="{FF2B5EF4-FFF2-40B4-BE49-F238E27FC236}">
                <a16:creationId xmlns:a16="http://schemas.microsoft.com/office/drawing/2014/main" id="{3C4C1BAE-D67A-56B0-565E-BB8DD62A1F04}"/>
              </a:ext>
            </a:extLst>
          </p:cNvPr>
          <p:cNvSpPr>
            <a:spLocks noGrp="1"/>
          </p:cNvSpPr>
          <p:nvPr>
            <p:ph type="body" sz="quarter" idx="15" hasCustomPrompt="1"/>
          </p:nvPr>
        </p:nvSpPr>
        <p:spPr>
          <a:xfrm>
            <a:off x="-1" y="2629429"/>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0" name="Text Placeholder 5">
            <a:extLst>
              <a:ext uri="{FF2B5EF4-FFF2-40B4-BE49-F238E27FC236}">
                <a16:creationId xmlns:a16="http://schemas.microsoft.com/office/drawing/2014/main" id="{EBDC8AD4-C927-CCDC-B645-AAC76C2FD939}"/>
              </a:ext>
            </a:extLst>
          </p:cNvPr>
          <p:cNvSpPr>
            <a:spLocks noGrp="1"/>
          </p:cNvSpPr>
          <p:nvPr>
            <p:ph type="body" sz="quarter" idx="16" hasCustomPrompt="1"/>
          </p:nvPr>
        </p:nvSpPr>
        <p:spPr>
          <a:xfrm>
            <a:off x="-1" y="3367881"/>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2" name="Text Placeholder 5">
            <a:extLst>
              <a:ext uri="{FF2B5EF4-FFF2-40B4-BE49-F238E27FC236}">
                <a16:creationId xmlns:a16="http://schemas.microsoft.com/office/drawing/2014/main" id="{79EB4475-9CBB-9290-75FD-627A825D8BBE}"/>
              </a:ext>
            </a:extLst>
          </p:cNvPr>
          <p:cNvSpPr>
            <a:spLocks noGrp="1"/>
          </p:cNvSpPr>
          <p:nvPr>
            <p:ph type="body" sz="quarter" idx="17" hasCustomPrompt="1"/>
          </p:nvPr>
        </p:nvSpPr>
        <p:spPr>
          <a:xfrm>
            <a:off x="-1" y="4106333"/>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3" name="Text Placeholder 5">
            <a:extLst>
              <a:ext uri="{FF2B5EF4-FFF2-40B4-BE49-F238E27FC236}">
                <a16:creationId xmlns:a16="http://schemas.microsoft.com/office/drawing/2014/main" id="{026C1969-4182-635E-8417-0C5A9050140D}"/>
              </a:ext>
            </a:extLst>
          </p:cNvPr>
          <p:cNvSpPr>
            <a:spLocks noGrp="1"/>
          </p:cNvSpPr>
          <p:nvPr>
            <p:ph type="body" sz="quarter" idx="18" hasCustomPrompt="1"/>
          </p:nvPr>
        </p:nvSpPr>
        <p:spPr>
          <a:xfrm>
            <a:off x="-1" y="484478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4" name="Text Placeholder 5">
            <a:extLst>
              <a:ext uri="{FF2B5EF4-FFF2-40B4-BE49-F238E27FC236}">
                <a16:creationId xmlns:a16="http://schemas.microsoft.com/office/drawing/2014/main" id="{251F96A7-E684-A125-B0E2-0DEA00C8442A}"/>
              </a:ext>
            </a:extLst>
          </p:cNvPr>
          <p:cNvSpPr>
            <a:spLocks noGrp="1"/>
          </p:cNvSpPr>
          <p:nvPr>
            <p:ph type="body" sz="quarter" idx="19" hasCustomPrompt="1"/>
          </p:nvPr>
        </p:nvSpPr>
        <p:spPr>
          <a:xfrm>
            <a:off x="-1" y="558323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3" name="Rectangle 2">
            <a:extLst>
              <a:ext uri="{FF2B5EF4-FFF2-40B4-BE49-F238E27FC236}">
                <a16:creationId xmlns:a16="http://schemas.microsoft.com/office/drawing/2014/main" id="{FD52D9C0-751B-47BD-F922-CD7E7783C353}"/>
              </a:ext>
            </a:extLst>
          </p:cNvPr>
          <p:cNvSpPr/>
          <p:nvPr userDrawn="1"/>
        </p:nvSpPr>
        <p:spPr bwMode="auto">
          <a:xfrm>
            <a:off x="1" y="0"/>
            <a:ext cx="12192000" cy="381000"/>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Presenter Guidance</a:t>
            </a:r>
          </a:p>
        </p:txBody>
      </p:sp>
    </p:spTree>
    <p:extLst>
      <p:ext uri="{BB962C8B-B14F-4D97-AF65-F5344CB8AC3E}">
        <p14:creationId xmlns:p14="http://schemas.microsoft.com/office/powerpoint/2010/main" val="288237920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Statistic Column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3703D50-2255-B25C-E43A-AA2DE4FCAE1C}"/>
              </a:ext>
            </a:extLst>
          </p:cNvPr>
          <p:cNvGrpSpPr/>
          <p:nvPr userDrawn="1"/>
        </p:nvGrpSpPr>
        <p:grpSpPr>
          <a:xfrm>
            <a:off x="0" y="774700"/>
            <a:ext cx="12192000" cy="4687248"/>
            <a:chOff x="0" y="774700"/>
            <a:chExt cx="12192000" cy="4687248"/>
          </a:xfrm>
        </p:grpSpPr>
        <p:sp>
          <p:nvSpPr>
            <p:cNvPr id="4" name="Freeform: Shape 3">
              <a:extLst>
                <a:ext uri="{FF2B5EF4-FFF2-40B4-BE49-F238E27FC236}">
                  <a16:creationId xmlns:a16="http://schemas.microsoft.com/office/drawing/2014/main" id="{69B9DCE7-85A7-5448-0EB8-6D3E348225BF}"/>
                </a:ext>
              </a:extLst>
            </p:cNvPr>
            <p:cNvSpPr/>
            <p:nvPr/>
          </p:nvSpPr>
          <p:spPr bwMode="auto">
            <a:xfrm>
              <a:off x="0" y="774700"/>
              <a:ext cx="12192000" cy="2095495"/>
            </a:xfrm>
            <a:custGeom>
              <a:avLst/>
              <a:gdLst>
                <a:gd name="connsiteX0" fmla="*/ 0 w 12192000"/>
                <a:gd name="connsiteY0" fmla="*/ 0 h 2095495"/>
                <a:gd name="connsiteX1" fmla="*/ 12192000 w 12192000"/>
                <a:gd name="connsiteY1" fmla="*/ 0 h 2095495"/>
                <a:gd name="connsiteX2" fmla="*/ 12192000 w 12192000"/>
                <a:gd name="connsiteY2" fmla="*/ 2095495 h 2095495"/>
                <a:gd name="connsiteX3" fmla="*/ 9905599 w 12192000"/>
                <a:gd name="connsiteY3" fmla="*/ 2095495 h 2095495"/>
                <a:gd name="connsiteX4" fmla="*/ 9896938 w 12192000"/>
                <a:gd name="connsiteY4" fmla="*/ 2038747 h 2095495"/>
                <a:gd name="connsiteX5" fmla="*/ 9033018 w 12192000"/>
                <a:gd name="connsiteY5" fmla="*/ 1334633 h 2095495"/>
                <a:gd name="connsiteX6" fmla="*/ 8169098 w 12192000"/>
                <a:gd name="connsiteY6" fmla="*/ 2038747 h 2095495"/>
                <a:gd name="connsiteX7" fmla="*/ 8160437 w 12192000"/>
                <a:gd name="connsiteY7" fmla="*/ 2095495 h 2095495"/>
                <a:gd name="connsiteX8" fmla="*/ 4052205 w 12192000"/>
                <a:gd name="connsiteY8" fmla="*/ 2095495 h 2095495"/>
                <a:gd name="connsiteX9" fmla="*/ 4043544 w 12192000"/>
                <a:gd name="connsiteY9" fmla="*/ 2038747 h 2095495"/>
                <a:gd name="connsiteX10" fmla="*/ 3179624 w 12192000"/>
                <a:gd name="connsiteY10" fmla="*/ 1334633 h 2095495"/>
                <a:gd name="connsiteX11" fmla="*/ 2315704 w 12192000"/>
                <a:gd name="connsiteY11" fmla="*/ 2038747 h 2095495"/>
                <a:gd name="connsiteX12" fmla="*/ 2307043 w 12192000"/>
                <a:gd name="connsiteY12" fmla="*/ 2095495 h 2095495"/>
                <a:gd name="connsiteX13" fmla="*/ 0 w 12192000"/>
                <a:gd name="connsiteY13" fmla="*/ 2095495 h 2095495"/>
                <a:gd name="connsiteX14" fmla="*/ 0 w 12192000"/>
                <a:gd name="connsiteY14" fmla="*/ 0 h 209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2095495">
                  <a:moveTo>
                    <a:pt x="0" y="0"/>
                  </a:moveTo>
                  <a:lnTo>
                    <a:pt x="12192000" y="0"/>
                  </a:lnTo>
                  <a:lnTo>
                    <a:pt x="12192000" y="2095495"/>
                  </a:lnTo>
                  <a:lnTo>
                    <a:pt x="9905599" y="2095495"/>
                  </a:lnTo>
                  <a:lnTo>
                    <a:pt x="9896938" y="2038747"/>
                  </a:lnTo>
                  <a:cubicBezTo>
                    <a:pt x="9814710" y="1636910"/>
                    <a:pt x="9459165" y="1334633"/>
                    <a:pt x="9033018" y="1334633"/>
                  </a:cubicBezTo>
                  <a:cubicBezTo>
                    <a:pt x="8606871" y="1334633"/>
                    <a:pt x="8251326" y="1636910"/>
                    <a:pt x="8169098" y="2038747"/>
                  </a:cubicBezTo>
                  <a:lnTo>
                    <a:pt x="8160437" y="2095495"/>
                  </a:lnTo>
                  <a:lnTo>
                    <a:pt x="4052205" y="2095495"/>
                  </a:lnTo>
                  <a:lnTo>
                    <a:pt x="4043544" y="2038747"/>
                  </a:lnTo>
                  <a:cubicBezTo>
                    <a:pt x="3961317" y="1636910"/>
                    <a:pt x="3605771" y="1334633"/>
                    <a:pt x="3179624" y="1334633"/>
                  </a:cubicBezTo>
                  <a:cubicBezTo>
                    <a:pt x="2753477" y="1334633"/>
                    <a:pt x="2397932" y="1636910"/>
                    <a:pt x="2315704" y="2038747"/>
                  </a:cubicBezTo>
                  <a:lnTo>
                    <a:pt x="2307043" y="2095495"/>
                  </a:lnTo>
                  <a:lnTo>
                    <a:pt x="0" y="2095495"/>
                  </a:lnTo>
                  <a:lnTo>
                    <a:pt x="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878F246A-487B-3346-A5ED-DDBDFCE390E0}"/>
                </a:ext>
              </a:extLst>
            </p:cNvPr>
            <p:cNvSpPr/>
            <p:nvPr/>
          </p:nvSpPr>
          <p:spPr bwMode="auto">
            <a:xfrm>
              <a:off x="0" y="3110548"/>
              <a:ext cx="12192000" cy="2351400"/>
            </a:xfrm>
            <a:custGeom>
              <a:avLst/>
              <a:gdLst>
                <a:gd name="connsiteX0" fmla="*/ 0 w 12192000"/>
                <a:gd name="connsiteY0" fmla="*/ 0 h 2351400"/>
                <a:gd name="connsiteX1" fmla="*/ 2305396 w 12192000"/>
                <a:gd name="connsiteY1" fmla="*/ 0 h 2351400"/>
                <a:gd name="connsiteX2" fmla="*/ 2313215 w 12192000"/>
                <a:gd name="connsiteY2" fmla="*/ 51232 h 2351400"/>
                <a:gd name="connsiteX3" fmla="*/ 3179624 w 12192000"/>
                <a:gd name="connsiteY3" fmla="*/ 757375 h 2351400"/>
                <a:gd name="connsiteX4" fmla="*/ 4046033 w 12192000"/>
                <a:gd name="connsiteY4" fmla="*/ 51232 h 2351400"/>
                <a:gd name="connsiteX5" fmla="*/ 4053852 w 12192000"/>
                <a:gd name="connsiteY5" fmla="*/ 0 h 2351400"/>
                <a:gd name="connsiteX6" fmla="*/ 8158791 w 12192000"/>
                <a:gd name="connsiteY6" fmla="*/ 0 h 2351400"/>
                <a:gd name="connsiteX7" fmla="*/ 8166609 w 12192000"/>
                <a:gd name="connsiteY7" fmla="*/ 51232 h 2351400"/>
                <a:gd name="connsiteX8" fmla="*/ 9033018 w 12192000"/>
                <a:gd name="connsiteY8" fmla="*/ 757375 h 2351400"/>
                <a:gd name="connsiteX9" fmla="*/ 9899427 w 12192000"/>
                <a:gd name="connsiteY9" fmla="*/ 51232 h 2351400"/>
                <a:gd name="connsiteX10" fmla="*/ 9907246 w 12192000"/>
                <a:gd name="connsiteY10" fmla="*/ 0 h 2351400"/>
                <a:gd name="connsiteX11" fmla="*/ 12192000 w 12192000"/>
                <a:gd name="connsiteY11" fmla="*/ 0 h 2351400"/>
                <a:gd name="connsiteX12" fmla="*/ 12192000 w 12192000"/>
                <a:gd name="connsiteY12" fmla="*/ 2351400 h 2351400"/>
                <a:gd name="connsiteX13" fmla="*/ 0 w 12192000"/>
                <a:gd name="connsiteY13" fmla="*/ 2351400 h 2351400"/>
                <a:gd name="connsiteX14" fmla="*/ 0 w 12192000"/>
                <a:gd name="connsiteY14" fmla="*/ 0 h 235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2351400">
                  <a:moveTo>
                    <a:pt x="0" y="0"/>
                  </a:moveTo>
                  <a:lnTo>
                    <a:pt x="2305396" y="0"/>
                  </a:lnTo>
                  <a:lnTo>
                    <a:pt x="2313215" y="51232"/>
                  </a:lnTo>
                  <a:cubicBezTo>
                    <a:pt x="2395680" y="454227"/>
                    <a:pt x="2752251" y="757375"/>
                    <a:pt x="3179624" y="757375"/>
                  </a:cubicBezTo>
                  <a:cubicBezTo>
                    <a:pt x="3606998" y="757375"/>
                    <a:pt x="3963568" y="454227"/>
                    <a:pt x="4046033" y="51232"/>
                  </a:cubicBezTo>
                  <a:lnTo>
                    <a:pt x="4053852" y="0"/>
                  </a:lnTo>
                  <a:lnTo>
                    <a:pt x="8158791" y="0"/>
                  </a:lnTo>
                  <a:lnTo>
                    <a:pt x="8166609" y="51232"/>
                  </a:lnTo>
                  <a:cubicBezTo>
                    <a:pt x="8249074" y="454227"/>
                    <a:pt x="8605644" y="757375"/>
                    <a:pt x="9033018" y="757375"/>
                  </a:cubicBezTo>
                  <a:cubicBezTo>
                    <a:pt x="9460392" y="757375"/>
                    <a:pt x="9816962" y="454227"/>
                    <a:pt x="9899427" y="51232"/>
                  </a:cubicBezTo>
                  <a:lnTo>
                    <a:pt x="9907246" y="0"/>
                  </a:lnTo>
                  <a:lnTo>
                    <a:pt x="12192000" y="0"/>
                  </a:lnTo>
                  <a:lnTo>
                    <a:pt x="12192000" y="2351400"/>
                  </a:lnTo>
                  <a:lnTo>
                    <a:pt x="0" y="2351400"/>
                  </a:lnTo>
                  <a:lnTo>
                    <a:pt x="0" y="0"/>
                  </a:ln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cxnSp>
        <p:nvCxnSpPr>
          <p:cNvPr id="16" name="Straight Connector 15">
            <a:extLst>
              <a:ext uri="{FF2B5EF4-FFF2-40B4-BE49-F238E27FC236}">
                <a16:creationId xmlns:a16="http://schemas.microsoft.com/office/drawing/2014/main" id="{799B7ADE-3857-D457-053F-BA76EE244F4C}"/>
              </a:ext>
            </a:extLst>
          </p:cNvPr>
          <p:cNvCxnSpPr>
            <a:cxnSpLocks/>
          </p:cNvCxnSpPr>
          <p:nvPr userDrawn="1"/>
        </p:nvCxnSpPr>
        <p:spPr>
          <a:xfrm>
            <a:off x="0" y="2983549"/>
            <a:ext cx="12192000" cy="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8" name="Oval 17">
            <a:extLst>
              <a:ext uri="{FF2B5EF4-FFF2-40B4-BE49-F238E27FC236}">
                <a16:creationId xmlns:a16="http://schemas.microsoft.com/office/drawing/2014/main" id="{B293B22B-178C-2C87-BA41-F02702EE7E36}"/>
              </a:ext>
            </a:extLst>
          </p:cNvPr>
          <p:cNvSpPr/>
          <p:nvPr/>
        </p:nvSpPr>
        <p:spPr bwMode="auto">
          <a:xfrm>
            <a:off x="2435456" y="2239381"/>
            <a:ext cx="1488336" cy="148833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Text Placeholder 47">
            <a:extLst>
              <a:ext uri="{FF2B5EF4-FFF2-40B4-BE49-F238E27FC236}">
                <a16:creationId xmlns:a16="http://schemas.microsoft.com/office/drawing/2014/main" id="{19F2D43F-C66C-E8E6-E765-245680D9CC3B}"/>
              </a:ext>
            </a:extLst>
          </p:cNvPr>
          <p:cNvSpPr>
            <a:spLocks noGrp="1"/>
          </p:cNvSpPr>
          <p:nvPr userDrawn="1">
            <p:ph type="body" sz="quarter" idx="17"/>
          </p:nvPr>
        </p:nvSpPr>
        <p:spPr>
          <a:xfrm>
            <a:off x="2581580" y="2385509"/>
            <a:ext cx="1196091" cy="1196082"/>
          </a:xfrm>
          <a:prstGeom prst="ellipse">
            <a:avLst/>
          </a:prstGeom>
          <a:solidFill>
            <a:schemeClr val="bg2"/>
          </a:solidFill>
        </p:spPr>
        <p:txBody>
          <a:bodyPr>
            <a:noAutofit/>
          </a:bodyPr>
          <a:lstStyle>
            <a:lvl1pPr marL="0" indent="0" algn="ctr">
              <a:buNone/>
              <a:defRPr sz="100">
                <a:solidFill>
                  <a:schemeClr val="bg2"/>
                </a:solidFill>
              </a:defRPr>
            </a:lvl1pPr>
          </a:lstStyle>
          <a:p>
            <a:pPr lvl="0"/>
            <a:endParaRPr lang="en-IN"/>
          </a:p>
        </p:txBody>
      </p:sp>
      <p:sp>
        <p:nvSpPr>
          <p:cNvPr id="22" name="Oval 21">
            <a:extLst>
              <a:ext uri="{FF2B5EF4-FFF2-40B4-BE49-F238E27FC236}">
                <a16:creationId xmlns:a16="http://schemas.microsoft.com/office/drawing/2014/main" id="{51CD0791-2D03-DE54-0C06-BABE61497EAD}"/>
              </a:ext>
            </a:extLst>
          </p:cNvPr>
          <p:cNvSpPr/>
          <p:nvPr/>
        </p:nvSpPr>
        <p:spPr bwMode="auto">
          <a:xfrm>
            <a:off x="8288850" y="2239381"/>
            <a:ext cx="1488336" cy="148833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Text Placeholder 47">
            <a:extLst>
              <a:ext uri="{FF2B5EF4-FFF2-40B4-BE49-F238E27FC236}">
                <a16:creationId xmlns:a16="http://schemas.microsoft.com/office/drawing/2014/main" id="{4211CC97-7819-AF44-46D5-0A6DF4232CF5}"/>
              </a:ext>
            </a:extLst>
          </p:cNvPr>
          <p:cNvSpPr>
            <a:spLocks noGrp="1"/>
          </p:cNvSpPr>
          <p:nvPr userDrawn="1">
            <p:ph type="body" sz="quarter" idx="18"/>
          </p:nvPr>
        </p:nvSpPr>
        <p:spPr>
          <a:xfrm>
            <a:off x="8434975" y="2385509"/>
            <a:ext cx="1196091" cy="1196082"/>
          </a:xfrm>
          <a:prstGeom prst="ellipse">
            <a:avLst/>
          </a:prstGeom>
          <a:solidFill>
            <a:schemeClr val="bg2"/>
          </a:solidFill>
        </p:spPr>
        <p:txBody>
          <a:bodyPr>
            <a:noAutofit/>
          </a:bodyPr>
          <a:lstStyle>
            <a:lvl1pPr marL="0" indent="0" algn="ctr">
              <a:buNone/>
              <a:defRPr sz="100">
                <a:solidFill>
                  <a:schemeClr val="bg2"/>
                </a:solidFill>
              </a:defRPr>
            </a:lvl1pPr>
          </a:lstStyle>
          <a:p>
            <a:pPr lvl="0"/>
            <a:endParaRPr lang="en-IN"/>
          </a:p>
        </p:txBody>
      </p:sp>
      <p:sp>
        <p:nvSpPr>
          <p:cNvPr id="46" name="Text Placeholder 44">
            <a:extLst>
              <a:ext uri="{FF2B5EF4-FFF2-40B4-BE49-F238E27FC236}">
                <a16:creationId xmlns:a16="http://schemas.microsoft.com/office/drawing/2014/main" id="{3FB7EA4B-E5BD-13E4-D966-1CCD0F7EDE8C}"/>
              </a:ext>
            </a:extLst>
          </p:cNvPr>
          <p:cNvSpPr>
            <a:spLocks noGrp="1"/>
          </p:cNvSpPr>
          <p:nvPr userDrawn="1">
            <p:ph type="body" sz="quarter" idx="16"/>
          </p:nvPr>
        </p:nvSpPr>
        <p:spPr>
          <a:xfrm>
            <a:off x="6838727" y="4009505"/>
            <a:ext cx="4388582" cy="369332"/>
          </a:xfrm>
        </p:spPr>
        <p:txBody>
          <a:bodyPr vert="horz" wrap="square" lIns="0" tIns="0" rIns="0" bIns="0" rtlCol="0">
            <a:spAutoFit/>
          </a:bodyPr>
          <a:lstStyle>
            <a:lvl1pPr marL="0" indent="0" algn="ctr">
              <a:buNone/>
              <a:defRPr kumimoji="0" lang="en-IN" sz="2400" b="0" i="0" u="none" strike="noStrike" kern="0" cap="none" normalizeH="0" dirty="0">
                <a:ln>
                  <a:noFill/>
                </a:ln>
                <a:solidFill>
                  <a:srgbClr val="000000"/>
                </a:solidFill>
                <a:effectLst/>
                <a:uLnTx/>
                <a:uFillTx/>
                <a:latin typeface="+mj-lt"/>
              </a:defRPr>
            </a:lvl1pPr>
          </a:lstStyle>
          <a:p>
            <a:pPr marL="228600" lvl="0" indent="-228600" algn="ctr" defTabSz="932472" fontAlgn="base">
              <a:spcBef>
                <a:spcPct val="0"/>
              </a:spcBef>
              <a:spcAft>
                <a:spcPct val="0"/>
              </a:spcAft>
              <a:buSzTx/>
            </a:pPr>
            <a:endParaRPr lang="en-IN"/>
          </a:p>
        </p:txBody>
      </p:sp>
      <p:sp>
        <p:nvSpPr>
          <p:cNvPr id="35" name="Text Placeholder 34">
            <a:extLst>
              <a:ext uri="{FF2B5EF4-FFF2-40B4-BE49-F238E27FC236}">
                <a16:creationId xmlns:a16="http://schemas.microsoft.com/office/drawing/2014/main" id="{88BA958C-889D-8310-8C16-2D1F63E62199}"/>
              </a:ext>
            </a:extLst>
          </p:cNvPr>
          <p:cNvSpPr>
            <a:spLocks noGrp="1"/>
          </p:cNvSpPr>
          <p:nvPr userDrawn="1">
            <p:ph type="body" sz="quarter" idx="10" hasCustomPrompt="1"/>
          </p:nvPr>
        </p:nvSpPr>
        <p:spPr>
          <a:xfrm>
            <a:off x="2722424" y="2737327"/>
            <a:ext cx="914400" cy="492443"/>
          </a:xfrm>
        </p:spPr>
        <p:txBody>
          <a:bodyPr anchor="ctr"/>
          <a:lstStyle>
            <a:lvl1pPr marL="0" indent="0" algn="ctr">
              <a:buNone/>
              <a:defRPr kumimoji="0" lang="en-IN" sz="3200" b="0" i="0" u="none" strike="noStrike" kern="0" cap="none" spc="0" normalizeH="0" baseline="0" dirty="0">
                <a:ln>
                  <a:noFill/>
                </a:ln>
                <a:solidFill>
                  <a:srgbClr val="FFFFFF"/>
                </a:solidFill>
                <a:effectLst/>
                <a:uLnTx/>
                <a:uFillTx/>
                <a:latin typeface="Segoe UI Semibold"/>
                <a:ea typeface="Segoe UI" panose="020B0502040204020203" pitchFamily="34" charset="0"/>
                <a:cs typeface="Segoe UI" panose="020B0502040204020203" pitchFamily="34" charset="0"/>
              </a:defRPr>
            </a:lvl1pPr>
            <a:lvl2pPr marL="228600" indent="0">
              <a:buNone/>
              <a:defRPr sz="1100"/>
            </a:lvl2pPr>
            <a:lvl3pPr marL="457200" indent="0">
              <a:buNone/>
              <a:defRPr sz="1000"/>
            </a:lvl3pPr>
            <a:lvl4pPr marL="661988" indent="0">
              <a:buNone/>
              <a:defRPr sz="900"/>
            </a:lvl4pPr>
            <a:lvl5pPr marL="855663" indent="0">
              <a:buNone/>
              <a:defRPr sz="900"/>
            </a:lvl5p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IN"/>
              <a:t>0%</a:t>
            </a:r>
          </a:p>
        </p:txBody>
      </p:sp>
      <p:sp>
        <p:nvSpPr>
          <p:cNvPr id="40" name="Text Placeholder 34">
            <a:extLst>
              <a:ext uri="{FF2B5EF4-FFF2-40B4-BE49-F238E27FC236}">
                <a16:creationId xmlns:a16="http://schemas.microsoft.com/office/drawing/2014/main" id="{4CB5AA07-91FB-EF0A-30EA-A773B28F9E0A}"/>
              </a:ext>
            </a:extLst>
          </p:cNvPr>
          <p:cNvSpPr>
            <a:spLocks noGrp="1"/>
          </p:cNvSpPr>
          <p:nvPr userDrawn="1">
            <p:ph type="body" sz="quarter" idx="14" hasCustomPrompt="1"/>
          </p:nvPr>
        </p:nvSpPr>
        <p:spPr>
          <a:xfrm>
            <a:off x="8575818" y="2737327"/>
            <a:ext cx="914400" cy="492443"/>
          </a:xfrm>
        </p:spPr>
        <p:txBody>
          <a:bodyPr anchor="ctr"/>
          <a:lstStyle>
            <a:lvl1pPr marL="0" indent="0" algn="ctr">
              <a:buNone/>
              <a:defRPr kumimoji="0" lang="en-IN" sz="3200" b="0" i="0" u="none" strike="noStrike" kern="0" cap="none" spc="0" normalizeH="0" baseline="0" dirty="0">
                <a:ln>
                  <a:noFill/>
                </a:ln>
                <a:solidFill>
                  <a:srgbClr val="FFFFFF"/>
                </a:solidFill>
                <a:effectLst/>
                <a:uLnTx/>
                <a:uFillTx/>
                <a:latin typeface="Segoe UI Semibold"/>
                <a:ea typeface="Segoe UI" panose="020B0502040204020203" pitchFamily="34" charset="0"/>
                <a:cs typeface="Segoe UI" panose="020B0502040204020203" pitchFamily="34" charset="0"/>
              </a:defRPr>
            </a:lvl1pPr>
            <a:lvl2pPr marL="228600" indent="0">
              <a:buNone/>
              <a:defRPr sz="1100"/>
            </a:lvl2pPr>
            <a:lvl3pPr marL="457200" indent="0">
              <a:buNone/>
              <a:defRPr sz="1000"/>
            </a:lvl3pPr>
            <a:lvl4pPr marL="661988" indent="0">
              <a:buNone/>
              <a:defRPr sz="900"/>
            </a:lvl4pPr>
            <a:lvl5pPr marL="855663" indent="0">
              <a:buNone/>
              <a:defRPr sz="900"/>
            </a:lvl5p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IN"/>
              <a:t>0%</a:t>
            </a:r>
          </a:p>
        </p:txBody>
      </p:sp>
      <p:sp>
        <p:nvSpPr>
          <p:cNvPr id="43" name="Title 42">
            <a:extLst>
              <a:ext uri="{FF2B5EF4-FFF2-40B4-BE49-F238E27FC236}">
                <a16:creationId xmlns:a16="http://schemas.microsoft.com/office/drawing/2014/main" id="{6A11BF7B-B1B0-5B74-B2AB-138E3661D3D8}"/>
              </a:ext>
            </a:extLst>
          </p:cNvPr>
          <p:cNvSpPr>
            <a:spLocks noGrp="1"/>
          </p:cNvSpPr>
          <p:nvPr userDrawn="1">
            <p:ph type="title"/>
          </p:nvPr>
        </p:nvSpPr>
        <p:spPr>
          <a:xfrm>
            <a:off x="588263" y="1163465"/>
            <a:ext cx="11018520" cy="553998"/>
          </a:xfrm>
        </p:spPr>
        <p:txBody>
          <a:bodyPr/>
          <a:lstStyle>
            <a:lvl1pPr algn="ctr">
              <a:defRPr/>
            </a:lvl1pPr>
          </a:lstStyle>
          <a:p>
            <a:r>
              <a:rPr lang="en-US"/>
              <a:t>Click to edit Master title style</a:t>
            </a:r>
            <a:endParaRPr lang="en-IN"/>
          </a:p>
        </p:txBody>
      </p:sp>
      <p:sp>
        <p:nvSpPr>
          <p:cNvPr id="39" name="Text Placeholder 37">
            <a:extLst>
              <a:ext uri="{FF2B5EF4-FFF2-40B4-BE49-F238E27FC236}">
                <a16:creationId xmlns:a16="http://schemas.microsoft.com/office/drawing/2014/main" id="{36734B48-3556-1A0A-22B8-6EBE1E7FEF8C}"/>
              </a:ext>
            </a:extLst>
          </p:cNvPr>
          <p:cNvSpPr>
            <a:spLocks noGrp="1"/>
          </p:cNvSpPr>
          <p:nvPr userDrawn="1">
            <p:ph type="body" sz="quarter" idx="13"/>
          </p:nvPr>
        </p:nvSpPr>
        <p:spPr>
          <a:xfrm>
            <a:off x="985333" y="4009504"/>
            <a:ext cx="4388582" cy="369332"/>
          </a:xfrm>
        </p:spPr>
        <p:txBody>
          <a:bodyPr/>
          <a:lstStyle>
            <a:lvl1pPr marL="0" indent="0" algn="ctr">
              <a:buNone/>
              <a:defRPr kumimoji="0" lang="en-IN" sz="2400" b="0" i="0" u="none" strike="noStrike" kern="0" cap="none" spc="0" normalizeH="0" baseline="0" dirty="0">
                <a:ln>
                  <a:noFill/>
                </a:ln>
                <a:solidFill>
                  <a:srgbClr val="000000"/>
                </a:solidFill>
                <a:effectLst/>
                <a:uLnTx/>
                <a:uFillTx/>
                <a:latin typeface="+mj-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lang="en-IN"/>
          </a:p>
        </p:txBody>
      </p:sp>
      <p:sp>
        <p:nvSpPr>
          <p:cNvPr id="7" name="Text Placeholder 6">
            <a:extLst>
              <a:ext uri="{FF2B5EF4-FFF2-40B4-BE49-F238E27FC236}">
                <a16:creationId xmlns:a16="http://schemas.microsoft.com/office/drawing/2014/main" id="{E34EE4CD-453E-92AC-4D05-7CFFD6201865}"/>
              </a:ext>
            </a:extLst>
          </p:cNvPr>
          <p:cNvSpPr>
            <a:spLocks noGrp="1"/>
          </p:cNvSpPr>
          <p:nvPr>
            <p:ph type="body" sz="quarter" idx="20" hasCustomPrompt="1"/>
          </p:nvPr>
        </p:nvSpPr>
        <p:spPr>
          <a:xfrm>
            <a:off x="584200" y="6460362"/>
            <a:ext cx="11027664" cy="138499"/>
          </a:xfrm>
        </p:spPr>
        <p:txBody>
          <a:bodyPr anchor="b"/>
          <a:lstStyle>
            <a:lvl1pPr marL="0" indent="0">
              <a:buNone/>
              <a:defRPr sz="900">
                <a:solidFill>
                  <a:schemeClr val="bg1">
                    <a:lumMod val="50000"/>
                  </a:schemeClr>
                </a:solidFill>
              </a:defRPr>
            </a:lvl1pPr>
          </a:lstStyle>
          <a:p>
            <a:pPr lvl="0"/>
            <a:r>
              <a:rPr lang="en-US"/>
              <a:t>Add text here</a:t>
            </a:r>
          </a:p>
        </p:txBody>
      </p:sp>
    </p:spTree>
    <p:extLst>
      <p:ext uri="{BB962C8B-B14F-4D97-AF65-F5344CB8AC3E}">
        <p14:creationId xmlns:p14="http://schemas.microsoft.com/office/powerpoint/2010/main" val="28706625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layout with two icons each">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D48739A5-22D6-3318-CA82-856503135B3B}"/>
              </a:ext>
            </a:extLst>
          </p:cNvPr>
          <p:cNvSpPr/>
          <p:nvPr userDrawn="1"/>
        </p:nvSpPr>
        <p:spPr bwMode="auto">
          <a:xfrm>
            <a:off x="7558672" y="3091335"/>
            <a:ext cx="2716912" cy="300798"/>
          </a:xfrm>
          <a:prstGeom prst="roundRect">
            <a:avLst>
              <a:gd name="adj" fmla="val 50000"/>
            </a:avLst>
          </a:prstGeom>
          <a:solidFill>
            <a:schemeClr val="bg1">
              <a:lumMod val="85000"/>
              <a:lumOff val="15000"/>
            </a:schemeClr>
          </a:solidFill>
          <a:ln w="319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78D4"/>
              </a:solidFill>
              <a:effectLst/>
              <a:uLnTx/>
              <a:uFillTx/>
              <a:latin typeface="Segoe UI"/>
              <a:ea typeface="+mn-ea"/>
              <a:cs typeface="+mn-cs"/>
            </a:endParaRPr>
          </a:p>
        </p:txBody>
      </p:sp>
      <p:sp>
        <p:nvSpPr>
          <p:cNvPr id="4" name="Rectangle: Rounded Corners 3">
            <a:extLst>
              <a:ext uri="{FF2B5EF4-FFF2-40B4-BE49-F238E27FC236}">
                <a16:creationId xmlns:a16="http://schemas.microsoft.com/office/drawing/2014/main" id="{F4CA4BE6-3C8D-46AA-DC5F-830FA77ABDF0}"/>
              </a:ext>
            </a:extLst>
          </p:cNvPr>
          <p:cNvSpPr/>
          <p:nvPr userDrawn="1"/>
        </p:nvSpPr>
        <p:spPr bwMode="auto">
          <a:xfrm>
            <a:off x="1919462" y="3091335"/>
            <a:ext cx="2716912" cy="300798"/>
          </a:xfrm>
          <a:prstGeom prst="roundRect">
            <a:avLst>
              <a:gd name="adj" fmla="val 50000"/>
            </a:avLst>
          </a:prstGeom>
          <a:solidFill>
            <a:schemeClr val="bg1">
              <a:lumMod val="85000"/>
              <a:lumOff val="15000"/>
            </a:schemeClr>
          </a:solidFill>
          <a:ln w="319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78D4"/>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5546B9A4-E14E-3C19-7969-D08609BD6711}"/>
              </a:ext>
            </a:extLst>
          </p:cNvPr>
          <p:cNvSpPr/>
          <p:nvPr userDrawn="1"/>
        </p:nvSpPr>
        <p:spPr bwMode="auto">
          <a:xfrm>
            <a:off x="0" y="2404697"/>
            <a:ext cx="12192000" cy="1474038"/>
          </a:xfrm>
          <a:custGeom>
            <a:avLst/>
            <a:gdLst>
              <a:gd name="connsiteX0" fmla="*/ 0 w 12192000"/>
              <a:gd name="connsiteY0" fmla="*/ 0 h 1474038"/>
              <a:gd name="connsiteX1" fmla="*/ 1830523 w 12192000"/>
              <a:gd name="connsiteY1" fmla="*/ 0 h 1474038"/>
              <a:gd name="connsiteX2" fmla="*/ 1840510 w 12192000"/>
              <a:gd name="connsiteY2" fmla="*/ 99068 h 1474038"/>
              <a:gd name="connsiteX3" fmla="*/ 2459845 w 12192000"/>
              <a:gd name="connsiteY3" fmla="*/ 603840 h 1474038"/>
              <a:gd name="connsiteX4" fmla="*/ 3079180 w 12192000"/>
              <a:gd name="connsiteY4" fmla="*/ 99068 h 1474038"/>
              <a:gd name="connsiteX5" fmla="*/ 3089167 w 12192000"/>
              <a:gd name="connsiteY5" fmla="*/ 0 h 1474038"/>
              <a:gd name="connsiteX6" fmla="*/ 3466670 w 12192000"/>
              <a:gd name="connsiteY6" fmla="*/ 0 h 1474038"/>
              <a:gd name="connsiteX7" fmla="*/ 3476657 w 12192000"/>
              <a:gd name="connsiteY7" fmla="*/ 99068 h 1474038"/>
              <a:gd name="connsiteX8" fmla="*/ 4095992 w 12192000"/>
              <a:gd name="connsiteY8" fmla="*/ 603840 h 1474038"/>
              <a:gd name="connsiteX9" fmla="*/ 4715327 w 12192000"/>
              <a:gd name="connsiteY9" fmla="*/ 99068 h 1474038"/>
              <a:gd name="connsiteX10" fmla="*/ 4725314 w 12192000"/>
              <a:gd name="connsiteY10" fmla="*/ 0 h 1474038"/>
              <a:gd name="connsiteX11" fmla="*/ 7469733 w 12192000"/>
              <a:gd name="connsiteY11" fmla="*/ 0 h 1474038"/>
              <a:gd name="connsiteX12" fmla="*/ 7479720 w 12192000"/>
              <a:gd name="connsiteY12" fmla="*/ 99068 h 1474038"/>
              <a:gd name="connsiteX13" fmla="*/ 8099055 w 12192000"/>
              <a:gd name="connsiteY13" fmla="*/ 603840 h 1474038"/>
              <a:gd name="connsiteX14" fmla="*/ 8718390 w 12192000"/>
              <a:gd name="connsiteY14" fmla="*/ 99068 h 1474038"/>
              <a:gd name="connsiteX15" fmla="*/ 8728377 w 12192000"/>
              <a:gd name="connsiteY15" fmla="*/ 0 h 1474038"/>
              <a:gd name="connsiteX16" fmla="*/ 9105880 w 12192000"/>
              <a:gd name="connsiteY16" fmla="*/ 0 h 1474038"/>
              <a:gd name="connsiteX17" fmla="*/ 9115867 w 12192000"/>
              <a:gd name="connsiteY17" fmla="*/ 99068 h 1474038"/>
              <a:gd name="connsiteX18" fmla="*/ 9735202 w 12192000"/>
              <a:gd name="connsiteY18" fmla="*/ 603840 h 1474038"/>
              <a:gd name="connsiteX19" fmla="*/ 10354537 w 12192000"/>
              <a:gd name="connsiteY19" fmla="*/ 99068 h 1474038"/>
              <a:gd name="connsiteX20" fmla="*/ 10364524 w 12192000"/>
              <a:gd name="connsiteY20" fmla="*/ 0 h 1474038"/>
              <a:gd name="connsiteX21" fmla="*/ 12192000 w 12192000"/>
              <a:gd name="connsiteY21" fmla="*/ 0 h 1474038"/>
              <a:gd name="connsiteX22" fmla="*/ 12192000 w 12192000"/>
              <a:gd name="connsiteY22" fmla="*/ 1474038 h 1474038"/>
              <a:gd name="connsiteX23" fmla="*/ 0 w 12192000"/>
              <a:gd name="connsiteY23" fmla="*/ 1474038 h 1474038"/>
              <a:gd name="connsiteX24" fmla="*/ 0 w 12192000"/>
              <a:gd name="connsiteY24" fmla="*/ 0 h 147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1474038">
                <a:moveTo>
                  <a:pt x="0" y="0"/>
                </a:moveTo>
                <a:lnTo>
                  <a:pt x="1830523" y="0"/>
                </a:lnTo>
                <a:lnTo>
                  <a:pt x="1840510" y="99068"/>
                </a:lnTo>
                <a:cubicBezTo>
                  <a:pt x="1899458" y="387141"/>
                  <a:pt x="2154345" y="603840"/>
                  <a:pt x="2459845" y="603840"/>
                </a:cubicBezTo>
                <a:cubicBezTo>
                  <a:pt x="2765345" y="603840"/>
                  <a:pt x="3020232" y="387141"/>
                  <a:pt x="3079180" y="99068"/>
                </a:cubicBezTo>
                <a:lnTo>
                  <a:pt x="3089167" y="0"/>
                </a:lnTo>
                <a:lnTo>
                  <a:pt x="3466670" y="0"/>
                </a:lnTo>
                <a:lnTo>
                  <a:pt x="3476657" y="99068"/>
                </a:lnTo>
                <a:cubicBezTo>
                  <a:pt x="3535605" y="387141"/>
                  <a:pt x="3790492" y="603840"/>
                  <a:pt x="4095992" y="603840"/>
                </a:cubicBezTo>
                <a:cubicBezTo>
                  <a:pt x="4401492" y="603840"/>
                  <a:pt x="4656379" y="387141"/>
                  <a:pt x="4715327" y="99068"/>
                </a:cubicBezTo>
                <a:lnTo>
                  <a:pt x="4725314" y="0"/>
                </a:lnTo>
                <a:lnTo>
                  <a:pt x="7469733" y="0"/>
                </a:lnTo>
                <a:lnTo>
                  <a:pt x="7479720" y="99068"/>
                </a:lnTo>
                <a:cubicBezTo>
                  <a:pt x="7538668" y="387141"/>
                  <a:pt x="7793555" y="603840"/>
                  <a:pt x="8099055" y="603840"/>
                </a:cubicBezTo>
                <a:cubicBezTo>
                  <a:pt x="8404555" y="603840"/>
                  <a:pt x="8659442" y="387141"/>
                  <a:pt x="8718390" y="99068"/>
                </a:cubicBezTo>
                <a:lnTo>
                  <a:pt x="8728377" y="0"/>
                </a:lnTo>
                <a:lnTo>
                  <a:pt x="9105880" y="0"/>
                </a:lnTo>
                <a:lnTo>
                  <a:pt x="9115867" y="99068"/>
                </a:lnTo>
                <a:cubicBezTo>
                  <a:pt x="9174815" y="387141"/>
                  <a:pt x="9429702" y="603840"/>
                  <a:pt x="9735202" y="603840"/>
                </a:cubicBezTo>
                <a:cubicBezTo>
                  <a:pt x="10040702" y="603840"/>
                  <a:pt x="10295589" y="387141"/>
                  <a:pt x="10354537" y="99068"/>
                </a:cubicBezTo>
                <a:lnTo>
                  <a:pt x="10364524" y="0"/>
                </a:lnTo>
                <a:lnTo>
                  <a:pt x="12192000" y="0"/>
                </a:lnTo>
                <a:lnTo>
                  <a:pt x="12192000" y="1474038"/>
                </a:lnTo>
                <a:lnTo>
                  <a:pt x="0" y="1474038"/>
                </a:lnTo>
                <a:lnTo>
                  <a:pt x="0" y="0"/>
                </a:ln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cxnSp>
        <p:nvCxnSpPr>
          <p:cNvPr id="8" name="Straight Connector 7">
            <a:extLst>
              <a:ext uri="{FF2B5EF4-FFF2-40B4-BE49-F238E27FC236}">
                <a16:creationId xmlns:a16="http://schemas.microsoft.com/office/drawing/2014/main" id="{756EBE4A-5BB3-2FD0-69EF-4FF477FE1005}"/>
              </a:ext>
            </a:extLst>
          </p:cNvPr>
          <p:cNvCxnSpPr>
            <a:cxnSpLocks/>
          </p:cNvCxnSpPr>
          <p:nvPr userDrawn="1"/>
        </p:nvCxnSpPr>
        <p:spPr>
          <a:xfrm>
            <a:off x="6096000" y="2407189"/>
            <a:ext cx="0" cy="1469486"/>
          </a:xfrm>
          <a:prstGeom prst="line">
            <a:avLst/>
          </a:prstGeom>
          <a:noFill/>
          <a:ln w="41275">
            <a:solidFill>
              <a:schemeClr val="bg1">
                <a:lumMod val="50000"/>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 name="Text Placeholder 5">
            <a:extLst>
              <a:ext uri="{FF2B5EF4-FFF2-40B4-BE49-F238E27FC236}">
                <a16:creationId xmlns:a16="http://schemas.microsoft.com/office/drawing/2014/main" id="{5732FCFE-342B-9C3B-A31B-2817FA19B3D5}"/>
              </a:ext>
            </a:extLst>
          </p:cNvPr>
          <p:cNvSpPr>
            <a:spLocks noGrp="1"/>
          </p:cNvSpPr>
          <p:nvPr>
            <p:ph type="body" sz="quarter" idx="37"/>
          </p:nvPr>
        </p:nvSpPr>
        <p:spPr>
          <a:xfrm>
            <a:off x="839882" y="4047328"/>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0" name="Text Placeholder 5">
            <a:extLst>
              <a:ext uri="{FF2B5EF4-FFF2-40B4-BE49-F238E27FC236}">
                <a16:creationId xmlns:a16="http://schemas.microsoft.com/office/drawing/2014/main" id="{463711C3-3568-880F-3196-274FFA62ACB5}"/>
              </a:ext>
            </a:extLst>
          </p:cNvPr>
          <p:cNvSpPr>
            <a:spLocks noGrp="1"/>
          </p:cNvSpPr>
          <p:nvPr>
            <p:ph type="body" sz="quarter" idx="38"/>
          </p:nvPr>
        </p:nvSpPr>
        <p:spPr>
          <a:xfrm>
            <a:off x="839882" y="4556359"/>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1" name="Text Placeholder 5">
            <a:extLst>
              <a:ext uri="{FF2B5EF4-FFF2-40B4-BE49-F238E27FC236}">
                <a16:creationId xmlns:a16="http://schemas.microsoft.com/office/drawing/2014/main" id="{9007BC4F-9D6F-A5FB-E4CF-AC60A335343B}"/>
              </a:ext>
            </a:extLst>
          </p:cNvPr>
          <p:cNvSpPr>
            <a:spLocks noGrp="1"/>
          </p:cNvSpPr>
          <p:nvPr>
            <p:ph type="body" sz="quarter" idx="39"/>
          </p:nvPr>
        </p:nvSpPr>
        <p:spPr>
          <a:xfrm>
            <a:off x="839882" y="5065390"/>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3" name="Text Placeholder 5">
            <a:extLst>
              <a:ext uri="{FF2B5EF4-FFF2-40B4-BE49-F238E27FC236}">
                <a16:creationId xmlns:a16="http://schemas.microsoft.com/office/drawing/2014/main" id="{263D0B5F-3C76-A3FA-BCF6-78BBC6E0D4D7}"/>
              </a:ext>
            </a:extLst>
          </p:cNvPr>
          <p:cNvSpPr>
            <a:spLocks noGrp="1"/>
          </p:cNvSpPr>
          <p:nvPr>
            <p:ph type="body" sz="quarter" idx="40"/>
          </p:nvPr>
        </p:nvSpPr>
        <p:spPr>
          <a:xfrm>
            <a:off x="6876934" y="4047328"/>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4" name="Text Placeholder 5">
            <a:extLst>
              <a:ext uri="{FF2B5EF4-FFF2-40B4-BE49-F238E27FC236}">
                <a16:creationId xmlns:a16="http://schemas.microsoft.com/office/drawing/2014/main" id="{F6775768-E42D-3B8F-BD1D-CBAB6A3A0C5D}"/>
              </a:ext>
            </a:extLst>
          </p:cNvPr>
          <p:cNvSpPr>
            <a:spLocks noGrp="1"/>
          </p:cNvSpPr>
          <p:nvPr>
            <p:ph type="body" sz="quarter" idx="41"/>
          </p:nvPr>
        </p:nvSpPr>
        <p:spPr>
          <a:xfrm>
            <a:off x="6876934" y="4556359"/>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6" name="Text Placeholder 5">
            <a:extLst>
              <a:ext uri="{FF2B5EF4-FFF2-40B4-BE49-F238E27FC236}">
                <a16:creationId xmlns:a16="http://schemas.microsoft.com/office/drawing/2014/main" id="{996EA175-5FD0-F5F3-0F5C-06C9016ADDBD}"/>
              </a:ext>
            </a:extLst>
          </p:cNvPr>
          <p:cNvSpPr>
            <a:spLocks noGrp="1"/>
          </p:cNvSpPr>
          <p:nvPr>
            <p:ph type="body" sz="quarter" idx="42"/>
          </p:nvPr>
        </p:nvSpPr>
        <p:spPr>
          <a:xfrm>
            <a:off x="6876934" y="5065390"/>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29" name="Oval 28">
            <a:extLst>
              <a:ext uri="{FF2B5EF4-FFF2-40B4-BE49-F238E27FC236}">
                <a16:creationId xmlns:a16="http://schemas.microsoft.com/office/drawing/2014/main" id="{D44B4E05-E712-140E-5788-25EE31D38E8B}"/>
              </a:ext>
            </a:extLst>
          </p:cNvPr>
          <p:cNvSpPr/>
          <p:nvPr userDrawn="1"/>
        </p:nvSpPr>
        <p:spPr bwMode="auto">
          <a:xfrm>
            <a:off x="1943090"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E719424D-27D2-02C9-2A38-096673958F52}"/>
              </a:ext>
            </a:extLst>
          </p:cNvPr>
          <p:cNvSpPr/>
          <p:nvPr userDrawn="1"/>
        </p:nvSpPr>
        <p:spPr bwMode="auto">
          <a:xfrm>
            <a:off x="2044559"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1" name="Oval 30">
            <a:extLst>
              <a:ext uri="{FF2B5EF4-FFF2-40B4-BE49-F238E27FC236}">
                <a16:creationId xmlns:a16="http://schemas.microsoft.com/office/drawing/2014/main" id="{5E49F84F-C3CD-E3C3-A68B-70950D9B171C}"/>
              </a:ext>
            </a:extLst>
          </p:cNvPr>
          <p:cNvSpPr/>
          <p:nvPr userDrawn="1"/>
        </p:nvSpPr>
        <p:spPr bwMode="auto">
          <a:xfrm>
            <a:off x="3579237"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1FBC744-6C82-5EDB-1037-AC2EC8A3EBB1}"/>
              </a:ext>
            </a:extLst>
          </p:cNvPr>
          <p:cNvSpPr/>
          <p:nvPr userDrawn="1"/>
        </p:nvSpPr>
        <p:spPr bwMode="auto">
          <a:xfrm>
            <a:off x="3680706"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3" name="Oval 32">
            <a:extLst>
              <a:ext uri="{FF2B5EF4-FFF2-40B4-BE49-F238E27FC236}">
                <a16:creationId xmlns:a16="http://schemas.microsoft.com/office/drawing/2014/main" id="{B4E1814C-074F-4DDF-D938-535F760BB478}"/>
              </a:ext>
            </a:extLst>
          </p:cNvPr>
          <p:cNvSpPr/>
          <p:nvPr userDrawn="1"/>
        </p:nvSpPr>
        <p:spPr bwMode="auto">
          <a:xfrm>
            <a:off x="7582300"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7A675EF0-E474-CB29-E0CD-CC1890C072E3}"/>
              </a:ext>
            </a:extLst>
          </p:cNvPr>
          <p:cNvSpPr/>
          <p:nvPr userDrawn="1"/>
        </p:nvSpPr>
        <p:spPr bwMode="auto">
          <a:xfrm>
            <a:off x="7683003" y="1960307"/>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5" name="Oval 34">
            <a:extLst>
              <a:ext uri="{FF2B5EF4-FFF2-40B4-BE49-F238E27FC236}">
                <a16:creationId xmlns:a16="http://schemas.microsoft.com/office/drawing/2014/main" id="{0F840BC2-266A-1C82-92C2-7B6D9A105E14}"/>
              </a:ext>
            </a:extLst>
          </p:cNvPr>
          <p:cNvSpPr/>
          <p:nvPr userDrawn="1"/>
        </p:nvSpPr>
        <p:spPr bwMode="auto">
          <a:xfrm>
            <a:off x="9218447"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E73518D7-84FF-F739-1441-D82A99AA334F}"/>
              </a:ext>
            </a:extLst>
          </p:cNvPr>
          <p:cNvSpPr/>
          <p:nvPr userDrawn="1"/>
        </p:nvSpPr>
        <p:spPr bwMode="auto">
          <a:xfrm>
            <a:off x="9319916"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cxnSp>
        <p:nvCxnSpPr>
          <p:cNvPr id="54" name="Straight Connector 53">
            <a:extLst>
              <a:ext uri="{FF2B5EF4-FFF2-40B4-BE49-F238E27FC236}">
                <a16:creationId xmlns:a16="http://schemas.microsoft.com/office/drawing/2014/main" id="{2D16AF58-6722-39A6-1AD9-DC16456436E1}"/>
              </a:ext>
            </a:extLst>
          </p:cNvPr>
          <p:cNvCxnSpPr>
            <a:cxnSpLocks/>
          </p:cNvCxnSpPr>
          <p:nvPr userDrawn="1"/>
        </p:nvCxnSpPr>
        <p:spPr>
          <a:xfrm>
            <a:off x="6096000" y="3873832"/>
            <a:ext cx="0" cy="1755443"/>
          </a:xfrm>
          <a:prstGeom prst="line">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5" name="Straight Connector 54">
            <a:extLst>
              <a:ext uri="{FF2B5EF4-FFF2-40B4-BE49-F238E27FC236}">
                <a16:creationId xmlns:a16="http://schemas.microsoft.com/office/drawing/2014/main" id="{08987300-6899-8524-267A-9FC03D13CB5B}"/>
              </a:ext>
            </a:extLst>
          </p:cNvPr>
          <p:cNvCxnSpPr>
            <a:cxnSpLocks/>
          </p:cNvCxnSpPr>
          <p:nvPr userDrawn="1"/>
        </p:nvCxnSpPr>
        <p:spPr>
          <a:xfrm flipH="1">
            <a:off x="0" y="5629275"/>
            <a:ext cx="12192000" cy="0"/>
          </a:xfrm>
          <a:prstGeom prst="line">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0" name="Title 59">
            <a:extLst>
              <a:ext uri="{FF2B5EF4-FFF2-40B4-BE49-F238E27FC236}">
                <a16:creationId xmlns:a16="http://schemas.microsoft.com/office/drawing/2014/main" id="{59641B11-4B97-D963-19A2-D81441F13E5E}"/>
              </a:ext>
            </a:extLst>
          </p:cNvPr>
          <p:cNvSpPr>
            <a:spLocks noGrp="1"/>
          </p:cNvSpPr>
          <p:nvPr userDrawn="1">
            <p:ph type="title"/>
          </p:nvPr>
        </p:nvSpPr>
        <p:spPr/>
        <p:txBody>
          <a:bodyPr/>
          <a:lstStyle/>
          <a:p>
            <a:r>
              <a:rPr lang="en-US"/>
              <a:t>Click to edit Master title style</a:t>
            </a:r>
            <a:endParaRPr lang="en-IN"/>
          </a:p>
        </p:txBody>
      </p:sp>
      <p:sp>
        <p:nvSpPr>
          <p:cNvPr id="63" name="Text Placeholder 61">
            <a:extLst>
              <a:ext uri="{FF2B5EF4-FFF2-40B4-BE49-F238E27FC236}">
                <a16:creationId xmlns:a16="http://schemas.microsoft.com/office/drawing/2014/main" id="{FF90FD4A-AC33-5A2C-D076-3AC56D69CAF9}"/>
              </a:ext>
            </a:extLst>
          </p:cNvPr>
          <p:cNvSpPr>
            <a:spLocks noGrp="1"/>
          </p:cNvSpPr>
          <p:nvPr userDrawn="1">
            <p:ph type="body" sz="quarter" idx="13"/>
          </p:nvPr>
        </p:nvSpPr>
        <p:spPr>
          <a:xfrm>
            <a:off x="1645445" y="408702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67" name="Text Placeholder 66">
            <a:extLst>
              <a:ext uri="{FF2B5EF4-FFF2-40B4-BE49-F238E27FC236}">
                <a16:creationId xmlns:a16="http://schemas.microsoft.com/office/drawing/2014/main" id="{C3521EEC-9F97-A391-667C-D5B871F81D31}"/>
              </a:ext>
            </a:extLst>
          </p:cNvPr>
          <p:cNvSpPr>
            <a:spLocks noGrp="1"/>
          </p:cNvSpPr>
          <p:nvPr userDrawn="1">
            <p:ph type="body" sz="quarter" idx="16"/>
          </p:nvPr>
        </p:nvSpPr>
        <p:spPr>
          <a:xfrm>
            <a:off x="1645445" y="459566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69" name="Text Placeholder 68">
            <a:extLst>
              <a:ext uri="{FF2B5EF4-FFF2-40B4-BE49-F238E27FC236}">
                <a16:creationId xmlns:a16="http://schemas.microsoft.com/office/drawing/2014/main" id="{BC168433-D4F9-F291-57C0-3C6A88CB58E8}"/>
              </a:ext>
            </a:extLst>
          </p:cNvPr>
          <p:cNvSpPr>
            <a:spLocks noGrp="1"/>
          </p:cNvSpPr>
          <p:nvPr userDrawn="1">
            <p:ph type="body" sz="quarter" idx="17"/>
          </p:nvPr>
        </p:nvSpPr>
        <p:spPr>
          <a:xfrm>
            <a:off x="1645445" y="5104691"/>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71" name="Text Placeholder 70">
            <a:extLst>
              <a:ext uri="{FF2B5EF4-FFF2-40B4-BE49-F238E27FC236}">
                <a16:creationId xmlns:a16="http://schemas.microsoft.com/office/drawing/2014/main" id="{CD09CA6F-BA8E-2253-92FA-BFFCCD3EB9BD}"/>
              </a:ext>
            </a:extLst>
          </p:cNvPr>
          <p:cNvSpPr>
            <a:spLocks noGrp="1"/>
          </p:cNvSpPr>
          <p:nvPr userDrawn="1">
            <p:ph type="body" sz="quarter" idx="18"/>
          </p:nvPr>
        </p:nvSpPr>
        <p:spPr>
          <a:xfrm>
            <a:off x="7682497" y="408702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75" name="Text Placeholder 74">
            <a:extLst>
              <a:ext uri="{FF2B5EF4-FFF2-40B4-BE49-F238E27FC236}">
                <a16:creationId xmlns:a16="http://schemas.microsoft.com/office/drawing/2014/main" id="{9B51A413-70FD-1137-0C33-386E47515569}"/>
              </a:ext>
            </a:extLst>
          </p:cNvPr>
          <p:cNvSpPr>
            <a:spLocks noGrp="1"/>
          </p:cNvSpPr>
          <p:nvPr userDrawn="1">
            <p:ph type="body" sz="quarter" idx="21"/>
          </p:nvPr>
        </p:nvSpPr>
        <p:spPr>
          <a:xfrm>
            <a:off x="7682497" y="4595856"/>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vl5pPr>
              <a:defRPr/>
            </a:lvl5pPr>
          </a:lstStyle>
          <a:p>
            <a:pPr lvl="0"/>
            <a:endParaRPr lang="en-IN"/>
          </a:p>
        </p:txBody>
      </p:sp>
      <p:sp>
        <p:nvSpPr>
          <p:cNvPr id="77" name="Text Placeholder 76">
            <a:extLst>
              <a:ext uri="{FF2B5EF4-FFF2-40B4-BE49-F238E27FC236}">
                <a16:creationId xmlns:a16="http://schemas.microsoft.com/office/drawing/2014/main" id="{F96B9DB7-62C0-373F-7F1D-48D6B1E9B507}"/>
              </a:ext>
            </a:extLst>
          </p:cNvPr>
          <p:cNvSpPr>
            <a:spLocks noGrp="1"/>
          </p:cNvSpPr>
          <p:nvPr userDrawn="1">
            <p:ph type="body" sz="quarter" idx="22"/>
          </p:nvPr>
        </p:nvSpPr>
        <p:spPr>
          <a:xfrm>
            <a:off x="7682497" y="5104691"/>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81" name="Text Placeholder 80">
            <a:extLst>
              <a:ext uri="{FF2B5EF4-FFF2-40B4-BE49-F238E27FC236}">
                <a16:creationId xmlns:a16="http://schemas.microsoft.com/office/drawing/2014/main" id="{F33B6023-CEBC-C704-7C3D-EDDC0476C823}"/>
              </a:ext>
            </a:extLst>
          </p:cNvPr>
          <p:cNvSpPr>
            <a:spLocks noGrp="1"/>
          </p:cNvSpPr>
          <p:nvPr userDrawn="1">
            <p:ph type="body" sz="quarter" idx="23"/>
          </p:nvPr>
        </p:nvSpPr>
        <p:spPr>
          <a:xfrm>
            <a:off x="588263" y="3187974"/>
            <a:ext cx="5379310" cy="369332"/>
          </a:xfrm>
        </p:spPr>
        <p:txBody>
          <a:bodyPr anchor="ctr"/>
          <a:lstStyle>
            <a:lvl1pPr marL="0" indent="0" algn="ctr">
              <a:buNone/>
              <a:defRPr kumimoji="0" lang="en-IN" sz="2400" b="0" i="0" u="none" strike="noStrike" kern="1200" cap="none" spc="0" normalizeH="0" baseline="0" dirty="0">
                <a:ln>
                  <a:noFill/>
                </a:ln>
                <a:solidFill>
                  <a:schemeClr val="bg2"/>
                </a:solidFill>
                <a:effectLst/>
                <a:uLnTx/>
                <a:uFillTx/>
                <a:latin typeface="+mj-lt"/>
                <a:ea typeface="Segoe UI" pitchFamily="34" charset="0"/>
                <a:cs typeface="+mn-cs"/>
              </a:defRPr>
            </a:lvl1pPr>
          </a:lstStyle>
          <a:p>
            <a:pPr marL="228600" marR="0" lvl="0" indent="-228600" algn="ctr" defTabSz="932472" rtl="0" eaLnBrk="1" fontAlgn="base" latinLnBrk="0" hangingPunct="1">
              <a:lnSpc>
                <a:spcPct val="100000"/>
              </a:lnSpc>
              <a:spcBef>
                <a:spcPct val="0"/>
              </a:spcBef>
              <a:spcAft>
                <a:spcPct val="0"/>
              </a:spcAft>
              <a:buClrTx/>
              <a:buSzTx/>
              <a:buFont typeface="Wingdings" panose="05000000000000000000" pitchFamily="2" charset="2"/>
              <a:buNone/>
              <a:tabLst/>
            </a:pPr>
            <a:endParaRPr lang="en-IN"/>
          </a:p>
        </p:txBody>
      </p:sp>
      <p:sp>
        <p:nvSpPr>
          <p:cNvPr id="83" name="Text Placeholder 82">
            <a:extLst>
              <a:ext uri="{FF2B5EF4-FFF2-40B4-BE49-F238E27FC236}">
                <a16:creationId xmlns:a16="http://schemas.microsoft.com/office/drawing/2014/main" id="{1EFD3972-BA87-4488-CEB6-D722C88EE31E}"/>
              </a:ext>
            </a:extLst>
          </p:cNvPr>
          <p:cNvSpPr>
            <a:spLocks noGrp="1"/>
          </p:cNvSpPr>
          <p:nvPr userDrawn="1">
            <p:ph type="body" sz="quarter" idx="24"/>
          </p:nvPr>
        </p:nvSpPr>
        <p:spPr>
          <a:xfrm>
            <a:off x="6227473" y="3187974"/>
            <a:ext cx="5379310" cy="369332"/>
          </a:xfrm>
        </p:spPr>
        <p:txBody>
          <a:bodyPr anchor="ctr"/>
          <a:lstStyle>
            <a:lvl1pPr marL="0" indent="0" algn="ctr">
              <a:buNone/>
              <a:defRPr kumimoji="0" lang="en-IN" sz="2400" b="0" i="0" u="none" strike="noStrike" kern="1200" cap="none" spc="0" normalizeH="0" baseline="0" dirty="0">
                <a:ln>
                  <a:noFill/>
                </a:ln>
                <a:solidFill>
                  <a:schemeClr val="bg2"/>
                </a:solidFill>
                <a:effectLst/>
                <a:uLnTx/>
                <a:uFillTx/>
                <a:latin typeface="+mj-lt"/>
                <a:ea typeface="Segoe UI" pitchFamily="34" charset="0"/>
                <a:cs typeface="+mn-cs"/>
              </a:defRPr>
            </a:lvl1pPr>
          </a:lstStyle>
          <a:p>
            <a:pPr lvl="0"/>
            <a:endParaRPr lang="en-IN"/>
          </a:p>
        </p:txBody>
      </p:sp>
      <p:sp>
        <p:nvSpPr>
          <p:cNvPr id="85" name="Picture Placeholder 84">
            <a:extLst>
              <a:ext uri="{FF2B5EF4-FFF2-40B4-BE49-F238E27FC236}">
                <a16:creationId xmlns:a16="http://schemas.microsoft.com/office/drawing/2014/main" id="{0EA89367-92E2-138D-5EC7-1CD725A1D636}"/>
              </a:ext>
            </a:extLst>
          </p:cNvPr>
          <p:cNvSpPr>
            <a:spLocks noGrp="1"/>
          </p:cNvSpPr>
          <p:nvPr userDrawn="1">
            <p:ph type="pic" sz="quarter" idx="25" hasCustomPrompt="1"/>
          </p:nvPr>
        </p:nvSpPr>
        <p:spPr>
          <a:xfrm>
            <a:off x="2043792" y="1960305"/>
            <a:ext cx="832104" cy="832104"/>
          </a:xfrm>
          <a:prstGeom prst="ellipse">
            <a:avLst/>
          </a:prstGeom>
        </p:spPr>
        <p:txBody>
          <a:bodyPr anchor="ctr">
            <a:noAutofit/>
          </a:bodyPr>
          <a:lstStyle>
            <a:lvl1pPr marL="0" indent="0" algn="ctr">
              <a:buNone/>
              <a:defRPr sz="1400"/>
            </a:lvl1pPr>
          </a:lstStyle>
          <a:p>
            <a:r>
              <a:rPr lang="en-IN"/>
              <a:t>Icon</a:t>
            </a:r>
          </a:p>
        </p:txBody>
      </p:sp>
      <p:sp>
        <p:nvSpPr>
          <p:cNvPr id="87" name="Picture Placeholder 86">
            <a:extLst>
              <a:ext uri="{FF2B5EF4-FFF2-40B4-BE49-F238E27FC236}">
                <a16:creationId xmlns:a16="http://schemas.microsoft.com/office/drawing/2014/main" id="{2A01C636-0C5E-8409-5D9F-70740D57E951}"/>
              </a:ext>
            </a:extLst>
          </p:cNvPr>
          <p:cNvSpPr>
            <a:spLocks noGrp="1"/>
          </p:cNvSpPr>
          <p:nvPr userDrawn="1">
            <p:ph type="pic" sz="quarter" idx="26" hasCustomPrompt="1"/>
          </p:nvPr>
        </p:nvSpPr>
        <p:spPr>
          <a:xfrm>
            <a:off x="3679939" y="1960304"/>
            <a:ext cx="832104" cy="832104"/>
          </a:xfrm>
          <a:prstGeom prst="ellipse">
            <a:avLst/>
          </a:prstGeom>
        </p:spPr>
        <p:txBody>
          <a:bodyPr anchor="ctr">
            <a:noAutofit/>
          </a:bodyPr>
          <a:lstStyle>
            <a:lvl1pPr marL="0" indent="0" algn="ctr">
              <a:buNone/>
              <a:defRPr sz="1400"/>
            </a:lvl1pPr>
          </a:lstStyle>
          <a:p>
            <a:r>
              <a:rPr lang="en-IN"/>
              <a:t>Icon</a:t>
            </a:r>
          </a:p>
        </p:txBody>
      </p:sp>
      <p:sp>
        <p:nvSpPr>
          <p:cNvPr id="94" name="Text Placeholder 93">
            <a:extLst>
              <a:ext uri="{FF2B5EF4-FFF2-40B4-BE49-F238E27FC236}">
                <a16:creationId xmlns:a16="http://schemas.microsoft.com/office/drawing/2014/main" id="{2D84FC88-F182-D093-AE9C-AB5FEDDC61FC}"/>
              </a:ext>
            </a:extLst>
          </p:cNvPr>
          <p:cNvSpPr>
            <a:spLocks noGrp="1"/>
          </p:cNvSpPr>
          <p:nvPr userDrawn="1">
            <p:ph type="body" sz="quarter" idx="29" hasCustomPrompt="1"/>
          </p:nvPr>
        </p:nvSpPr>
        <p:spPr>
          <a:xfrm>
            <a:off x="1004539" y="4117406"/>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5" name="Text Placeholder 93">
            <a:extLst>
              <a:ext uri="{FF2B5EF4-FFF2-40B4-BE49-F238E27FC236}">
                <a16:creationId xmlns:a16="http://schemas.microsoft.com/office/drawing/2014/main" id="{9601CCE4-A762-599C-8431-6F9E2132E505}"/>
              </a:ext>
            </a:extLst>
          </p:cNvPr>
          <p:cNvSpPr>
            <a:spLocks noGrp="1"/>
          </p:cNvSpPr>
          <p:nvPr userDrawn="1">
            <p:ph type="body" sz="quarter" idx="30" hasCustomPrompt="1"/>
          </p:nvPr>
        </p:nvSpPr>
        <p:spPr>
          <a:xfrm>
            <a:off x="1004539" y="4626437"/>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6" name="Text Placeholder 93">
            <a:extLst>
              <a:ext uri="{FF2B5EF4-FFF2-40B4-BE49-F238E27FC236}">
                <a16:creationId xmlns:a16="http://schemas.microsoft.com/office/drawing/2014/main" id="{A57A6776-D180-1F93-542A-FA72D5CA9BDC}"/>
              </a:ext>
            </a:extLst>
          </p:cNvPr>
          <p:cNvSpPr>
            <a:spLocks noGrp="1"/>
          </p:cNvSpPr>
          <p:nvPr userDrawn="1">
            <p:ph type="body" sz="quarter" idx="31" hasCustomPrompt="1"/>
          </p:nvPr>
        </p:nvSpPr>
        <p:spPr>
          <a:xfrm>
            <a:off x="1004539" y="5135468"/>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7" name="Text Placeholder 93">
            <a:extLst>
              <a:ext uri="{FF2B5EF4-FFF2-40B4-BE49-F238E27FC236}">
                <a16:creationId xmlns:a16="http://schemas.microsoft.com/office/drawing/2014/main" id="{32F0C1CA-CC86-BEB6-B488-CF27701D1789}"/>
              </a:ext>
            </a:extLst>
          </p:cNvPr>
          <p:cNvSpPr>
            <a:spLocks noGrp="1"/>
          </p:cNvSpPr>
          <p:nvPr userDrawn="1">
            <p:ph type="body" sz="quarter" idx="32" hasCustomPrompt="1"/>
          </p:nvPr>
        </p:nvSpPr>
        <p:spPr>
          <a:xfrm>
            <a:off x="7041591" y="4117406"/>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8" name="Text Placeholder 93">
            <a:extLst>
              <a:ext uri="{FF2B5EF4-FFF2-40B4-BE49-F238E27FC236}">
                <a16:creationId xmlns:a16="http://schemas.microsoft.com/office/drawing/2014/main" id="{ABA48210-6C4F-A93E-B167-C621709034BB}"/>
              </a:ext>
            </a:extLst>
          </p:cNvPr>
          <p:cNvSpPr>
            <a:spLocks noGrp="1"/>
          </p:cNvSpPr>
          <p:nvPr userDrawn="1">
            <p:ph type="body" sz="quarter" idx="33" hasCustomPrompt="1"/>
          </p:nvPr>
        </p:nvSpPr>
        <p:spPr>
          <a:xfrm>
            <a:off x="7041591" y="4626437"/>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9" name="Text Placeholder 93">
            <a:extLst>
              <a:ext uri="{FF2B5EF4-FFF2-40B4-BE49-F238E27FC236}">
                <a16:creationId xmlns:a16="http://schemas.microsoft.com/office/drawing/2014/main" id="{E3B76DD4-E46C-CB73-2FBC-17DE1882B8E7}"/>
              </a:ext>
            </a:extLst>
          </p:cNvPr>
          <p:cNvSpPr>
            <a:spLocks noGrp="1"/>
          </p:cNvSpPr>
          <p:nvPr userDrawn="1">
            <p:ph type="body" sz="quarter" idx="34" hasCustomPrompt="1"/>
          </p:nvPr>
        </p:nvSpPr>
        <p:spPr>
          <a:xfrm>
            <a:off x="7041591" y="5135468"/>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7" name="Picture Placeholder 86">
            <a:extLst>
              <a:ext uri="{FF2B5EF4-FFF2-40B4-BE49-F238E27FC236}">
                <a16:creationId xmlns:a16="http://schemas.microsoft.com/office/drawing/2014/main" id="{34649A6E-FBCE-AEB7-E21F-FB48FCD75264}"/>
              </a:ext>
            </a:extLst>
          </p:cNvPr>
          <p:cNvSpPr>
            <a:spLocks noGrp="1"/>
          </p:cNvSpPr>
          <p:nvPr>
            <p:ph type="pic" sz="quarter" idx="35" hasCustomPrompt="1"/>
          </p:nvPr>
        </p:nvSpPr>
        <p:spPr>
          <a:xfrm>
            <a:off x="7681471" y="1960304"/>
            <a:ext cx="832104" cy="832104"/>
          </a:xfrm>
          <a:prstGeom prst="ellipse">
            <a:avLst/>
          </a:prstGeom>
        </p:spPr>
        <p:txBody>
          <a:bodyPr anchor="ctr">
            <a:noAutofit/>
          </a:bodyPr>
          <a:lstStyle>
            <a:lvl1pPr marL="0" indent="0" algn="ctr">
              <a:buNone/>
              <a:defRPr sz="1400"/>
            </a:lvl1pPr>
          </a:lstStyle>
          <a:p>
            <a:r>
              <a:rPr lang="en-IN"/>
              <a:t>Icon</a:t>
            </a:r>
          </a:p>
        </p:txBody>
      </p:sp>
      <p:sp>
        <p:nvSpPr>
          <p:cNvPr id="9" name="Picture Placeholder 86">
            <a:extLst>
              <a:ext uri="{FF2B5EF4-FFF2-40B4-BE49-F238E27FC236}">
                <a16:creationId xmlns:a16="http://schemas.microsoft.com/office/drawing/2014/main" id="{6B466EC3-56E8-3C5A-3FD5-0A0379353949}"/>
              </a:ext>
            </a:extLst>
          </p:cNvPr>
          <p:cNvSpPr>
            <a:spLocks noGrp="1"/>
          </p:cNvSpPr>
          <p:nvPr>
            <p:ph type="pic" sz="quarter" idx="36" hasCustomPrompt="1"/>
          </p:nvPr>
        </p:nvSpPr>
        <p:spPr>
          <a:xfrm>
            <a:off x="9318384" y="1960304"/>
            <a:ext cx="832104" cy="832104"/>
          </a:xfrm>
          <a:prstGeom prst="ellipse">
            <a:avLst/>
          </a:prstGeom>
        </p:spPr>
        <p:txBody>
          <a:bodyPr anchor="ctr">
            <a:noAutofit/>
          </a:bodyPr>
          <a:lstStyle>
            <a:lvl1pPr marL="0" indent="0" algn="ctr">
              <a:buNone/>
              <a:defRPr sz="1400"/>
            </a:lvl1pPr>
          </a:lstStyle>
          <a:p>
            <a:r>
              <a:rPr lang="en-IN"/>
              <a:t>Icon</a:t>
            </a:r>
          </a:p>
        </p:txBody>
      </p:sp>
    </p:spTree>
    <p:extLst>
      <p:ext uri="{BB962C8B-B14F-4D97-AF65-F5344CB8AC3E}">
        <p14:creationId xmlns:p14="http://schemas.microsoft.com/office/powerpoint/2010/main" val="2253833150"/>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with Two Column">
    <p:spTree>
      <p:nvGrpSpPr>
        <p:cNvPr id="1" name=""/>
        <p:cNvGrpSpPr/>
        <p:nvPr/>
      </p:nvGrpSpPr>
      <p:grpSpPr>
        <a:xfrm>
          <a:off x="0" y="0"/>
          <a:ext cx="0" cy="0"/>
          <a:chOff x="0" y="0"/>
          <a:chExt cx="0" cy="0"/>
        </a:xfrm>
      </p:grpSpPr>
      <p:sp>
        <p:nvSpPr>
          <p:cNvPr id="2" name="Rectangle: Single Corner Rounded 1">
            <a:extLst>
              <a:ext uri="{FF2B5EF4-FFF2-40B4-BE49-F238E27FC236}">
                <a16:creationId xmlns:a16="http://schemas.microsoft.com/office/drawing/2014/main" id="{71B1F896-3BBF-7C0B-B78C-089503F93A13}"/>
              </a:ext>
            </a:extLst>
          </p:cNvPr>
          <p:cNvSpPr/>
          <p:nvPr userDrawn="1"/>
        </p:nvSpPr>
        <p:spPr bwMode="auto">
          <a:xfrm rot="5400000">
            <a:off x="-1734609" y="3323923"/>
            <a:ext cx="4057385" cy="588168"/>
          </a:xfrm>
          <a:prstGeom prst="round1Rect">
            <a:avLst>
              <a:gd name="adj" fmla="val 4095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Freeform: Shape 2">
            <a:extLst>
              <a:ext uri="{FF2B5EF4-FFF2-40B4-BE49-F238E27FC236}">
                <a16:creationId xmlns:a16="http://schemas.microsoft.com/office/drawing/2014/main" id="{CED6DE1A-02AC-9983-E2B2-368F46FDF84A}"/>
              </a:ext>
            </a:extLst>
          </p:cNvPr>
          <p:cNvSpPr/>
          <p:nvPr userDrawn="1"/>
        </p:nvSpPr>
        <p:spPr bwMode="auto">
          <a:xfrm>
            <a:off x="0" y="-1"/>
            <a:ext cx="12192000" cy="1793663"/>
          </a:xfrm>
          <a:custGeom>
            <a:avLst/>
            <a:gdLst>
              <a:gd name="connsiteX0" fmla="*/ 0 w 12192000"/>
              <a:gd name="connsiteY0" fmla="*/ 0 h 1793663"/>
              <a:gd name="connsiteX1" fmla="*/ 12192000 w 12192000"/>
              <a:gd name="connsiteY1" fmla="*/ 0 h 1793663"/>
              <a:gd name="connsiteX2" fmla="*/ 12192000 w 12192000"/>
              <a:gd name="connsiteY2" fmla="*/ 1793663 h 1793663"/>
              <a:gd name="connsiteX3" fmla="*/ 11603830 w 12192000"/>
              <a:gd name="connsiteY3" fmla="*/ 1793663 h 1793663"/>
              <a:gd name="connsiteX4" fmla="*/ 11603830 w 12192000"/>
              <a:gd name="connsiteY4" fmla="*/ 1661356 h 1793663"/>
              <a:gd name="connsiteX5" fmla="*/ 11326775 w 12192000"/>
              <a:gd name="connsiteY5" fmla="*/ 1384301 h 1793663"/>
              <a:gd name="connsiteX6" fmla="*/ 6461953 w 12192000"/>
              <a:gd name="connsiteY6" fmla="*/ 1384301 h 1793663"/>
              <a:gd name="connsiteX7" fmla="*/ 6184898 w 12192000"/>
              <a:gd name="connsiteY7" fmla="*/ 1661356 h 1793663"/>
              <a:gd name="connsiteX8" fmla="*/ 6184898 w 12192000"/>
              <a:gd name="connsiteY8" fmla="*/ 1793663 h 1793663"/>
              <a:gd name="connsiteX9" fmla="*/ 6007101 w 12192000"/>
              <a:gd name="connsiteY9" fmla="*/ 1793663 h 1793663"/>
              <a:gd name="connsiteX10" fmla="*/ 6007101 w 12192000"/>
              <a:gd name="connsiteY10" fmla="*/ 1661356 h 1793663"/>
              <a:gd name="connsiteX11" fmla="*/ 5730045 w 12192000"/>
              <a:gd name="connsiteY11" fmla="*/ 1384301 h 1793663"/>
              <a:gd name="connsiteX12" fmla="*/ 865223 w 12192000"/>
              <a:gd name="connsiteY12" fmla="*/ 1384301 h 1793663"/>
              <a:gd name="connsiteX13" fmla="*/ 588168 w 12192000"/>
              <a:gd name="connsiteY13" fmla="*/ 1661356 h 1793663"/>
              <a:gd name="connsiteX14" fmla="*/ 588168 w 12192000"/>
              <a:gd name="connsiteY14" fmla="*/ 1793663 h 1793663"/>
              <a:gd name="connsiteX15" fmla="*/ 0 w 12192000"/>
              <a:gd name="connsiteY15" fmla="*/ 1793663 h 179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793663">
                <a:moveTo>
                  <a:pt x="0" y="0"/>
                </a:moveTo>
                <a:lnTo>
                  <a:pt x="12192000" y="0"/>
                </a:lnTo>
                <a:lnTo>
                  <a:pt x="12192000" y="1793663"/>
                </a:lnTo>
                <a:lnTo>
                  <a:pt x="11603830" y="1793663"/>
                </a:lnTo>
                <a:lnTo>
                  <a:pt x="11603830" y="1661356"/>
                </a:lnTo>
                <a:cubicBezTo>
                  <a:pt x="11603830" y="1508343"/>
                  <a:pt x="11479788" y="1384301"/>
                  <a:pt x="11326775" y="1384301"/>
                </a:cubicBezTo>
                <a:lnTo>
                  <a:pt x="6461953" y="1384301"/>
                </a:lnTo>
                <a:cubicBezTo>
                  <a:pt x="6308940" y="1384301"/>
                  <a:pt x="6184898" y="1508343"/>
                  <a:pt x="6184898" y="1661356"/>
                </a:cubicBezTo>
                <a:lnTo>
                  <a:pt x="6184898" y="1793663"/>
                </a:lnTo>
                <a:lnTo>
                  <a:pt x="6007101" y="1793663"/>
                </a:lnTo>
                <a:lnTo>
                  <a:pt x="6007101" y="1661356"/>
                </a:lnTo>
                <a:cubicBezTo>
                  <a:pt x="6007101" y="1508343"/>
                  <a:pt x="5883058" y="1384301"/>
                  <a:pt x="5730045" y="1384301"/>
                </a:cubicBezTo>
                <a:lnTo>
                  <a:pt x="865223" y="1384301"/>
                </a:lnTo>
                <a:cubicBezTo>
                  <a:pt x="712210" y="1384301"/>
                  <a:pt x="588168" y="1508343"/>
                  <a:pt x="588168" y="1661356"/>
                </a:cubicBezTo>
                <a:lnTo>
                  <a:pt x="588168" y="1793663"/>
                </a:lnTo>
                <a:lnTo>
                  <a:pt x="0" y="179366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87D2CBC8-B3E0-36F6-1896-04979256EBBB}"/>
              </a:ext>
            </a:extLst>
          </p:cNvPr>
          <p:cNvSpPr/>
          <p:nvPr userDrawn="1"/>
        </p:nvSpPr>
        <p:spPr bwMode="auto">
          <a:xfrm>
            <a:off x="757920" y="1509486"/>
            <a:ext cx="5117528" cy="4789712"/>
          </a:xfrm>
          <a:prstGeom prst="roundRect">
            <a:avLst>
              <a:gd name="adj" fmla="val 4528"/>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AB6EA6C3-278C-85D5-EF80-7159F73D9225}"/>
              </a:ext>
            </a:extLst>
          </p:cNvPr>
          <p:cNvSpPr/>
          <p:nvPr userDrawn="1"/>
        </p:nvSpPr>
        <p:spPr bwMode="auto">
          <a:xfrm>
            <a:off x="6363272" y="1509486"/>
            <a:ext cx="5117528" cy="4789712"/>
          </a:xfrm>
          <a:prstGeom prst="roundRect">
            <a:avLst>
              <a:gd name="adj" fmla="val 4528"/>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6" name="Rectangle: Single Corner Rounded 5">
            <a:extLst>
              <a:ext uri="{FF2B5EF4-FFF2-40B4-BE49-F238E27FC236}">
                <a16:creationId xmlns:a16="http://schemas.microsoft.com/office/drawing/2014/main" id="{E67331C0-B087-7491-2422-0B553A1D35E9}"/>
              </a:ext>
            </a:extLst>
          </p:cNvPr>
          <p:cNvSpPr/>
          <p:nvPr userDrawn="1"/>
        </p:nvSpPr>
        <p:spPr bwMode="auto">
          <a:xfrm rot="16200000" flipH="1">
            <a:off x="9869223" y="3323924"/>
            <a:ext cx="4057385" cy="588168"/>
          </a:xfrm>
          <a:prstGeom prst="round1Rect">
            <a:avLst>
              <a:gd name="adj" fmla="val 4095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 name="Rectangle: Top Corners Rounded 6">
            <a:extLst>
              <a:ext uri="{FF2B5EF4-FFF2-40B4-BE49-F238E27FC236}">
                <a16:creationId xmlns:a16="http://schemas.microsoft.com/office/drawing/2014/main" id="{C9963C8D-0FD8-30F3-3F86-2D4F0558C013}"/>
              </a:ext>
            </a:extLst>
          </p:cNvPr>
          <p:cNvSpPr/>
          <p:nvPr userDrawn="1"/>
        </p:nvSpPr>
        <p:spPr bwMode="auto">
          <a:xfrm flipV="1">
            <a:off x="6007100" y="1790125"/>
            <a:ext cx="177798" cy="1540903"/>
          </a:xfrm>
          <a:prstGeom prst="round2SameRect">
            <a:avLst>
              <a:gd name="adj1" fmla="val 50000"/>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6" name="Text Placeholder 15">
            <a:extLst>
              <a:ext uri="{FF2B5EF4-FFF2-40B4-BE49-F238E27FC236}">
                <a16:creationId xmlns:a16="http://schemas.microsoft.com/office/drawing/2014/main" id="{05FC84F8-E0F2-C97F-85C7-3850033867E0}"/>
              </a:ext>
            </a:extLst>
          </p:cNvPr>
          <p:cNvSpPr>
            <a:spLocks noGrp="1"/>
          </p:cNvSpPr>
          <p:nvPr>
            <p:ph type="body" sz="quarter" idx="10"/>
          </p:nvPr>
        </p:nvSpPr>
        <p:spPr>
          <a:xfrm>
            <a:off x="1752092" y="2096566"/>
            <a:ext cx="3875008" cy="369332"/>
          </a:xfrm>
        </p:spPr>
        <p:txBody>
          <a:bodyPr/>
          <a:lstStyle>
            <a:lvl1pPr marL="0" indent="0">
              <a:buNone/>
              <a:defRPr kumimoji="0" lang="en-IN" sz="2400" b="0" i="0" u="none" strike="noStrike" kern="1200" cap="none" spc="0" normalizeH="0" baseline="0" dirty="0">
                <a:ln>
                  <a:noFill/>
                </a:ln>
                <a:solidFill>
                  <a:schemeClr val="bg2"/>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18" name="Text Placeholder 17">
            <a:extLst>
              <a:ext uri="{FF2B5EF4-FFF2-40B4-BE49-F238E27FC236}">
                <a16:creationId xmlns:a16="http://schemas.microsoft.com/office/drawing/2014/main" id="{3F397BDF-6661-8A5C-6327-9B07BAA4A5F8}"/>
              </a:ext>
            </a:extLst>
          </p:cNvPr>
          <p:cNvSpPr>
            <a:spLocks noGrp="1"/>
          </p:cNvSpPr>
          <p:nvPr>
            <p:ph type="body" sz="quarter" idx="11"/>
          </p:nvPr>
        </p:nvSpPr>
        <p:spPr>
          <a:xfrm>
            <a:off x="7357445" y="2096566"/>
            <a:ext cx="3875008" cy="369332"/>
          </a:xfrm>
        </p:spPr>
        <p:txBody>
          <a:bodyPr/>
          <a:lstStyle>
            <a:lvl1pPr marL="0" indent="0">
              <a:buNone/>
              <a:defRPr kumimoji="0" lang="en-IN" sz="2400" b="0" i="0" u="none" strike="noStrike" kern="1200" cap="none" spc="0" normalizeH="0" baseline="0" dirty="0">
                <a:ln>
                  <a:noFill/>
                </a:ln>
                <a:solidFill>
                  <a:schemeClr val="bg2"/>
                </a:solidFill>
                <a:effectLst/>
                <a:uLnTx/>
                <a:uFillTx/>
                <a:latin typeface="+mj-lt"/>
                <a:ea typeface="+mn-ea"/>
                <a:cs typeface="+mn-cs"/>
              </a:defRPr>
            </a:lvl1pPr>
          </a:lstStyle>
          <a:p>
            <a:pPr lvl="0"/>
            <a:endParaRPr lang="en-IN"/>
          </a:p>
        </p:txBody>
      </p:sp>
      <p:sp>
        <p:nvSpPr>
          <p:cNvPr id="27" name="Text Placeholder 26">
            <a:extLst>
              <a:ext uri="{FF2B5EF4-FFF2-40B4-BE49-F238E27FC236}">
                <a16:creationId xmlns:a16="http://schemas.microsoft.com/office/drawing/2014/main" id="{5E2A6A41-D69C-81DA-BD2C-C524BB399819}"/>
              </a:ext>
            </a:extLst>
          </p:cNvPr>
          <p:cNvSpPr>
            <a:spLocks noGrp="1"/>
          </p:cNvSpPr>
          <p:nvPr>
            <p:ph type="body" sz="quarter" idx="14"/>
          </p:nvPr>
        </p:nvSpPr>
        <p:spPr>
          <a:xfrm>
            <a:off x="1006267" y="2989076"/>
            <a:ext cx="4620833" cy="307777"/>
          </a:xfrm>
        </p:spPr>
        <p:txBody>
          <a:bodyPr/>
          <a:lstStyle>
            <a:lvl1pPr marL="280988" indent="-280988">
              <a:spcBef>
                <a:spcPts val="400"/>
              </a:spcBef>
              <a:spcAft>
                <a:spcPts val="600"/>
              </a:spcAft>
              <a:buFont typeface="+mj-lt"/>
              <a:buAutoNum type="arabicPeriod"/>
              <a:defRPr kumimoji="0" lang="en-IN" sz="2000" b="0" i="0" u="none" strike="noStrike" kern="1200" cap="none" spc="0" normalizeH="0" baseline="0" dirty="0">
                <a:ln>
                  <a:noFill/>
                </a:ln>
                <a:solidFill>
                  <a:schemeClr val="tx1"/>
                </a:solidFill>
                <a:effectLst/>
                <a:uLnTx/>
                <a:uFillTx/>
                <a:latin typeface="+mn-lt"/>
                <a:ea typeface="+mn-ea"/>
                <a:cs typeface="+mn-cs"/>
              </a:defRPr>
            </a:lvl1pPr>
          </a:lstStyle>
          <a:p>
            <a:pPr lvl="0"/>
            <a:endParaRPr lang="en-IN"/>
          </a:p>
        </p:txBody>
      </p:sp>
      <p:sp>
        <p:nvSpPr>
          <p:cNvPr id="29" name="Text Placeholder 28">
            <a:extLst>
              <a:ext uri="{FF2B5EF4-FFF2-40B4-BE49-F238E27FC236}">
                <a16:creationId xmlns:a16="http://schemas.microsoft.com/office/drawing/2014/main" id="{A32597D8-2F22-8BFA-3C92-B1AF975CB595}"/>
              </a:ext>
            </a:extLst>
          </p:cNvPr>
          <p:cNvSpPr>
            <a:spLocks noGrp="1"/>
          </p:cNvSpPr>
          <p:nvPr>
            <p:ph type="body" sz="quarter" idx="15"/>
          </p:nvPr>
        </p:nvSpPr>
        <p:spPr>
          <a:xfrm>
            <a:off x="6611620" y="2989076"/>
            <a:ext cx="4620833" cy="307777"/>
          </a:xfrm>
        </p:spPr>
        <p:txBody>
          <a:bodyPr/>
          <a:lstStyle>
            <a:lvl1pPr marL="280988" indent="-280988">
              <a:spcBef>
                <a:spcPts val="400"/>
              </a:spcBef>
              <a:spcAft>
                <a:spcPts val="600"/>
              </a:spcAft>
              <a:buFont typeface="+mj-lt"/>
              <a:buAutoNum type="arabicPeriod"/>
              <a:defRPr kumimoji="0" lang="en-IN" sz="2000" b="0" i="0" u="none" strike="noStrike" kern="1200" cap="none" spc="0" normalizeH="0" baseline="0" dirty="0">
                <a:ln>
                  <a:noFill/>
                </a:ln>
                <a:solidFill>
                  <a:schemeClr val="tx1"/>
                </a:solidFill>
                <a:effectLst/>
                <a:uLnTx/>
                <a:uFillTx/>
                <a:latin typeface="+mn-lt"/>
                <a:ea typeface="+mn-ea"/>
                <a:cs typeface="+mn-cs"/>
              </a:defRPr>
            </a:lvl1pPr>
          </a:lstStyle>
          <a:p>
            <a:pPr lvl="0"/>
            <a:endParaRPr lang="en-IN"/>
          </a:p>
        </p:txBody>
      </p:sp>
      <p:sp>
        <p:nvSpPr>
          <p:cNvPr id="25" name="Title 24">
            <a:extLst>
              <a:ext uri="{FF2B5EF4-FFF2-40B4-BE49-F238E27FC236}">
                <a16:creationId xmlns:a16="http://schemas.microsoft.com/office/drawing/2014/main" id="{5EB43C38-7734-B277-27DF-08BE495B57E9}"/>
              </a:ext>
            </a:extLst>
          </p:cNvPr>
          <p:cNvSpPr>
            <a:spLocks noGrp="1"/>
          </p:cNvSpPr>
          <p:nvPr>
            <p:ph type="title"/>
          </p:nvPr>
        </p:nvSpPr>
        <p:spPr/>
        <p:txBody>
          <a:bodyPr/>
          <a:lstStyle/>
          <a:p>
            <a:r>
              <a:rPr lang="en-US"/>
              <a:t>Click to edit Master title style</a:t>
            </a:r>
            <a:endParaRPr lang="en-IN"/>
          </a:p>
        </p:txBody>
      </p:sp>
      <p:sp>
        <p:nvSpPr>
          <p:cNvPr id="31" name="Picture Placeholder 30">
            <a:extLst>
              <a:ext uri="{FF2B5EF4-FFF2-40B4-BE49-F238E27FC236}">
                <a16:creationId xmlns:a16="http://schemas.microsoft.com/office/drawing/2014/main" id="{BC301C06-3022-C461-7ECC-928380A979BD}"/>
              </a:ext>
            </a:extLst>
          </p:cNvPr>
          <p:cNvSpPr>
            <a:spLocks noGrp="1"/>
          </p:cNvSpPr>
          <p:nvPr>
            <p:ph type="pic" sz="quarter" idx="16" hasCustomPrompt="1"/>
          </p:nvPr>
        </p:nvSpPr>
        <p:spPr>
          <a:xfrm>
            <a:off x="1007791" y="2016056"/>
            <a:ext cx="530352" cy="530352"/>
          </a:xfrm>
          <a:prstGeom prst="ellipse">
            <a:avLst/>
          </a:prstGeom>
        </p:spPr>
        <p:txBody>
          <a:bodyPr anchor="ctr">
            <a:noAutofit/>
          </a:bodyPr>
          <a:lstStyle>
            <a:lvl1pPr marL="0" indent="0" algn="ctr">
              <a:buNone/>
              <a:defRPr sz="1100"/>
            </a:lvl1pPr>
          </a:lstStyle>
          <a:p>
            <a:r>
              <a:rPr lang="en-IN"/>
              <a:t>Icon</a:t>
            </a:r>
          </a:p>
        </p:txBody>
      </p:sp>
      <p:sp>
        <p:nvSpPr>
          <p:cNvPr id="32" name="Picture Placeholder 30">
            <a:extLst>
              <a:ext uri="{FF2B5EF4-FFF2-40B4-BE49-F238E27FC236}">
                <a16:creationId xmlns:a16="http://schemas.microsoft.com/office/drawing/2014/main" id="{7664099F-EB3B-F818-FF0E-81C644180909}"/>
              </a:ext>
            </a:extLst>
          </p:cNvPr>
          <p:cNvSpPr>
            <a:spLocks noGrp="1"/>
          </p:cNvSpPr>
          <p:nvPr>
            <p:ph type="pic" sz="quarter" idx="17" hasCustomPrompt="1"/>
          </p:nvPr>
        </p:nvSpPr>
        <p:spPr>
          <a:xfrm>
            <a:off x="6613144" y="2016056"/>
            <a:ext cx="530352" cy="530352"/>
          </a:xfrm>
          <a:prstGeom prst="ellipse">
            <a:avLst/>
          </a:prstGeom>
        </p:spPr>
        <p:txBody>
          <a:bodyPr anchor="ctr">
            <a:noAutofit/>
          </a:bodyPr>
          <a:lstStyle>
            <a:lvl1pPr marL="0" indent="0" algn="ctr">
              <a:buNone/>
              <a:defRPr sz="1100"/>
            </a:lvl1pPr>
          </a:lstStyle>
          <a:p>
            <a:r>
              <a:rPr lang="en-IN"/>
              <a:t>Icon</a:t>
            </a:r>
          </a:p>
        </p:txBody>
      </p:sp>
    </p:spTree>
    <p:extLst>
      <p:ext uri="{BB962C8B-B14F-4D97-AF65-F5344CB8AC3E}">
        <p14:creationId xmlns:p14="http://schemas.microsoft.com/office/powerpoint/2010/main" val="304284874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 Column with Number">
    <p:spTree>
      <p:nvGrpSpPr>
        <p:cNvPr id="1" name=""/>
        <p:cNvGrpSpPr/>
        <p:nvPr/>
      </p:nvGrpSpPr>
      <p:grpSpPr>
        <a:xfrm>
          <a:off x="0" y="0"/>
          <a:ext cx="0" cy="0"/>
          <a:chOff x="0" y="0"/>
          <a:chExt cx="0" cy="0"/>
        </a:xfrm>
      </p:grpSpPr>
      <p:sp>
        <p:nvSpPr>
          <p:cNvPr id="56" name="Text Placeholder 33">
            <a:extLst>
              <a:ext uri="{FF2B5EF4-FFF2-40B4-BE49-F238E27FC236}">
                <a16:creationId xmlns:a16="http://schemas.microsoft.com/office/drawing/2014/main" id="{88C179F9-E73E-95DF-7EA3-1878F0A07937}"/>
              </a:ext>
            </a:extLst>
          </p:cNvPr>
          <p:cNvSpPr>
            <a:spLocks noGrp="1"/>
          </p:cNvSpPr>
          <p:nvPr>
            <p:ph type="body" sz="quarter" idx="23"/>
          </p:nvPr>
        </p:nvSpPr>
        <p:spPr>
          <a:xfrm>
            <a:off x="93472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59" name="Text Placeholder 33">
            <a:extLst>
              <a:ext uri="{FF2B5EF4-FFF2-40B4-BE49-F238E27FC236}">
                <a16:creationId xmlns:a16="http://schemas.microsoft.com/office/drawing/2014/main" id="{65363787-8F35-47E6-EEFD-D0A680C64485}"/>
              </a:ext>
            </a:extLst>
          </p:cNvPr>
          <p:cNvSpPr>
            <a:spLocks noGrp="1"/>
          </p:cNvSpPr>
          <p:nvPr>
            <p:ph type="body" sz="quarter" idx="25"/>
          </p:nvPr>
        </p:nvSpPr>
        <p:spPr>
          <a:xfrm>
            <a:off x="371856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60" name="Text Placeholder 33">
            <a:extLst>
              <a:ext uri="{FF2B5EF4-FFF2-40B4-BE49-F238E27FC236}">
                <a16:creationId xmlns:a16="http://schemas.microsoft.com/office/drawing/2014/main" id="{3F62C5F8-007E-DB57-7E8D-755298D886AD}"/>
              </a:ext>
            </a:extLst>
          </p:cNvPr>
          <p:cNvSpPr>
            <a:spLocks noGrp="1"/>
          </p:cNvSpPr>
          <p:nvPr>
            <p:ph type="body" sz="quarter" idx="26"/>
          </p:nvPr>
        </p:nvSpPr>
        <p:spPr>
          <a:xfrm>
            <a:off x="650240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61" name="Text Placeholder 33">
            <a:extLst>
              <a:ext uri="{FF2B5EF4-FFF2-40B4-BE49-F238E27FC236}">
                <a16:creationId xmlns:a16="http://schemas.microsoft.com/office/drawing/2014/main" id="{3D15336C-F7AF-18CA-6D43-1ACCD249FCF5}"/>
              </a:ext>
            </a:extLst>
          </p:cNvPr>
          <p:cNvSpPr>
            <a:spLocks noGrp="1"/>
          </p:cNvSpPr>
          <p:nvPr>
            <p:ph type="body" sz="quarter" idx="27"/>
          </p:nvPr>
        </p:nvSpPr>
        <p:spPr>
          <a:xfrm>
            <a:off x="9286241"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25" name="Title 24">
            <a:extLst>
              <a:ext uri="{FF2B5EF4-FFF2-40B4-BE49-F238E27FC236}">
                <a16:creationId xmlns:a16="http://schemas.microsoft.com/office/drawing/2014/main" id="{5EB43C38-7734-B277-27DF-08BE495B57E9}"/>
              </a:ext>
            </a:extLst>
          </p:cNvPr>
          <p:cNvSpPr>
            <a:spLocks noGrp="1"/>
          </p:cNvSpPr>
          <p:nvPr>
            <p:ph type="title"/>
          </p:nvPr>
        </p:nvSpPr>
        <p:spPr/>
        <p:txBody>
          <a:bodyPr/>
          <a:lstStyle/>
          <a:p>
            <a:r>
              <a:rPr lang="en-US"/>
              <a:t>Click to edit Master title style</a:t>
            </a:r>
            <a:endParaRPr lang="en-IN"/>
          </a:p>
        </p:txBody>
      </p:sp>
      <p:sp>
        <p:nvSpPr>
          <p:cNvPr id="8" name="Rectangle 7">
            <a:extLst>
              <a:ext uri="{FF2B5EF4-FFF2-40B4-BE49-F238E27FC236}">
                <a16:creationId xmlns:a16="http://schemas.microsoft.com/office/drawing/2014/main" id="{A36D360D-1D6E-4448-824A-8DF334138444}"/>
              </a:ext>
            </a:extLst>
          </p:cNvPr>
          <p:cNvSpPr/>
          <p:nvPr userDrawn="1"/>
        </p:nvSpPr>
        <p:spPr bwMode="auto">
          <a:xfrm>
            <a:off x="0" y="5079999"/>
            <a:ext cx="12192000" cy="985838"/>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66FF"/>
              </a:solidFill>
              <a:effectLst/>
              <a:uLnTx/>
              <a:uFillTx/>
              <a:latin typeface="Segoe UI Semibold"/>
              <a:ea typeface="+mn-ea"/>
              <a:cs typeface="Segoe UI" pitchFamily="34" charset="0"/>
            </a:endParaRPr>
          </a:p>
        </p:txBody>
      </p:sp>
      <p:sp>
        <p:nvSpPr>
          <p:cNvPr id="89" name="Text Placeholder 88">
            <a:extLst>
              <a:ext uri="{FF2B5EF4-FFF2-40B4-BE49-F238E27FC236}">
                <a16:creationId xmlns:a16="http://schemas.microsoft.com/office/drawing/2014/main" id="{CB414742-DEBE-863A-87E2-635881F4D1B5}"/>
              </a:ext>
            </a:extLst>
          </p:cNvPr>
          <p:cNvSpPr>
            <a:spLocks noGrp="1"/>
          </p:cNvSpPr>
          <p:nvPr>
            <p:ph type="body" sz="quarter" idx="41"/>
          </p:nvPr>
        </p:nvSpPr>
        <p:spPr>
          <a:xfrm>
            <a:off x="58420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0" name="Text Placeholder 88">
            <a:extLst>
              <a:ext uri="{FF2B5EF4-FFF2-40B4-BE49-F238E27FC236}">
                <a16:creationId xmlns:a16="http://schemas.microsoft.com/office/drawing/2014/main" id="{9C0B6495-7F86-9712-E11A-4BFAEC5CCBA1}"/>
              </a:ext>
            </a:extLst>
          </p:cNvPr>
          <p:cNvSpPr>
            <a:spLocks noGrp="1"/>
          </p:cNvSpPr>
          <p:nvPr>
            <p:ph type="body" sz="quarter" idx="42"/>
          </p:nvPr>
        </p:nvSpPr>
        <p:spPr>
          <a:xfrm>
            <a:off x="336804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1" name="Text Placeholder 88">
            <a:extLst>
              <a:ext uri="{FF2B5EF4-FFF2-40B4-BE49-F238E27FC236}">
                <a16:creationId xmlns:a16="http://schemas.microsoft.com/office/drawing/2014/main" id="{E2CD792B-9536-D820-E3A1-777D86E2ED71}"/>
              </a:ext>
            </a:extLst>
          </p:cNvPr>
          <p:cNvSpPr>
            <a:spLocks noGrp="1"/>
          </p:cNvSpPr>
          <p:nvPr>
            <p:ph type="body" sz="quarter" idx="43"/>
          </p:nvPr>
        </p:nvSpPr>
        <p:spPr>
          <a:xfrm>
            <a:off x="615188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2" name="Text Placeholder 88">
            <a:extLst>
              <a:ext uri="{FF2B5EF4-FFF2-40B4-BE49-F238E27FC236}">
                <a16:creationId xmlns:a16="http://schemas.microsoft.com/office/drawing/2014/main" id="{F0211C02-3F8C-5350-38FC-705D0E39CB92}"/>
              </a:ext>
            </a:extLst>
          </p:cNvPr>
          <p:cNvSpPr>
            <a:spLocks noGrp="1"/>
          </p:cNvSpPr>
          <p:nvPr>
            <p:ph type="body" sz="quarter" idx="44"/>
          </p:nvPr>
        </p:nvSpPr>
        <p:spPr>
          <a:xfrm>
            <a:off x="8935721"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4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30" name="Text Placeholder 29">
            <a:extLst>
              <a:ext uri="{FF2B5EF4-FFF2-40B4-BE49-F238E27FC236}">
                <a16:creationId xmlns:a16="http://schemas.microsoft.com/office/drawing/2014/main" id="{6B61CDCE-FB12-EEE4-66A6-E77EB88C6366}"/>
              </a:ext>
            </a:extLst>
          </p:cNvPr>
          <p:cNvSpPr>
            <a:spLocks noGrp="1"/>
          </p:cNvSpPr>
          <p:nvPr>
            <p:ph type="body" sz="quarter" idx="10"/>
          </p:nvPr>
        </p:nvSpPr>
        <p:spPr>
          <a:xfrm>
            <a:off x="588262" y="1144826"/>
            <a:ext cx="11018268" cy="615553"/>
          </a:xfrm>
        </p:spPr>
        <p:txBody>
          <a:bodyPr/>
          <a:lstStyle>
            <a:lvl1pPr marL="0" indent="0">
              <a:buNone/>
              <a:defRPr kumimoji="0" lang="en-IN" sz="2000" b="0" i="0" u="none" strike="noStrike" kern="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lvl="0"/>
            <a:endParaRPr lang="en-IN"/>
          </a:p>
        </p:txBody>
      </p:sp>
      <p:sp>
        <p:nvSpPr>
          <p:cNvPr id="45" name="Text Placeholder 44">
            <a:extLst>
              <a:ext uri="{FF2B5EF4-FFF2-40B4-BE49-F238E27FC236}">
                <a16:creationId xmlns:a16="http://schemas.microsoft.com/office/drawing/2014/main" id="{0CCFD869-8E3B-4CF2-68E2-4431E58D5B03}"/>
              </a:ext>
            </a:extLst>
          </p:cNvPr>
          <p:cNvSpPr>
            <a:spLocks noGrp="1"/>
          </p:cNvSpPr>
          <p:nvPr>
            <p:ph type="body" sz="quarter" idx="17"/>
          </p:nvPr>
        </p:nvSpPr>
        <p:spPr>
          <a:xfrm>
            <a:off x="664209"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47" name="Text Placeholder 46">
            <a:extLst>
              <a:ext uri="{FF2B5EF4-FFF2-40B4-BE49-F238E27FC236}">
                <a16:creationId xmlns:a16="http://schemas.microsoft.com/office/drawing/2014/main" id="{FBBA81A1-BAA3-EA5B-AD96-1A0BA33D46EB}"/>
              </a:ext>
            </a:extLst>
          </p:cNvPr>
          <p:cNvSpPr>
            <a:spLocks noGrp="1"/>
          </p:cNvSpPr>
          <p:nvPr>
            <p:ph type="body" sz="quarter" idx="18"/>
          </p:nvPr>
        </p:nvSpPr>
        <p:spPr>
          <a:xfrm>
            <a:off x="3448048"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49" name="Text Placeholder 48">
            <a:extLst>
              <a:ext uri="{FF2B5EF4-FFF2-40B4-BE49-F238E27FC236}">
                <a16:creationId xmlns:a16="http://schemas.microsoft.com/office/drawing/2014/main" id="{49639813-7613-1FF5-C008-109C8E28AC00}"/>
              </a:ext>
            </a:extLst>
          </p:cNvPr>
          <p:cNvSpPr>
            <a:spLocks noGrp="1"/>
          </p:cNvSpPr>
          <p:nvPr>
            <p:ph type="body" sz="quarter" idx="19"/>
          </p:nvPr>
        </p:nvSpPr>
        <p:spPr>
          <a:xfrm>
            <a:off x="6231888"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51" name="Text Placeholder 50">
            <a:extLst>
              <a:ext uri="{FF2B5EF4-FFF2-40B4-BE49-F238E27FC236}">
                <a16:creationId xmlns:a16="http://schemas.microsoft.com/office/drawing/2014/main" id="{07D1BB2B-6B1F-0FB2-EC46-8958C3AA6D92}"/>
              </a:ext>
            </a:extLst>
          </p:cNvPr>
          <p:cNvSpPr>
            <a:spLocks noGrp="1"/>
          </p:cNvSpPr>
          <p:nvPr>
            <p:ph type="body" sz="quarter" idx="20"/>
          </p:nvPr>
        </p:nvSpPr>
        <p:spPr>
          <a:xfrm>
            <a:off x="9015729"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55" name="Text Placeholder 54">
            <a:extLst>
              <a:ext uri="{FF2B5EF4-FFF2-40B4-BE49-F238E27FC236}">
                <a16:creationId xmlns:a16="http://schemas.microsoft.com/office/drawing/2014/main" id="{ECC2AC61-F41B-7C1A-88FD-99A071276943}"/>
              </a:ext>
            </a:extLst>
          </p:cNvPr>
          <p:cNvSpPr>
            <a:spLocks noGrp="1"/>
          </p:cNvSpPr>
          <p:nvPr>
            <p:ph type="body" sz="quarter" idx="22"/>
          </p:nvPr>
        </p:nvSpPr>
        <p:spPr>
          <a:xfrm>
            <a:off x="584200" y="5530600"/>
            <a:ext cx="11023600" cy="369332"/>
          </a:xfrm>
        </p:spPr>
        <p:txBody>
          <a:bodyPr/>
          <a:lstStyle>
            <a:lvl1pPr marL="0" indent="0" algn="ctr">
              <a:buNone/>
              <a:defRPr kumimoji="0" lang="en-IN" sz="2400" b="0" i="0" u="none" strike="noStrike" kern="1200" cap="none" spc="0" normalizeH="0" baseline="0" dirty="0">
                <a:ln>
                  <a:noFill/>
                </a:ln>
                <a:solidFill>
                  <a:schemeClr val="bg2"/>
                </a:solidFill>
                <a:effectLst/>
                <a:uLnTx/>
                <a:uFillTx/>
                <a:latin typeface="+mj-lt"/>
                <a:ea typeface="+mn-ea"/>
                <a:cs typeface="Segoe UI" pitchFamily="34" charset="0"/>
              </a:defRPr>
            </a:lvl1pPr>
          </a:lstStyle>
          <a:p>
            <a:pPr lvl="0"/>
            <a:endParaRPr lang="en-IN"/>
          </a:p>
        </p:txBody>
      </p:sp>
      <p:sp>
        <p:nvSpPr>
          <p:cNvPr id="58" name="Text Placeholder 57">
            <a:extLst>
              <a:ext uri="{FF2B5EF4-FFF2-40B4-BE49-F238E27FC236}">
                <a16:creationId xmlns:a16="http://schemas.microsoft.com/office/drawing/2014/main" id="{EEC8EF74-43BC-B549-D940-1CF55E69109B}"/>
              </a:ext>
            </a:extLst>
          </p:cNvPr>
          <p:cNvSpPr>
            <a:spLocks noGrp="1"/>
          </p:cNvSpPr>
          <p:nvPr>
            <p:ph type="body" sz="quarter" idx="24" hasCustomPrompt="1"/>
          </p:nvPr>
        </p:nvSpPr>
        <p:spPr>
          <a:xfrm>
            <a:off x="139437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2" name="Text Placeholder 57">
            <a:extLst>
              <a:ext uri="{FF2B5EF4-FFF2-40B4-BE49-F238E27FC236}">
                <a16:creationId xmlns:a16="http://schemas.microsoft.com/office/drawing/2014/main" id="{B21D5880-7A0D-CF88-CD72-E6E4B18C21E8}"/>
              </a:ext>
            </a:extLst>
          </p:cNvPr>
          <p:cNvSpPr>
            <a:spLocks noGrp="1"/>
          </p:cNvSpPr>
          <p:nvPr>
            <p:ph type="body" sz="quarter" idx="28" hasCustomPrompt="1"/>
          </p:nvPr>
        </p:nvSpPr>
        <p:spPr>
          <a:xfrm>
            <a:off x="417821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4" name="Text Placeholder 57">
            <a:extLst>
              <a:ext uri="{FF2B5EF4-FFF2-40B4-BE49-F238E27FC236}">
                <a16:creationId xmlns:a16="http://schemas.microsoft.com/office/drawing/2014/main" id="{440F6FDA-5D6C-CCD4-1CC3-160EB10018F1}"/>
              </a:ext>
            </a:extLst>
          </p:cNvPr>
          <p:cNvSpPr>
            <a:spLocks noGrp="1"/>
          </p:cNvSpPr>
          <p:nvPr>
            <p:ph type="body" sz="quarter" idx="29" hasCustomPrompt="1"/>
          </p:nvPr>
        </p:nvSpPr>
        <p:spPr>
          <a:xfrm>
            <a:off x="696205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5" name="Text Placeholder 57">
            <a:extLst>
              <a:ext uri="{FF2B5EF4-FFF2-40B4-BE49-F238E27FC236}">
                <a16:creationId xmlns:a16="http://schemas.microsoft.com/office/drawing/2014/main" id="{E9154C4D-EDBB-9D16-24D4-CC3375CB48A5}"/>
              </a:ext>
            </a:extLst>
          </p:cNvPr>
          <p:cNvSpPr>
            <a:spLocks noGrp="1"/>
          </p:cNvSpPr>
          <p:nvPr>
            <p:ph type="body" sz="quarter" idx="30" hasCustomPrompt="1"/>
          </p:nvPr>
        </p:nvSpPr>
        <p:spPr>
          <a:xfrm>
            <a:off x="9745899"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7" name="Text Placeholder 66">
            <a:extLst>
              <a:ext uri="{FF2B5EF4-FFF2-40B4-BE49-F238E27FC236}">
                <a16:creationId xmlns:a16="http://schemas.microsoft.com/office/drawing/2014/main" id="{4BF7CCD8-A92B-33A8-BD3F-515D5A15E804}"/>
              </a:ext>
            </a:extLst>
          </p:cNvPr>
          <p:cNvSpPr>
            <a:spLocks noGrp="1"/>
          </p:cNvSpPr>
          <p:nvPr>
            <p:ph type="body" sz="quarter" idx="31" hasCustomPrompt="1"/>
          </p:nvPr>
        </p:nvSpPr>
        <p:spPr>
          <a:xfrm>
            <a:off x="585216"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71" name="Text Placeholder 70">
            <a:extLst>
              <a:ext uri="{FF2B5EF4-FFF2-40B4-BE49-F238E27FC236}">
                <a16:creationId xmlns:a16="http://schemas.microsoft.com/office/drawing/2014/main" id="{368CC796-F9AE-CEA3-BF85-3C3884FC27A3}"/>
              </a:ext>
            </a:extLst>
          </p:cNvPr>
          <p:cNvSpPr>
            <a:spLocks noGrp="1"/>
          </p:cNvSpPr>
          <p:nvPr>
            <p:ph type="body" sz="quarter" idx="33" hasCustomPrompt="1"/>
          </p:nvPr>
        </p:nvSpPr>
        <p:spPr>
          <a:xfrm>
            <a:off x="610705" y="2345140"/>
            <a:ext cx="649134" cy="430887"/>
          </a:xfrm>
        </p:spPr>
        <p:txBody>
          <a:bodyPr/>
          <a:lstStyle>
            <a:lvl1pPr marL="0" indent="0" algn="ctr">
              <a:buNone/>
              <a:defRPr>
                <a:solidFill>
                  <a:schemeClr val="bg2"/>
                </a:solidFill>
                <a:latin typeface="+mj-lt"/>
              </a:defRPr>
            </a:lvl1pPr>
          </a:lstStyle>
          <a:p>
            <a:pPr lvl="0"/>
            <a:r>
              <a:rPr lang="en-IN"/>
              <a:t>#</a:t>
            </a:r>
          </a:p>
        </p:txBody>
      </p:sp>
      <p:sp>
        <p:nvSpPr>
          <p:cNvPr id="78" name="Text Placeholder 66">
            <a:extLst>
              <a:ext uri="{FF2B5EF4-FFF2-40B4-BE49-F238E27FC236}">
                <a16:creationId xmlns:a16="http://schemas.microsoft.com/office/drawing/2014/main" id="{BFE6B3B7-330E-A776-2528-9B04F1795881}"/>
              </a:ext>
            </a:extLst>
          </p:cNvPr>
          <p:cNvSpPr>
            <a:spLocks noGrp="1"/>
          </p:cNvSpPr>
          <p:nvPr>
            <p:ph type="body" sz="quarter" idx="34" hasCustomPrompt="1"/>
          </p:nvPr>
        </p:nvSpPr>
        <p:spPr>
          <a:xfrm>
            <a:off x="3370009"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79" name="Text Placeholder 70">
            <a:extLst>
              <a:ext uri="{FF2B5EF4-FFF2-40B4-BE49-F238E27FC236}">
                <a16:creationId xmlns:a16="http://schemas.microsoft.com/office/drawing/2014/main" id="{3A721328-720A-6FD8-158C-CFBEEF462EB6}"/>
              </a:ext>
            </a:extLst>
          </p:cNvPr>
          <p:cNvSpPr>
            <a:spLocks noGrp="1"/>
          </p:cNvSpPr>
          <p:nvPr>
            <p:ph type="body" sz="quarter" idx="35" hasCustomPrompt="1"/>
          </p:nvPr>
        </p:nvSpPr>
        <p:spPr>
          <a:xfrm>
            <a:off x="3395498" y="2345140"/>
            <a:ext cx="649134" cy="430887"/>
          </a:xfrm>
        </p:spPr>
        <p:txBody>
          <a:bodyPr/>
          <a:lstStyle>
            <a:lvl1pPr marL="0" indent="0" algn="ctr">
              <a:buNone/>
              <a:defRPr>
                <a:solidFill>
                  <a:schemeClr val="bg2"/>
                </a:solidFill>
                <a:latin typeface="+mj-lt"/>
              </a:defRPr>
            </a:lvl1pPr>
          </a:lstStyle>
          <a:p>
            <a:pPr lvl="0"/>
            <a:r>
              <a:rPr lang="en-IN"/>
              <a:t>#</a:t>
            </a:r>
          </a:p>
        </p:txBody>
      </p:sp>
      <p:sp>
        <p:nvSpPr>
          <p:cNvPr id="81" name="Text Placeholder 66">
            <a:extLst>
              <a:ext uri="{FF2B5EF4-FFF2-40B4-BE49-F238E27FC236}">
                <a16:creationId xmlns:a16="http://schemas.microsoft.com/office/drawing/2014/main" id="{C11A60CC-382F-DF86-1586-E99F2AA5F712}"/>
              </a:ext>
            </a:extLst>
          </p:cNvPr>
          <p:cNvSpPr>
            <a:spLocks noGrp="1"/>
          </p:cNvSpPr>
          <p:nvPr>
            <p:ph type="body" sz="quarter" idx="37" hasCustomPrompt="1"/>
          </p:nvPr>
        </p:nvSpPr>
        <p:spPr>
          <a:xfrm>
            <a:off x="6154802"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82" name="Text Placeholder 70">
            <a:extLst>
              <a:ext uri="{FF2B5EF4-FFF2-40B4-BE49-F238E27FC236}">
                <a16:creationId xmlns:a16="http://schemas.microsoft.com/office/drawing/2014/main" id="{9A68270F-B37B-9967-00E9-BF887DD878A2}"/>
              </a:ext>
            </a:extLst>
          </p:cNvPr>
          <p:cNvSpPr>
            <a:spLocks noGrp="1"/>
          </p:cNvSpPr>
          <p:nvPr>
            <p:ph type="body" sz="quarter" idx="38" hasCustomPrompt="1"/>
          </p:nvPr>
        </p:nvSpPr>
        <p:spPr>
          <a:xfrm>
            <a:off x="6180291" y="2345140"/>
            <a:ext cx="649134" cy="430887"/>
          </a:xfrm>
        </p:spPr>
        <p:txBody>
          <a:bodyPr/>
          <a:lstStyle>
            <a:lvl1pPr marL="0" indent="0" algn="ctr">
              <a:buNone/>
              <a:defRPr>
                <a:solidFill>
                  <a:schemeClr val="bg2"/>
                </a:solidFill>
                <a:latin typeface="+mj-lt"/>
              </a:defRPr>
            </a:lvl1pPr>
          </a:lstStyle>
          <a:p>
            <a:pPr lvl="0"/>
            <a:r>
              <a:rPr lang="en-IN"/>
              <a:t>#</a:t>
            </a:r>
          </a:p>
        </p:txBody>
      </p:sp>
      <p:sp>
        <p:nvSpPr>
          <p:cNvPr id="85" name="Text Placeholder 66">
            <a:extLst>
              <a:ext uri="{FF2B5EF4-FFF2-40B4-BE49-F238E27FC236}">
                <a16:creationId xmlns:a16="http://schemas.microsoft.com/office/drawing/2014/main" id="{4928D8A8-8F0E-189F-A9A9-BA85675CF463}"/>
              </a:ext>
            </a:extLst>
          </p:cNvPr>
          <p:cNvSpPr>
            <a:spLocks noGrp="1"/>
          </p:cNvSpPr>
          <p:nvPr>
            <p:ph type="body" sz="quarter" idx="39" hasCustomPrompt="1"/>
          </p:nvPr>
        </p:nvSpPr>
        <p:spPr>
          <a:xfrm>
            <a:off x="8939596"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86" name="Text Placeholder 70">
            <a:extLst>
              <a:ext uri="{FF2B5EF4-FFF2-40B4-BE49-F238E27FC236}">
                <a16:creationId xmlns:a16="http://schemas.microsoft.com/office/drawing/2014/main" id="{AA30685F-0FF7-958D-CC71-1E5D4390481A}"/>
              </a:ext>
            </a:extLst>
          </p:cNvPr>
          <p:cNvSpPr>
            <a:spLocks noGrp="1"/>
          </p:cNvSpPr>
          <p:nvPr>
            <p:ph type="body" sz="quarter" idx="40" hasCustomPrompt="1"/>
          </p:nvPr>
        </p:nvSpPr>
        <p:spPr>
          <a:xfrm>
            <a:off x="8965085" y="2345140"/>
            <a:ext cx="649134" cy="430887"/>
          </a:xfrm>
        </p:spPr>
        <p:txBody>
          <a:bodyPr/>
          <a:lstStyle>
            <a:lvl1pPr marL="0" indent="0" algn="ctr">
              <a:buNone/>
              <a:defRPr>
                <a:solidFill>
                  <a:schemeClr val="bg2"/>
                </a:solidFill>
                <a:latin typeface="+mj-lt"/>
              </a:defRPr>
            </a:lvl1pPr>
          </a:lstStyle>
          <a:p>
            <a:pPr lvl="0"/>
            <a:r>
              <a:rPr lang="en-IN"/>
              <a:t>#</a:t>
            </a:r>
          </a:p>
        </p:txBody>
      </p:sp>
    </p:spTree>
    <p:extLst>
      <p:ext uri="{BB962C8B-B14F-4D97-AF65-F5344CB8AC3E}">
        <p14:creationId xmlns:p14="http://schemas.microsoft.com/office/powerpoint/2010/main" val="246796121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0646431"/>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3213468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1500" y="581978"/>
            <a:ext cx="1454782" cy="343851"/>
          </a:xfrm>
          <a:prstGeom prst="rect">
            <a:avLst/>
          </a:prstGeom>
        </p:spPr>
      </p:pic>
    </p:spTree>
    <p:extLst>
      <p:ext uri="{BB962C8B-B14F-4D97-AF65-F5344CB8AC3E}">
        <p14:creationId xmlns:p14="http://schemas.microsoft.com/office/powerpoint/2010/main" val="2019687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2.svg"/><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theme" Target="../theme/theme2.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image" Target="../media/image2.svg"/><Relationship Id="rId2" Type="http://schemas.openxmlformats.org/officeDocument/2006/relationships/slideLayout" Target="../slideLayouts/slideLayout99.xml"/><Relationship Id="rId16" Type="http://schemas.openxmlformats.org/officeDocument/2006/relationships/theme" Target="../theme/theme3.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tags" Target="../tags/tag1.xml"/><Relationship Id="rId3" Type="http://schemas.openxmlformats.org/officeDocument/2006/relationships/slideLayout" Target="../slideLayouts/slideLayout115.xml"/><Relationship Id="rId21" Type="http://schemas.openxmlformats.org/officeDocument/2006/relationships/image" Target="../media/image2.svg"/><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theme" Target="../theme/theme4.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image" Target="../media/image66.emf"/><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oleObject" Target="../embeddings/oleObject1.bin"/><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image" Target="../media/image2.svg"/><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theme" Target="../theme/theme5.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6B07C2E4-0DFA-F8B9-B096-ECFDEA07D54A}"/>
              </a:ext>
              <a:ext uri="{C183D7F6-B498-43B3-948B-1728B52AA6E4}">
                <adec:decorative xmlns:adec="http://schemas.microsoft.com/office/drawing/2017/decorative" val="1"/>
              </a:ext>
            </a:extLst>
          </p:cNvPr>
          <p:cNvPicPr>
            <a:picLocks noChangeAspect="1"/>
          </p:cNvPicPr>
          <p:nvPr userDrawn="1"/>
        </p:nvPicPr>
        <p:blipFill rotWithShape="1">
          <a:blip r:embed="rId83"/>
          <a:srcRect l="370" t="1" r="531" b="29523"/>
          <a:stretch>
            <a:fillRect/>
          </a:stretch>
        </p:blipFill>
        <p:spPr>
          <a:xfrm rot="10800000" flipV="1">
            <a:off x="-9333" y="6675119"/>
            <a:ext cx="12201331" cy="182880"/>
          </a:xfrm>
          <a:prstGeom prst="rect">
            <a:avLst/>
          </a:prstGeom>
          <a:ln>
            <a:noFill/>
          </a:ln>
          <a:effectLst/>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8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808" r:id="rId1"/>
    <p:sldLayoutId id="2147485809" r:id="rId2"/>
    <p:sldLayoutId id="2147485810" r:id="rId3"/>
    <p:sldLayoutId id="2147485811" r:id="rId4"/>
    <p:sldLayoutId id="2147485824" r:id="rId5"/>
    <p:sldLayoutId id="2147485524" r:id="rId6"/>
    <p:sldLayoutId id="2147485827" r:id="rId7"/>
    <p:sldLayoutId id="2147485821" r:id="rId8"/>
    <p:sldLayoutId id="2147485822" r:id="rId9"/>
    <p:sldLayoutId id="2147485823" r:id="rId10"/>
    <p:sldLayoutId id="2147485829" r:id="rId11"/>
    <p:sldLayoutId id="2147485830" r:id="rId12"/>
    <p:sldLayoutId id="2147485828" r:id="rId13"/>
    <p:sldLayoutId id="2147485814" r:id="rId14"/>
    <p:sldLayoutId id="2147485815" r:id="rId15"/>
    <p:sldLayoutId id="2147485816" r:id="rId16"/>
    <p:sldLayoutId id="2147485817" r:id="rId17"/>
    <p:sldLayoutId id="2147485818" r:id="rId18"/>
    <p:sldLayoutId id="2147485819" r:id="rId19"/>
    <p:sldLayoutId id="2147485838" r:id="rId20"/>
    <p:sldLayoutId id="2147485839" r:id="rId21"/>
    <p:sldLayoutId id="2147485840" r:id="rId22"/>
    <p:sldLayoutId id="2147485732" r:id="rId23"/>
    <p:sldLayoutId id="2147485813" r:id="rId24"/>
    <p:sldLayoutId id="2147485820" r:id="rId25"/>
    <p:sldLayoutId id="2147485837" r:id="rId26"/>
    <p:sldLayoutId id="2147485826" r:id="rId27"/>
    <p:sldLayoutId id="2147485832" r:id="rId28"/>
    <p:sldLayoutId id="2147485833" r:id="rId29"/>
    <p:sldLayoutId id="2147485472" r:id="rId30"/>
    <p:sldLayoutId id="2147485473" r:id="rId31"/>
    <p:sldLayoutId id="2147485836" r:id="rId32"/>
    <p:sldLayoutId id="2147485831" r:id="rId33"/>
    <p:sldLayoutId id="2147485812" r:id="rId34"/>
    <p:sldLayoutId id="2147485462" r:id="rId35"/>
    <p:sldLayoutId id="2147485455" r:id="rId36"/>
    <p:sldLayoutId id="2147485459" r:id="rId37"/>
    <p:sldLayoutId id="2147485834" r:id="rId38"/>
    <p:sldLayoutId id="2147485835" r:id="rId39"/>
    <p:sldLayoutId id="2147485482" r:id="rId40"/>
    <p:sldLayoutId id="2147485841" r:id="rId41"/>
    <p:sldLayoutId id="2147485842" r:id="rId42"/>
    <p:sldLayoutId id="2147485843" r:id="rId43"/>
    <p:sldLayoutId id="2147485845" r:id="rId44"/>
    <p:sldLayoutId id="2147485846" r:id="rId45"/>
    <p:sldLayoutId id="2147485847" r:id="rId46"/>
    <p:sldLayoutId id="2147485848" r:id="rId47"/>
    <p:sldLayoutId id="2147485849" r:id="rId48"/>
    <p:sldLayoutId id="2147486094" r:id="rId49"/>
    <p:sldLayoutId id="2147486096" r:id="rId50"/>
    <p:sldLayoutId id="2147486097" r:id="rId51"/>
    <p:sldLayoutId id="2147486098" r:id="rId52"/>
    <p:sldLayoutId id="2147486099" r:id="rId53"/>
    <p:sldLayoutId id="2147486100" r:id="rId54"/>
    <p:sldLayoutId id="2147486101" r:id="rId55"/>
    <p:sldLayoutId id="2147486102" r:id="rId56"/>
    <p:sldLayoutId id="2147486103" r:id="rId57"/>
    <p:sldLayoutId id="2147486104" r:id="rId58"/>
    <p:sldLayoutId id="2147486105" r:id="rId59"/>
    <p:sldLayoutId id="2147486106" r:id="rId60"/>
    <p:sldLayoutId id="2147486107" r:id="rId61"/>
    <p:sldLayoutId id="2147486108" r:id="rId62"/>
    <p:sldLayoutId id="2147486109" r:id="rId63"/>
    <p:sldLayoutId id="2147486110" r:id="rId64"/>
    <p:sldLayoutId id="2147486111" r:id="rId65"/>
    <p:sldLayoutId id="2147486112" r:id="rId66"/>
    <p:sldLayoutId id="2147486113" r:id="rId67"/>
    <p:sldLayoutId id="2147486114" r:id="rId68"/>
    <p:sldLayoutId id="2147486115" r:id="rId69"/>
    <p:sldLayoutId id="2147486116" r:id="rId70"/>
    <p:sldLayoutId id="2147486118" r:id="rId71"/>
    <p:sldLayoutId id="2147486119" r:id="rId72"/>
    <p:sldLayoutId id="2147486120" r:id="rId73"/>
    <p:sldLayoutId id="2147486121" r:id="rId74"/>
    <p:sldLayoutId id="2147486122" r:id="rId75"/>
    <p:sldLayoutId id="2147486123" r:id="rId76"/>
    <p:sldLayoutId id="2147486124" r:id="rId77"/>
    <p:sldLayoutId id="2147486125" r:id="rId78"/>
    <p:sldLayoutId id="2147486126" r:id="rId79"/>
    <p:sldLayoutId id="2147486127" r:id="rId80"/>
    <p:sldLayoutId id="2147486128" r:id="rId8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userDrawn="1">
          <p15:clr>
            <a:srgbClr val="C35EA4"/>
          </p15:clr>
        </p15:guide>
        <p15:guide id="17" pos="7320" userDrawn="1">
          <p15:clr>
            <a:srgbClr val="C35EA4"/>
          </p15:clr>
        </p15:guide>
        <p15:guide id="25" orient="horz" pos="369">
          <p15:clr>
            <a:srgbClr val="C35EA4"/>
          </p15:clr>
        </p15:guide>
        <p15:guide id="26" orient="horz" pos="3949">
          <p15:clr>
            <a:srgbClr val="C35EA4"/>
          </p15:clr>
        </p15:guide>
        <p15:guide id="28" pos="192" userDrawn="1">
          <p15:clr>
            <a:srgbClr val="A4A3A4"/>
          </p15:clr>
        </p15:guide>
        <p15:guide id="29" orient="horz" pos="4135">
          <p15:clr>
            <a:srgbClr val="A4A3A4"/>
          </p15:clr>
        </p15:guide>
        <p15:guide id="30" pos="7488" userDrawn="1">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63E1FEEE-112B-02EA-2A33-B4B71AD51CD0}"/>
              </a:ext>
            </a:extLst>
          </p:cNvPr>
          <p:cNvSpPr/>
          <p:nvPr userDrawn="1"/>
        </p:nvSpPr>
        <p:spPr bwMode="auto">
          <a:xfrm>
            <a:off x="12410482" y="2"/>
            <a:ext cx="530159" cy="7228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50" name="Rectangle: Single Corner Snipped 49">
            <a:extLst>
              <a:ext uri="{FF2B5EF4-FFF2-40B4-BE49-F238E27FC236}">
                <a16:creationId xmlns:a16="http://schemas.microsoft.com/office/drawing/2014/main" id="{E60A3D03-6048-C4DE-5E7A-26BA8E566B48}"/>
              </a:ext>
            </a:extLst>
          </p:cNvPr>
          <p:cNvSpPr/>
          <p:nvPr userDrawn="1"/>
        </p:nvSpPr>
        <p:spPr bwMode="auto">
          <a:xfrm flipV="1">
            <a:off x="12994851" y="2"/>
            <a:ext cx="530160" cy="722860"/>
          </a:xfrm>
          <a:prstGeom prst="snip1Rect">
            <a:avLst>
              <a:gd name="adj" fmla="val 41626"/>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58673699-9081-FA96-B0BB-C69FAC84C74F}"/>
              </a:ext>
            </a:extLst>
          </p:cNvPr>
          <p:cNvSpPr/>
          <p:nvPr userDrawn="1"/>
        </p:nvSpPr>
        <p:spPr bwMode="auto">
          <a:xfrm>
            <a:off x="12410482" y="1537243"/>
            <a:ext cx="530159" cy="722860"/>
          </a:xfrm>
          <a:prstGeom prst="rect">
            <a:avLst/>
          </a:prstGeom>
          <a:solidFill>
            <a:srgbClr val="3746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2" name="Rectangle: Single Corner Snipped 51">
            <a:extLst>
              <a:ext uri="{FF2B5EF4-FFF2-40B4-BE49-F238E27FC236}">
                <a16:creationId xmlns:a16="http://schemas.microsoft.com/office/drawing/2014/main" id="{E7D36249-54DA-4D92-3FAE-CADB419C311E}"/>
              </a:ext>
            </a:extLst>
          </p:cNvPr>
          <p:cNvSpPr/>
          <p:nvPr userDrawn="1"/>
        </p:nvSpPr>
        <p:spPr bwMode="auto">
          <a:xfrm flipV="1">
            <a:off x="12994851" y="1537242"/>
            <a:ext cx="530160" cy="722860"/>
          </a:xfrm>
          <a:prstGeom prst="snip1Rect">
            <a:avLst>
              <a:gd name="adj" fmla="val 39234"/>
            </a:avLst>
          </a:prstGeom>
          <a:solidFill>
            <a:srgbClr val="A7B9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C12DE7B7-6D48-157C-B67E-80676A5D1796}"/>
              </a:ext>
            </a:extLst>
          </p:cNvPr>
          <p:cNvSpPr/>
          <p:nvPr userDrawn="1"/>
        </p:nvSpPr>
        <p:spPr bwMode="auto">
          <a:xfrm>
            <a:off x="12410604" y="2305863"/>
            <a:ext cx="530159" cy="720557"/>
          </a:xfrm>
          <a:prstGeom prst="rect">
            <a:avLst/>
          </a:prstGeom>
          <a:solidFill>
            <a:srgbClr val="6A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 Bi Dark</a:t>
            </a:r>
          </a:p>
        </p:txBody>
      </p:sp>
      <p:sp>
        <p:nvSpPr>
          <p:cNvPr id="59" name="Rectangle: Single Corner Snipped 58">
            <a:extLst>
              <a:ext uri="{FF2B5EF4-FFF2-40B4-BE49-F238E27FC236}">
                <a16:creationId xmlns:a16="http://schemas.microsoft.com/office/drawing/2014/main" id="{04704ADC-5A71-A7AC-08FB-98476ACD606B}"/>
              </a:ext>
            </a:extLst>
          </p:cNvPr>
          <p:cNvSpPr/>
          <p:nvPr userDrawn="1"/>
        </p:nvSpPr>
        <p:spPr bwMode="auto">
          <a:xfrm flipV="1">
            <a:off x="12995340" y="2305862"/>
            <a:ext cx="530160" cy="720557"/>
          </a:xfrm>
          <a:prstGeom prst="snip1Rect">
            <a:avLst>
              <a:gd name="adj" fmla="val 38037"/>
            </a:avLst>
          </a:prstGeom>
          <a:solidFill>
            <a:srgbClr val="F2CE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 Bi Light</a:t>
            </a:r>
          </a:p>
        </p:txBody>
      </p:sp>
      <p:sp>
        <p:nvSpPr>
          <p:cNvPr id="62" name="Rectangle 61">
            <a:extLst>
              <a:ext uri="{FF2B5EF4-FFF2-40B4-BE49-F238E27FC236}">
                <a16:creationId xmlns:a16="http://schemas.microsoft.com/office/drawing/2014/main" id="{56110A8D-D937-33BE-87D5-7E552688D3F2}"/>
              </a:ext>
            </a:extLst>
          </p:cNvPr>
          <p:cNvSpPr/>
          <p:nvPr userDrawn="1"/>
        </p:nvSpPr>
        <p:spPr bwMode="auto">
          <a:xfrm>
            <a:off x="12410727" y="3072180"/>
            <a:ext cx="530159" cy="720557"/>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a:t>
            </a:r>
            <a:br>
              <a:rPr lang="en-US" sz="800" b="1">
                <a:solidFill>
                  <a:schemeClr val="bg1"/>
                </a:solidFill>
              </a:rPr>
            </a:br>
            <a:r>
              <a:rPr lang="en-US" sz="800" b="1">
                <a:solidFill>
                  <a:schemeClr val="bg1"/>
                </a:solidFill>
              </a:rPr>
              <a:t>Automate Dark</a:t>
            </a:r>
          </a:p>
        </p:txBody>
      </p:sp>
      <p:sp>
        <p:nvSpPr>
          <p:cNvPr id="63" name="Rectangle: Single Corner Snipped 62">
            <a:extLst>
              <a:ext uri="{FF2B5EF4-FFF2-40B4-BE49-F238E27FC236}">
                <a16:creationId xmlns:a16="http://schemas.microsoft.com/office/drawing/2014/main" id="{4F3699C4-A871-BEAC-0F44-134D67BDA5B2}"/>
              </a:ext>
            </a:extLst>
          </p:cNvPr>
          <p:cNvSpPr/>
          <p:nvPr userDrawn="1"/>
        </p:nvSpPr>
        <p:spPr bwMode="auto">
          <a:xfrm flipV="1">
            <a:off x="12995340" y="3072179"/>
            <a:ext cx="530160" cy="720557"/>
          </a:xfrm>
          <a:prstGeom prst="snip1Rect">
            <a:avLst>
              <a:gd name="adj" fmla="val 38037"/>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utomate Light</a:t>
            </a:r>
          </a:p>
        </p:txBody>
      </p:sp>
      <p:sp>
        <p:nvSpPr>
          <p:cNvPr id="66" name="Rectangle 65">
            <a:extLst>
              <a:ext uri="{FF2B5EF4-FFF2-40B4-BE49-F238E27FC236}">
                <a16:creationId xmlns:a16="http://schemas.microsoft.com/office/drawing/2014/main" id="{4F6C4DB2-FFDC-E46B-7EB6-A1AD0A18E2AA}"/>
              </a:ext>
            </a:extLst>
          </p:cNvPr>
          <p:cNvSpPr/>
          <p:nvPr userDrawn="1"/>
        </p:nvSpPr>
        <p:spPr bwMode="auto">
          <a:xfrm>
            <a:off x="12410849" y="3838497"/>
            <a:ext cx="530159" cy="720557"/>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a:t>
            </a:r>
            <a:br>
              <a:rPr lang="en-US" sz="800" b="1"/>
            </a:br>
            <a:r>
              <a:rPr lang="en-US" sz="800" b="1"/>
              <a:t>Apps</a:t>
            </a:r>
            <a:br>
              <a:rPr lang="en-US" sz="800" b="1"/>
            </a:br>
            <a:r>
              <a:rPr lang="en-US" sz="800" b="1"/>
              <a:t>Dark</a:t>
            </a:r>
          </a:p>
        </p:txBody>
      </p:sp>
      <p:sp>
        <p:nvSpPr>
          <p:cNvPr id="67" name="Rectangle: Single Corner Snipped 66">
            <a:extLst>
              <a:ext uri="{FF2B5EF4-FFF2-40B4-BE49-F238E27FC236}">
                <a16:creationId xmlns:a16="http://schemas.microsoft.com/office/drawing/2014/main" id="{05CDE5CD-D913-F954-8055-783E465DF50F}"/>
              </a:ext>
            </a:extLst>
          </p:cNvPr>
          <p:cNvSpPr/>
          <p:nvPr userDrawn="1"/>
        </p:nvSpPr>
        <p:spPr bwMode="auto">
          <a:xfrm flipV="1">
            <a:off x="12995340" y="3838496"/>
            <a:ext cx="530160" cy="720557"/>
          </a:xfrm>
          <a:prstGeom prst="snip1Rect">
            <a:avLst>
              <a:gd name="adj" fmla="val 30859"/>
            </a:avLst>
          </a:prstGeom>
          <a:solidFill>
            <a:srgbClr val="D59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pps</a:t>
            </a:r>
            <a:br>
              <a:rPr lang="en-US" sz="800" b="1">
                <a:solidFill>
                  <a:schemeClr val="tx1"/>
                </a:solidFill>
              </a:rPr>
            </a:br>
            <a:r>
              <a:rPr lang="en-US" sz="800" b="1">
                <a:solidFill>
                  <a:schemeClr val="tx1"/>
                </a:solidFill>
              </a:rPr>
              <a:t>Light</a:t>
            </a:r>
          </a:p>
        </p:txBody>
      </p:sp>
      <p:sp>
        <p:nvSpPr>
          <p:cNvPr id="68" name="Rectangle 67">
            <a:extLst>
              <a:ext uri="{FF2B5EF4-FFF2-40B4-BE49-F238E27FC236}">
                <a16:creationId xmlns:a16="http://schemas.microsoft.com/office/drawing/2014/main" id="{F966EBCE-C013-9EED-E9EB-BA17AA3E5C8F}"/>
              </a:ext>
            </a:extLst>
          </p:cNvPr>
          <p:cNvSpPr/>
          <p:nvPr userDrawn="1"/>
        </p:nvSpPr>
        <p:spPr bwMode="auto">
          <a:xfrm>
            <a:off x="12410970" y="4604814"/>
            <a:ext cx="530159" cy="72055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 Virtual</a:t>
            </a:r>
            <a:br>
              <a:rPr lang="en-US" sz="800" b="1"/>
            </a:br>
            <a:r>
              <a:rPr lang="en-US" sz="800" b="1"/>
              <a:t>Agents Dark</a:t>
            </a:r>
          </a:p>
        </p:txBody>
      </p:sp>
      <p:sp>
        <p:nvSpPr>
          <p:cNvPr id="69" name="Rectangle: Single Corner Snipped 68">
            <a:extLst>
              <a:ext uri="{FF2B5EF4-FFF2-40B4-BE49-F238E27FC236}">
                <a16:creationId xmlns:a16="http://schemas.microsoft.com/office/drawing/2014/main" id="{13187A80-1B29-1AA7-E72E-CC324C7731B3}"/>
              </a:ext>
            </a:extLst>
          </p:cNvPr>
          <p:cNvSpPr/>
          <p:nvPr userDrawn="1"/>
        </p:nvSpPr>
        <p:spPr bwMode="auto">
          <a:xfrm flipV="1">
            <a:off x="12995340" y="4604813"/>
            <a:ext cx="530160" cy="720557"/>
          </a:xfrm>
          <a:prstGeom prst="snip1Rect">
            <a:avLst>
              <a:gd name="adj" fmla="val 21276"/>
            </a:avLst>
          </a:prstGeom>
          <a:solidFill>
            <a:srgbClr val="4CCB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27432" rIns="91440" bIns="27432" numCol="1" spcCol="0" rtlCol="0" fromWordArt="0" anchor="ctr" anchorCtr="0" forceAA="0" compatLnSpc="1">
            <a:prstTxWarp prst="textNoShape">
              <a:avLst/>
            </a:prstTxWarp>
            <a:noAutofit/>
          </a:bodyPr>
          <a:lstStyle/>
          <a:p>
            <a:pPr lvl="0" algn="ctr"/>
            <a:r>
              <a:rPr lang="en-US" sz="800" b="1">
                <a:solidFill>
                  <a:schemeClr val="tx1"/>
                </a:solidFill>
              </a:rPr>
              <a:t>Power Virtual</a:t>
            </a:r>
            <a:br>
              <a:rPr lang="en-US" sz="800" b="1">
                <a:solidFill>
                  <a:schemeClr val="tx1"/>
                </a:solidFill>
              </a:rPr>
            </a:br>
            <a:r>
              <a:rPr lang="en-US" sz="800" b="1">
                <a:solidFill>
                  <a:schemeClr val="tx1"/>
                </a:solidFill>
              </a:rPr>
              <a:t>Agents Light</a:t>
            </a:r>
          </a:p>
        </p:txBody>
      </p:sp>
      <p:sp>
        <p:nvSpPr>
          <p:cNvPr id="73" name="Rectangle 72">
            <a:extLst>
              <a:ext uri="{FF2B5EF4-FFF2-40B4-BE49-F238E27FC236}">
                <a16:creationId xmlns:a16="http://schemas.microsoft.com/office/drawing/2014/main" id="{68D432F4-C1DA-83AF-FC96-0CDD7996560C}"/>
              </a:ext>
            </a:extLst>
          </p:cNvPr>
          <p:cNvSpPr/>
          <p:nvPr userDrawn="1"/>
        </p:nvSpPr>
        <p:spPr bwMode="auto">
          <a:xfrm>
            <a:off x="12410849" y="5371131"/>
            <a:ext cx="530159" cy="720557"/>
          </a:xfrm>
          <a:prstGeom prst="rect">
            <a:avLst/>
          </a:prstGeom>
          <a:solidFill>
            <a:srgbClr val="2220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ages</a:t>
            </a:r>
            <a:r>
              <a:rPr lang="en-US" sz="800" b="1" kern="1200">
                <a:solidFill>
                  <a:schemeClr val="bg1"/>
                </a:solidFill>
                <a:latin typeface="+mn-lt"/>
                <a:ea typeface="+mn-ea"/>
                <a:cs typeface="+mn-cs"/>
              </a:rPr>
              <a:t> Dark</a:t>
            </a:r>
            <a:endParaRPr lang="en-US" sz="800" b="1"/>
          </a:p>
        </p:txBody>
      </p:sp>
      <p:sp>
        <p:nvSpPr>
          <p:cNvPr id="74" name="Rectangle: Single Corner Snipped 73">
            <a:extLst>
              <a:ext uri="{FF2B5EF4-FFF2-40B4-BE49-F238E27FC236}">
                <a16:creationId xmlns:a16="http://schemas.microsoft.com/office/drawing/2014/main" id="{5E28FDC9-01D2-1FE1-7F07-0906701CCACF}"/>
              </a:ext>
            </a:extLst>
          </p:cNvPr>
          <p:cNvSpPr/>
          <p:nvPr userDrawn="1"/>
        </p:nvSpPr>
        <p:spPr bwMode="auto">
          <a:xfrm flipV="1">
            <a:off x="12995340" y="5371130"/>
            <a:ext cx="530160" cy="720557"/>
          </a:xfrm>
          <a:prstGeom prst="snip1Rect">
            <a:avLst>
              <a:gd name="adj" fmla="val 33252"/>
            </a:avLst>
          </a:prstGeom>
          <a:solidFill>
            <a:srgbClr val="4B44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ages</a:t>
            </a:r>
            <a:r>
              <a:rPr lang="en-US" sz="800" b="1" kern="1200">
                <a:solidFill>
                  <a:schemeClr val="bg1"/>
                </a:solidFill>
                <a:latin typeface="+mn-lt"/>
                <a:ea typeface="+mn-ea"/>
                <a:cs typeface="+mn-cs"/>
              </a:rPr>
              <a:t> Light</a:t>
            </a:r>
            <a:endParaRPr lang="en-US" sz="800" b="1">
              <a:solidFill>
                <a:schemeClr val="bg1"/>
              </a:solidFill>
            </a:endParaRPr>
          </a:p>
        </p:txBody>
      </p:sp>
      <p:sp>
        <p:nvSpPr>
          <p:cNvPr id="91" name="Rectangle 90">
            <a:extLst>
              <a:ext uri="{FF2B5EF4-FFF2-40B4-BE49-F238E27FC236}">
                <a16:creationId xmlns:a16="http://schemas.microsoft.com/office/drawing/2014/main" id="{52B15FA5-6C54-48D2-5AF5-5F911096FD9C}"/>
              </a:ext>
            </a:extLst>
          </p:cNvPr>
          <p:cNvSpPr/>
          <p:nvPr userDrawn="1"/>
        </p:nvSpPr>
        <p:spPr bwMode="auto">
          <a:xfrm>
            <a:off x="12410970" y="6137444"/>
            <a:ext cx="530159" cy="720557"/>
          </a:xfrm>
          <a:prstGeom prst="rect">
            <a:avLst/>
          </a:prstGeom>
          <a:solidFill>
            <a:srgbClr val="1493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latform</a:t>
            </a:r>
            <a:r>
              <a:rPr lang="en-US" sz="800" b="1" kern="1200">
                <a:solidFill>
                  <a:schemeClr val="bg1"/>
                </a:solidFill>
                <a:latin typeface="+mn-lt"/>
                <a:ea typeface="+mn-ea"/>
                <a:cs typeface="+mn-cs"/>
              </a:rPr>
              <a:t> Dark</a:t>
            </a:r>
            <a:endParaRPr lang="en-US" sz="800" b="1"/>
          </a:p>
        </p:txBody>
      </p:sp>
      <p:sp>
        <p:nvSpPr>
          <p:cNvPr id="92" name="Rectangle: Single Corner Snipped 91">
            <a:extLst>
              <a:ext uri="{FF2B5EF4-FFF2-40B4-BE49-F238E27FC236}">
                <a16:creationId xmlns:a16="http://schemas.microsoft.com/office/drawing/2014/main" id="{FECDD228-E02E-C86F-8EE2-87C6C84F8F3E}"/>
              </a:ext>
            </a:extLst>
          </p:cNvPr>
          <p:cNvSpPr/>
          <p:nvPr userDrawn="1"/>
        </p:nvSpPr>
        <p:spPr bwMode="auto">
          <a:xfrm flipV="1">
            <a:off x="12995340" y="6137444"/>
            <a:ext cx="530160" cy="720557"/>
          </a:xfrm>
          <a:prstGeom prst="snip1Rect">
            <a:avLst>
              <a:gd name="adj" fmla="val 24878"/>
            </a:avLst>
          </a:prstGeom>
          <a:solidFill>
            <a:srgbClr val="4BC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latform</a:t>
            </a:r>
            <a:r>
              <a:rPr lang="en-US" sz="800" b="1" kern="1200">
                <a:solidFill>
                  <a:schemeClr val="bg1"/>
                </a:solidFill>
                <a:latin typeface="+mn-lt"/>
                <a:ea typeface="+mn-ea"/>
                <a:cs typeface="+mn-cs"/>
              </a:rPr>
              <a:t> Light</a:t>
            </a:r>
            <a:endParaRPr lang="en-US" sz="800" b="1">
              <a:solidFill>
                <a:schemeClr val="bg1"/>
              </a:solidFill>
            </a:endParaRPr>
          </a:p>
        </p:txBody>
      </p:sp>
      <p:sp>
        <p:nvSpPr>
          <p:cNvPr id="111" name="Rectangle 110">
            <a:extLst>
              <a:ext uri="{FF2B5EF4-FFF2-40B4-BE49-F238E27FC236}">
                <a16:creationId xmlns:a16="http://schemas.microsoft.com/office/drawing/2014/main" id="{BE7E2E2D-C6B1-5EA4-7349-83FF5DE2DBB6}"/>
              </a:ext>
            </a:extLst>
          </p:cNvPr>
          <p:cNvSpPr/>
          <p:nvPr userDrawn="1"/>
        </p:nvSpPr>
        <p:spPr bwMode="auto">
          <a:xfrm>
            <a:off x="12410482" y="768622"/>
            <a:ext cx="530159" cy="7228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112" name="Rectangle: Single Corner Snipped 111">
            <a:extLst>
              <a:ext uri="{FF2B5EF4-FFF2-40B4-BE49-F238E27FC236}">
                <a16:creationId xmlns:a16="http://schemas.microsoft.com/office/drawing/2014/main" id="{7109F77D-50EF-7CD4-C093-4F6451C99DB6}"/>
              </a:ext>
            </a:extLst>
          </p:cNvPr>
          <p:cNvSpPr/>
          <p:nvPr userDrawn="1"/>
        </p:nvSpPr>
        <p:spPr bwMode="auto">
          <a:xfrm flipV="1">
            <a:off x="12994851" y="768622"/>
            <a:ext cx="530160" cy="722860"/>
          </a:xfrm>
          <a:prstGeom prst="snip1Rect">
            <a:avLst>
              <a:gd name="adj" fmla="val 41626"/>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115" name="Rectangle 114">
            <a:extLst>
              <a:ext uri="{FF2B5EF4-FFF2-40B4-BE49-F238E27FC236}">
                <a16:creationId xmlns:a16="http://schemas.microsoft.com/office/drawing/2014/main" id="{29425B8F-DEAE-2553-A34D-A142F1FCE2F5}"/>
              </a:ext>
            </a:extLst>
          </p:cNvPr>
          <p:cNvSpPr/>
          <p:nvPr userDrawn="1"/>
        </p:nvSpPr>
        <p:spPr bwMode="auto">
          <a:xfrm>
            <a:off x="13608553" y="0"/>
            <a:ext cx="134938" cy="2203733"/>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TextBox 116">
            <a:extLst>
              <a:ext uri="{FF2B5EF4-FFF2-40B4-BE49-F238E27FC236}">
                <a16:creationId xmlns:a16="http://schemas.microsoft.com/office/drawing/2014/main" id="{D0EA6001-AA7F-ADE7-1D3C-E21D2ED694F6}"/>
              </a:ext>
            </a:extLst>
          </p:cNvPr>
          <p:cNvSpPr txBox="1"/>
          <p:nvPr userDrawn="1"/>
        </p:nvSpPr>
        <p:spPr>
          <a:xfrm rot="5400000">
            <a:off x="13119148" y="971060"/>
            <a:ext cx="1263926"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Universal Colors</a:t>
            </a:r>
          </a:p>
        </p:txBody>
      </p:sp>
      <p:sp>
        <p:nvSpPr>
          <p:cNvPr id="118" name="Rectangle 114">
            <a:extLst>
              <a:ext uri="{FF2B5EF4-FFF2-40B4-BE49-F238E27FC236}">
                <a16:creationId xmlns:a16="http://schemas.microsoft.com/office/drawing/2014/main" id="{BDC581B7-C25C-BC19-F5F3-9B5342F25487}"/>
              </a:ext>
            </a:extLst>
          </p:cNvPr>
          <p:cNvSpPr/>
          <p:nvPr userDrawn="1"/>
        </p:nvSpPr>
        <p:spPr bwMode="auto">
          <a:xfrm>
            <a:off x="13609637" y="2303703"/>
            <a:ext cx="134938" cy="4554297"/>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9" name="TextBox 118">
            <a:extLst>
              <a:ext uri="{FF2B5EF4-FFF2-40B4-BE49-F238E27FC236}">
                <a16:creationId xmlns:a16="http://schemas.microsoft.com/office/drawing/2014/main" id="{26C18FCC-458B-3C39-F881-A647D9187BB2}"/>
              </a:ext>
            </a:extLst>
          </p:cNvPr>
          <p:cNvSpPr txBox="1"/>
          <p:nvPr userDrawn="1"/>
        </p:nvSpPr>
        <p:spPr>
          <a:xfrm rot="5400000">
            <a:off x="13162466" y="4258315"/>
            <a:ext cx="1177290"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Product Colors</a:t>
            </a:r>
          </a:p>
        </p:txBody>
      </p:sp>
      <p:sp>
        <p:nvSpPr>
          <p:cNvPr id="160" name="Rectangle 159">
            <a:extLst>
              <a:ext uri="{FF2B5EF4-FFF2-40B4-BE49-F238E27FC236}">
                <a16:creationId xmlns:a16="http://schemas.microsoft.com/office/drawing/2014/main" id="{0C48B22D-E877-46C2-C93F-2B0A8A391F90}"/>
              </a:ext>
            </a:extLst>
          </p:cNvPr>
          <p:cNvSpPr/>
          <p:nvPr userDrawn="1"/>
        </p:nvSpPr>
        <p:spPr bwMode="auto">
          <a:xfrm>
            <a:off x="13934970" y="0"/>
            <a:ext cx="530159" cy="72055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endParaRPr lang="en-US" sz="800" b="1"/>
          </a:p>
        </p:txBody>
      </p:sp>
      <p:sp>
        <p:nvSpPr>
          <p:cNvPr id="161" name="Rectangle: Single Corner Snipped 160">
            <a:extLst>
              <a:ext uri="{FF2B5EF4-FFF2-40B4-BE49-F238E27FC236}">
                <a16:creationId xmlns:a16="http://schemas.microsoft.com/office/drawing/2014/main" id="{13452B28-68E8-CE7E-FA9D-BD52B5D77B52}"/>
              </a:ext>
            </a:extLst>
          </p:cNvPr>
          <p:cNvSpPr/>
          <p:nvPr userDrawn="1"/>
        </p:nvSpPr>
        <p:spPr bwMode="auto">
          <a:xfrm flipV="1">
            <a:off x="14519340" y="0"/>
            <a:ext cx="530160" cy="720557"/>
          </a:xfrm>
          <a:prstGeom prst="snip1Rect">
            <a:avLst>
              <a:gd name="adj" fmla="val 24878"/>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endParaRPr lang="en-US" sz="800" b="1">
              <a:solidFill>
                <a:schemeClr val="bg1"/>
              </a:solidFill>
            </a:endParaRPr>
          </a:p>
        </p:txBody>
      </p:sp>
    </p:spTree>
    <p:extLst>
      <p:ext uri="{BB962C8B-B14F-4D97-AF65-F5344CB8AC3E}">
        <p14:creationId xmlns:p14="http://schemas.microsoft.com/office/powerpoint/2010/main" val="1200895194"/>
      </p:ext>
    </p:extLst>
  </p:cSld>
  <p:clrMap bg1="lt1" tx1="dk1" bg2="lt2" tx2="dk2" accent1="accent1" accent2="accent2" accent3="accent3" accent4="accent4" accent5="accent5" accent6="accent6" hlink="hlink" folHlink="folHlink"/>
  <p:sldLayoutIdLst>
    <p:sldLayoutId id="2147485851" r:id="rId1"/>
    <p:sldLayoutId id="2147485852" r:id="rId2"/>
    <p:sldLayoutId id="2147485853" r:id="rId3"/>
    <p:sldLayoutId id="2147485854" r:id="rId4"/>
    <p:sldLayoutId id="2147485855" r:id="rId5"/>
    <p:sldLayoutId id="2147485856" r:id="rId6"/>
    <p:sldLayoutId id="2147485857" r:id="rId7"/>
    <p:sldLayoutId id="2147485858" r:id="rId8"/>
    <p:sldLayoutId id="2147485859" r:id="rId9"/>
    <p:sldLayoutId id="2147485860" r:id="rId10"/>
    <p:sldLayoutId id="2147485861" r:id="rId11"/>
    <p:sldLayoutId id="2147485862" r:id="rId12"/>
    <p:sldLayoutId id="2147485863" r:id="rId13"/>
    <p:sldLayoutId id="2147485864" r:id="rId14"/>
    <p:sldLayoutId id="2147485865" r:id="rId15"/>
    <p:sldLayoutId id="2147485878"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52">
          <p15:clr>
            <a:srgbClr val="A4A3A4"/>
          </p15:clr>
        </p15:guide>
        <p15:guide id="30" pos="7488">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1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439756301"/>
      </p:ext>
    </p:extLst>
  </p:cSld>
  <p:clrMap bg1="lt1" tx1="dk1" bg2="lt2" tx2="dk2" accent1="accent1" accent2="accent2" accent3="accent3" accent4="accent4" accent5="accent5" accent6="accent6" hlink="hlink" folHlink="folHlink"/>
  <p:sldLayoutIdLst>
    <p:sldLayoutId id="2147485924" r:id="rId1"/>
    <p:sldLayoutId id="2147485925" r:id="rId2"/>
    <p:sldLayoutId id="2147485926" r:id="rId3"/>
    <p:sldLayoutId id="2147485927" r:id="rId4"/>
    <p:sldLayoutId id="2147485928" r:id="rId5"/>
    <p:sldLayoutId id="2147485929" r:id="rId6"/>
    <p:sldLayoutId id="2147485930" r:id="rId7"/>
    <p:sldLayoutId id="2147485931" r:id="rId8"/>
    <p:sldLayoutId id="2147485932" r:id="rId9"/>
    <p:sldLayoutId id="2147485933" r:id="rId10"/>
    <p:sldLayoutId id="2147485934" r:id="rId11"/>
    <p:sldLayoutId id="2147485935" r:id="rId12"/>
    <p:sldLayoutId id="2147485936" r:id="rId13"/>
    <p:sldLayoutId id="2147485937" r:id="rId14"/>
    <p:sldLayoutId id="2147485938" r:id="rId15"/>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23B2A0-7548-F3ED-CE7D-848EF15F132C}"/>
              </a:ext>
            </a:extLst>
          </p:cNvPr>
          <p:cNvGraphicFramePr>
            <a:graphicFrameLocks noChangeAspect="1"/>
          </p:cNvGraphicFramePr>
          <p:nvPr userDrawn="1">
            <p:custDataLst>
              <p:tags r:id="rId18"/>
            </p:custDataLst>
            <p:extLst>
              <p:ext uri="{D42A27DB-BD31-4B8C-83A1-F6EECF244321}">
                <p14:modId xmlns:p14="http://schemas.microsoft.com/office/powerpoint/2010/main" val="1780299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2" imgH="530" progId="TCLayout.ActiveDocument.1">
                  <p:embed/>
                </p:oleObj>
              </mc:Choice>
              <mc:Fallback>
                <p:oleObj name="think-cell Slide" r:id="rId19" imgW="532" imgH="530" progId="TCLayout.ActiveDocument.1">
                  <p:embed/>
                  <p:pic>
                    <p:nvPicPr>
                      <p:cNvPr id="6" name="think-cell data - do not delete" hidden="1">
                        <a:extLst>
                          <a:ext uri="{FF2B5EF4-FFF2-40B4-BE49-F238E27FC236}">
                            <a16:creationId xmlns:a16="http://schemas.microsoft.com/office/drawing/2014/main" id="{4823B2A0-7548-F3ED-CE7D-848EF15F132C}"/>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2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797193799"/>
      </p:ext>
    </p:extLst>
  </p:cSld>
  <p:clrMap bg1="lt1" tx1="dk1" bg2="lt2" tx2="dk2" accent1="accent1" accent2="accent2" accent3="accent3" accent4="accent4" accent5="accent5" accent6="accent6" hlink="hlink" folHlink="folHlink"/>
  <p:sldLayoutIdLst>
    <p:sldLayoutId id="2147485997" r:id="rId1"/>
    <p:sldLayoutId id="2147485998" r:id="rId2"/>
    <p:sldLayoutId id="2147485999" r:id="rId3"/>
    <p:sldLayoutId id="2147486000" r:id="rId4"/>
    <p:sldLayoutId id="2147486001" r:id="rId5"/>
    <p:sldLayoutId id="2147486002" r:id="rId6"/>
    <p:sldLayoutId id="2147486003" r:id="rId7"/>
    <p:sldLayoutId id="2147486004" r:id="rId8"/>
    <p:sldLayoutId id="2147486005" r:id="rId9"/>
    <p:sldLayoutId id="2147486006" r:id="rId10"/>
    <p:sldLayoutId id="2147486007" r:id="rId11"/>
    <p:sldLayoutId id="2147486008" r:id="rId12"/>
    <p:sldLayoutId id="2147486009" r:id="rId13"/>
    <p:sldLayoutId id="2147486010" r:id="rId14"/>
    <p:sldLayoutId id="2147486011" r:id="rId15"/>
    <p:sldLayoutId id="2147486093" r:id="rId16"/>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guide id="32" pos="7512">
          <p15:clr>
            <a:srgbClr val="E97132"/>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a:extLst>
              <a:ext uri="{96DAC541-7B7A-43D3-8B79-37D633B846F1}">
                <asvg:svgBlip xmlns:asvg="http://schemas.microsoft.com/office/drawing/2016/SVG/main" r:embed="rId2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54112810"/>
      </p:ext>
    </p:extLst>
  </p:cSld>
  <p:clrMap bg1="lt1" tx1="dk1" bg2="lt2" tx2="dk2" accent1="accent1" accent2="accent2" accent3="accent3" accent4="accent4" accent5="accent5" accent6="accent6" hlink="hlink" folHlink="folHlink"/>
  <p:sldLayoutIdLst>
    <p:sldLayoutId id="2147486070" r:id="rId1"/>
    <p:sldLayoutId id="2147486071" r:id="rId2"/>
    <p:sldLayoutId id="2147486072" r:id="rId3"/>
    <p:sldLayoutId id="2147486073" r:id="rId4"/>
    <p:sldLayoutId id="2147486074" r:id="rId5"/>
    <p:sldLayoutId id="2147486075" r:id="rId6"/>
    <p:sldLayoutId id="2147486076" r:id="rId7"/>
    <p:sldLayoutId id="2147486077" r:id="rId8"/>
    <p:sldLayoutId id="2147486078" r:id="rId9"/>
    <p:sldLayoutId id="2147486079" r:id="rId10"/>
    <p:sldLayoutId id="2147486080" r:id="rId11"/>
    <p:sldLayoutId id="2147486081" r:id="rId12"/>
    <p:sldLayoutId id="2147486082" r:id="rId13"/>
    <p:sldLayoutId id="2147486083" r:id="rId14"/>
    <p:sldLayoutId id="2147486084" r:id="rId15"/>
    <p:sldLayoutId id="2147486085" r:id="rId16"/>
    <p:sldLayoutId id="2147486086" r:id="rId17"/>
    <p:sldLayoutId id="2147486087" r:id="rId18"/>
    <p:sldLayoutId id="2147486088" r:id="rId19"/>
    <p:sldLayoutId id="2147486089" r:id="rId20"/>
    <p:sldLayoutId id="2147486090" r:id="rId21"/>
    <p:sldLayoutId id="2147486091" r:id="rId22"/>
    <p:sldLayoutId id="2147486092"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4.xml"/><Relationship Id="rId1" Type="http://schemas.openxmlformats.org/officeDocument/2006/relationships/tags" Target="../tags/tag2.xml"/><Relationship Id="rId4" Type="http://schemas.openxmlformats.org/officeDocument/2006/relationships/image" Target="../media/image88.png"/></Relationships>
</file>

<file path=ppt/slides/_rels/slide11.xml.rels><?xml version="1.0" encoding="UTF-8" standalone="yes"?>
<Relationships xmlns="http://schemas.openxmlformats.org/package/2006/relationships"><Relationship Id="rId8" Type="http://schemas.openxmlformats.org/officeDocument/2006/relationships/image" Target="../media/image93.svg"/><Relationship Id="rId13" Type="http://schemas.openxmlformats.org/officeDocument/2006/relationships/image" Target="../media/image98.png"/><Relationship Id="rId3" Type="http://schemas.openxmlformats.org/officeDocument/2006/relationships/notesSlide" Target="../notesSlides/notesSlide11.xml"/><Relationship Id="rId7" Type="http://schemas.openxmlformats.org/officeDocument/2006/relationships/image" Target="../media/image92.svg"/><Relationship Id="rId12" Type="http://schemas.openxmlformats.org/officeDocument/2006/relationships/image" Target="../media/image97.png"/><Relationship Id="rId2" Type="http://schemas.openxmlformats.org/officeDocument/2006/relationships/slideLayout" Target="../slideLayouts/slideLayout45.xml"/><Relationship Id="rId1" Type="http://schemas.openxmlformats.org/officeDocument/2006/relationships/tags" Target="../tags/tag3.xml"/><Relationship Id="rId6" Type="http://schemas.openxmlformats.org/officeDocument/2006/relationships/image" Target="../media/image91.svg"/><Relationship Id="rId11" Type="http://schemas.openxmlformats.org/officeDocument/2006/relationships/image" Target="../media/image96.png"/><Relationship Id="rId5" Type="http://schemas.openxmlformats.org/officeDocument/2006/relationships/image" Target="../media/image90.svg"/><Relationship Id="rId10" Type="http://schemas.openxmlformats.org/officeDocument/2006/relationships/image" Target="../media/image95.png"/><Relationship Id="rId4" Type="http://schemas.openxmlformats.org/officeDocument/2006/relationships/image" Target="../media/image89.svg"/><Relationship Id="rId9" Type="http://schemas.openxmlformats.org/officeDocument/2006/relationships/image" Target="../media/image94.svg"/></Relationships>
</file>

<file path=ppt/slides/_rels/slide1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2.xml"/><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8.png"/><Relationship Id="rId7" Type="http://schemas.openxmlformats.org/officeDocument/2006/relationships/image" Target="../media/image103.png"/><Relationship Id="rId2" Type="http://schemas.openxmlformats.org/officeDocument/2006/relationships/notesSlide" Target="../notesSlides/notesSlide13.xml"/><Relationship Id="rId1" Type="http://schemas.openxmlformats.org/officeDocument/2006/relationships/slideLayout" Target="../slideLayouts/slideLayout46.xml"/><Relationship Id="rId6" Type="http://schemas.openxmlformats.org/officeDocument/2006/relationships/image" Target="../media/image102.png"/><Relationship Id="rId5" Type="http://schemas.openxmlformats.org/officeDocument/2006/relationships/image" Target="../media/image101.svg"/><Relationship Id="rId4" Type="http://schemas.openxmlformats.org/officeDocument/2006/relationships/image" Target="../media/image100.png"/></Relationships>
</file>

<file path=ppt/slides/_rels/slide14.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14.xml"/><Relationship Id="rId1" Type="http://schemas.openxmlformats.org/officeDocument/2006/relationships/slideLayout" Target="../slideLayouts/slideLayout97.xml"/><Relationship Id="rId6" Type="http://schemas.openxmlformats.org/officeDocument/2006/relationships/image" Target="../media/image108.jpeg"/><Relationship Id="rId11" Type="http://schemas.openxmlformats.org/officeDocument/2006/relationships/image" Target="../media/image113.png"/><Relationship Id="rId5" Type="http://schemas.openxmlformats.org/officeDocument/2006/relationships/image" Target="../media/image10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16.xml"/><Relationship Id="rId1" Type="http://schemas.openxmlformats.org/officeDocument/2006/relationships/slideLayout" Target="../slideLayouts/slideLayout126.xml"/><Relationship Id="rId5" Type="http://schemas.openxmlformats.org/officeDocument/2006/relationships/image" Target="../media/image116.png"/><Relationship Id="rId4" Type="http://schemas.openxmlformats.org/officeDocument/2006/relationships/image" Target="../media/image115.png"/></Relationships>
</file>

<file path=ppt/slides/_rels/slide17.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17.xml"/><Relationship Id="rId1" Type="http://schemas.openxmlformats.org/officeDocument/2006/relationships/slideLayout" Target="../slideLayouts/slideLayout126.xml"/><Relationship Id="rId5" Type="http://schemas.openxmlformats.org/officeDocument/2006/relationships/image" Target="../media/image117.png"/><Relationship Id="rId4" Type="http://schemas.openxmlformats.org/officeDocument/2006/relationships/image" Target="../media/image115.png"/></Relationships>
</file>

<file path=ppt/slides/_rels/slide18.xml.rels><?xml version="1.0" encoding="UTF-8" standalone="yes"?>
<Relationships xmlns="http://schemas.openxmlformats.org/package/2006/relationships"><Relationship Id="rId8" Type="http://schemas.openxmlformats.org/officeDocument/2006/relationships/hyperlink" Target="https://support.microsoft.com/en-us/topic/what-is-frontier-17c671e0-1906-4d9d-892c-68e11fbff4c7" TargetMode="External"/><Relationship Id="rId3" Type="http://schemas.openxmlformats.org/officeDocument/2006/relationships/slideLayout" Target="../slideLayouts/slideLayout126.xml"/><Relationship Id="rId7" Type="http://schemas.openxmlformats.org/officeDocument/2006/relationships/image" Target="../media/image118.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15.png"/><Relationship Id="rId5" Type="http://schemas.openxmlformats.org/officeDocument/2006/relationships/image" Target="../media/image114.jpe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3.png"/><Relationship Id="rId18" Type="http://schemas.openxmlformats.org/officeDocument/2006/relationships/hyperlink" Target="https://techcommunity.microsoft.com/blog/microsoft365copilotblog/researcher-agent-in-microsoft-365-copilot/4397186" TargetMode="External"/><Relationship Id="rId3" Type="http://schemas.openxmlformats.org/officeDocument/2006/relationships/image" Target="../media/image119.png"/><Relationship Id="rId21" Type="http://schemas.openxmlformats.org/officeDocument/2006/relationships/image" Target="../media/image127.png"/><Relationship Id="rId7" Type="http://schemas.openxmlformats.org/officeDocument/2006/relationships/image" Target="../media/image120.png"/><Relationship Id="rId12" Type="http://schemas.openxmlformats.org/officeDocument/2006/relationships/hyperlink" Target="https://techcommunity.microsoft.com/blog/microsoftformsblog/shipped-surveys-agent-now-live-for-customers-in-microsoft-365-copilot-frontier-p/4444421" TargetMode="External"/><Relationship Id="rId17" Type="http://schemas.openxmlformats.org/officeDocument/2006/relationships/image" Target="../media/image125.png"/><Relationship Id="rId25" Type="http://schemas.openxmlformats.org/officeDocument/2006/relationships/image" Target="../media/image130.png"/><Relationship Id="rId2" Type="http://schemas.openxmlformats.org/officeDocument/2006/relationships/notesSlide" Target="../notesSlides/notesSlide19.xml"/><Relationship Id="rId16" Type="http://schemas.openxmlformats.org/officeDocument/2006/relationships/hyperlink" Target="https://techcommunity.microsoft.com/blog/spblog/introducing-knowledge-agent-in-sharepoint/4454154" TargetMode="External"/><Relationship Id="rId20" Type="http://schemas.openxmlformats.org/officeDocument/2006/relationships/hyperlink" Target="https://techcommunity.microsoft.com/blog/viva_engage_blog/introducing-agents-in-viva-engage-communities-your-ai-powered-community-expert/4454146" TargetMode="External"/><Relationship Id="rId1" Type="http://schemas.openxmlformats.org/officeDocument/2006/relationships/slideLayout" Target="../slideLayouts/slideLayout126.xml"/><Relationship Id="rId6" Type="http://schemas.openxmlformats.org/officeDocument/2006/relationships/hyperlink" Target="https://techcommunity.microsoft.com/blog/microsoft365insiderblog/introducing-channel-agent-in-teams/4455451" TargetMode="External"/><Relationship Id="rId11" Type="http://schemas.openxmlformats.org/officeDocument/2006/relationships/hyperlink" Target="https://adoption.microsoft.com/en-us/copilot/frontier-program/" TargetMode="External"/><Relationship Id="rId24" Type="http://schemas.openxmlformats.org/officeDocument/2006/relationships/image" Target="../media/image129.png"/><Relationship Id="rId5" Type="http://schemas.openxmlformats.org/officeDocument/2006/relationships/hyperlink" Target="https://adoption.microsoft.com/en-us/customer-hub/ai-agents/" TargetMode="External"/><Relationship Id="rId15" Type="http://schemas.openxmlformats.org/officeDocument/2006/relationships/hyperlink" Target="https://techcommunity.microsoft.com/blog/plannerblog/unleashing-the-power-of-agents-in-microsoft-planner/4304794" TargetMode="External"/><Relationship Id="rId23" Type="http://schemas.openxmlformats.org/officeDocument/2006/relationships/image" Target="../media/image128.png"/><Relationship Id="rId10" Type="http://schemas.openxmlformats.org/officeDocument/2006/relationships/image" Target="../media/image122.png"/><Relationship Id="rId19" Type="http://schemas.openxmlformats.org/officeDocument/2006/relationships/image" Target="../media/image126.png"/><Relationship Id="rId4" Type="http://schemas.openxmlformats.org/officeDocument/2006/relationships/image" Target="../media/image115.png"/><Relationship Id="rId9" Type="http://schemas.openxmlformats.org/officeDocument/2006/relationships/hyperlink" Target="https://techcommunity.microsoft.com/blog/microsoft365copilotblog/analyst-agent-in-microsoft-365-copilot/4397191" TargetMode="External"/><Relationship Id="rId14" Type="http://schemas.openxmlformats.org/officeDocument/2006/relationships/image" Target="../media/image124.png"/><Relationship Id="rId22" Type="http://schemas.openxmlformats.org/officeDocument/2006/relationships/hyperlink" Target="https://techcommunity.microsoft.com/blog/microsoft365copilotblog/introducing-new-agents-in-microsoft-365/4296918"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73.png"/><Relationship Id="rId7" Type="http://schemas.openxmlformats.org/officeDocument/2006/relationships/image" Target="../media/image75.png"/><Relationship Id="rId2" Type="http://schemas.openxmlformats.org/officeDocument/2006/relationships/notesSlide" Target="../notesSlides/notesSlide2.xml"/><Relationship Id="rId1" Type="http://schemas.openxmlformats.org/officeDocument/2006/relationships/slideLayout" Target="../slideLayouts/slideLayout74.xml"/><Relationship Id="rId6" Type="http://schemas.openxmlformats.org/officeDocument/2006/relationships/hyperlink" Target="https://aka.ms/CustomerHubSessions" TargetMode="External"/><Relationship Id="rId5" Type="http://schemas.microsoft.com/office/2007/relationships/hdphoto" Target="../media/hdphoto10.wdp"/><Relationship Id="rId4" Type="http://schemas.openxmlformats.org/officeDocument/2006/relationships/image" Target="../media/image74.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8.xml"/></Relationships>
</file>

<file path=ppt/slides/_rels/slide2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1.xml"/><Relationship Id="rId1" Type="http://schemas.openxmlformats.org/officeDocument/2006/relationships/slideLayout" Target="../slideLayouts/slideLayout146.xml"/><Relationship Id="rId5" Type="http://schemas.openxmlformats.org/officeDocument/2006/relationships/image" Target="../media/image133.png"/><Relationship Id="rId4" Type="http://schemas.openxmlformats.org/officeDocument/2006/relationships/image" Target="../media/image132.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140.png"/><Relationship Id="rId3" Type="http://schemas.openxmlformats.org/officeDocument/2006/relationships/hyperlink" Target="https://adoption.microsoft.com/en-gb/ai-agents/templates-and-examples/" TargetMode="External"/><Relationship Id="rId7" Type="http://schemas.openxmlformats.org/officeDocument/2006/relationships/image" Target="../media/image137.png"/><Relationship Id="rId12" Type="http://schemas.openxmlformats.org/officeDocument/2006/relationships/image" Target="../media/image113.png"/><Relationship Id="rId2" Type="http://schemas.openxmlformats.org/officeDocument/2006/relationships/notesSlide" Target="../notesSlides/notesSlide23.xml"/><Relationship Id="rId16" Type="http://schemas.openxmlformats.org/officeDocument/2006/relationships/image" Target="../media/image143.png"/><Relationship Id="rId1" Type="http://schemas.openxmlformats.org/officeDocument/2006/relationships/slideLayout" Target="../slideLayouts/slideLayout47.xml"/><Relationship Id="rId6" Type="http://schemas.openxmlformats.org/officeDocument/2006/relationships/image" Target="../media/image136.png"/><Relationship Id="rId11" Type="http://schemas.openxmlformats.org/officeDocument/2006/relationships/image" Target="../media/image139.png"/><Relationship Id="rId5" Type="http://schemas.openxmlformats.org/officeDocument/2006/relationships/image" Target="../media/image135.png"/><Relationship Id="rId15" Type="http://schemas.openxmlformats.org/officeDocument/2006/relationships/image" Target="../media/image142.png"/><Relationship Id="rId10" Type="http://schemas.openxmlformats.org/officeDocument/2006/relationships/image" Target="../media/image112.png"/><Relationship Id="rId4" Type="http://schemas.openxmlformats.org/officeDocument/2006/relationships/image" Target="../media/image134.png"/><Relationship Id="rId9" Type="http://schemas.openxmlformats.org/officeDocument/2006/relationships/image" Target="../media/image111.png"/><Relationship Id="rId14" Type="http://schemas.openxmlformats.org/officeDocument/2006/relationships/image" Target="../media/image141.png"/></Relationships>
</file>

<file path=ppt/slides/_rels/slide24.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47.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146.png"/><Relationship Id="rId4" Type="http://schemas.openxmlformats.org/officeDocument/2006/relationships/diagramLayout" Target="../diagrams/layout1.xml"/><Relationship Id="rId9" Type="http://schemas.openxmlformats.org/officeDocument/2006/relationships/image" Target="../media/image145.png"/></Relationships>
</file>

<file path=ppt/slides/_rels/slide2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5.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48.png"/></Relationships>
</file>

<file path=ppt/slides/_rels/slide26.xml.rels><?xml version="1.0" encoding="UTF-8" standalone="yes"?>
<Relationships xmlns="http://schemas.openxmlformats.org/package/2006/relationships"><Relationship Id="rId3" Type="http://schemas.openxmlformats.org/officeDocument/2006/relationships/hyperlink" Target="https://learn.microsoft.com/en-us/microsoft-365-copilot/extensibility/declarative-agent-instructions" TargetMode="External"/><Relationship Id="rId2" Type="http://schemas.openxmlformats.org/officeDocument/2006/relationships/notesSlide" Target="../notesSlides/notesSlide26.xml"/><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3" Type="http://schemas.openxmlformats.org/officeDocument/2006/relationships/hyperlink" Target="https://learn.microsoft.com/en-us/microsoft-365-copilot/extensibility/declarative-agent-instructions" TargetMode="External"/><Relationship Id="rId2" Type="http://schemas.openxmlformats.org/officeDocument/2006/relationships/notesSlide" Target="../notesSlides/notesSlide27.xml"/><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7.png"/><Relationship Id="rId18" Type="http://schemas.openxmlformats.org/officeDocument/2006/relationships/image" Target="../media/image162.png"/><Relationship Id="rId3" Type="http://schemas.openxmlformats.org/officeDocument/2006/relationships/hyperlink" Target="https://adoption.microsoft.com/en-us/ai-agents/templates-and-examples/" TargetMode="External"/><Relationship Id="rId7" Type="http://schemas.openxmlformats.org/officeDocument/2006/relationships/image" Target="../media/image151.png"/><Relationship Id="rId12" Type="http://schemas.openxmlformats.org/officeDocument/2006/relationships/image" Target="../media/image156.png"/><Relationship Id="rId17" Type="http://schemas.openxmlformats.org/officeDocument/2006/relationships/image" Target="../media/image161.png"/><Relationship Id="rId2" Type="http://schemas.openxmlformats.org/officeDocument/2006/relationships/notesSlide" Target="../notesSlides/notesSlide29.xml"/><Relationship Id="rId16" Type="http://schemas.openxmlformats.org/officeDocument/2006/relationships/image" Target="../media/image160.png"/><Relationship Id="rId1" Type="http://schemas.openxmlformats.org/officeDocument/2006/relationships/slideLayout" Target="../slideLayouts/slideLayout47.xml"/><Relationship Id="rId6" Type="http://schemas.openxmlformats.org/officeDocument/2006/relationships/image" Target="../media/image150.png"/><Relationship Id="rId11" Type="http://schemas.openxmlformats.org/officeDocument/2006/relationships/image" Target="../media/image155.png"/><Relationship Id="rId5" Type="http://schemas.openxmlformats.org/officeDocument/2006/relationships/image" Target="../media/image142.png"/><Relationship Id="rId15" Type="http://schemas.openxmlformats.org/officeDocument/2006/relationships/image" Target="../media/image159.png"/><Relationship Id="rId10" Type="http://schemas.openxmlformats.org/officeDocument/2006/relationships/image" Target="../media/image154.png"/><Relationship Id="rId19" Type="http://schemas.openxmlformats.org/officeDocument/2006/relationships/image" Target="../media/image163.png"/><Relationship Id="rId4" Type="http://schemas.openxmlformats.org/officeDocument/2006/relationships/hyperlink" Target="https://adoption.microsoft.com/en-gb/ai-agents/templates-and-examples/" TargetMode="External"/><Relationship Id="rId9" Type="http://schemas.openxmlformats.org/officeDocument/2006/relationships/image" Target="../media/image153.png"/><Relationship Id="rId14" Type="http://schemas.openxmlformats.org/officeDocument/2006/relationships/image" Target="../media/image158.png"/></Relationships>
</file>

<file path=ppt/slides/_rels/slide3.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notesSlide" Target="../notesSlides/notesSlide3.xml"/><Relationship Id="rId1" Type="http://schemas.openxmlformats.org/officeDocument/2006/relationships/slideLayout" Target="../slideLayouts/slideLayout27.xml"/><Relationship Id="rId5" Type="http://schemas.openxmlformats.org/officeDocument/2006/relationships/image" Target="../media/image78.svg"/><Relationship Id="rId4" Type="http://schemas.openxmlformats.org/officeDocument/2006/relationships/image" Target="../media/image77.svg"/></Relationships>
</file>

<file path=ppt/slides/_rels/slide3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0.xml"/><Relationship Id="rId1" Type="http://schemas.openxmlformats.org/officeDocument/2006/relationships/slideLayout" Target="../slideLayouts/slideLayout47.xml"/><Relationship Id="rId4" Type="http://schemas.openxmlformats.org/officeDocument/2006/relationships/hyperlink" Target="https://adoption.microsoft.com/en-gb/ai-agents/templates-and-examples/"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1.xml"/><Relationship Id="rId1" Type="http://schemas.openxmlformats.org/officeDocument/2006/relationships/slideLayout" Target="../slideLayouts/slideLayout47.xml"/><Relationship Id="rId5" Type="http://schemas.openxmlformats.org/officeDocument/2006/relationships/image" Target="../media/image164.png"/><Relationship Id="rId4" Type="http://schemas.openxmlformats.org/officeDocument/2006/relationships/image" Target="../media/image166.png"/></Relationships>
</file>

<file path=ppt/slides/_rels/slide32.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50.png"/><Relationship Id="rId7" Type="http://schemas.openxmlformats.org/officeDocument/2006/relationships/image" Target="../media/image156.png"/><Relationship Id="rId2" Type="http://schemas.openxmlformats.org/officeDocument/2006/relationships/notesSlide" Target="../notesSlides/notesSlide32.xml"/><Relationship Id="rId1" Type="http://schemas.openxmlformats.org/officeDocument/2006/relationships/slideLayout" Target="../slideLayouts/slideLayout47.xml"/><Relationship Id="rId6" Type="http://schemas.openxmlformats.org/officeDocument/2006/relationships/image" Target="../media/image155.png"/><Relationship Id="rId5" Type="http://schemas.openxmlformats.org/officeDocument/2006/relationships/image" Target="../media/image154.png"/><Relationship Id="rId4" Type="http://schemas.openxmlformats.org/officeDocument/2006/relationships/image" Target="../media/image153.png"/><Relationship Id="rId9" Type="http://schemas.openxmlformats.org/officeDocument/2006/relationships/image" Target="../media/image16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35.xml"/><Relationship Id="rId1" Type="http://schemas.openxmlformats.org/officeDocument/2006/relationships/slideLayout" Target="../slideLayouts/slideLayout26.xml"/><Relationship Id="rId6" Type="http://schemas.openxmlformats.org/officeDocument/2006/relationships/image" Target="../media/image168.png"/><Relationship Id="rId5" Type="http://schemas.openxmlformats.org/officeDocument/2006/relationships/hyperlink" Target="https://adoption.microsoft.com/ai-agents/" TargetMode="External"/><Relationship Id="rId4" Type="http://schemas.microsoft.com/office/2007/relationships/hdphoto" Target="../media/hdphoto11.wdp"/></Relationships>
</file>

<file path=ppt/slides/_rels/slide3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6.xml"/><Relationship Id="rId1" Type="http://schemas.openxmlformats.org/officeDocument/2006/relationships/slideLayout" Target="../slideLayouts/slideLayout21.xml"/><Relationship Id="rId6" Type="http://schemas.openxmlformats.org/officeDocument/2006/relationships/hyperlink" Target="https://aka.ms/unified" TargetMode="External"/><Relationship Id="rId5" Type="http://schemas.openxmlformats.org/officeDocument/2006/relationships/hyperlink" Target="https://aka.ms/AMC/FASTTRACK" TargetMode="External"/><Relationship Id="rId4" Type="http://schemas.openxmlformats.org/officeDocument/2006/relationships/hyperlink" Target="https://cloudpartners.transform.microsoft.com/copilot-directory" TargetMode="External"/></Relationships>
</file>

<file path=ppt/slides/_rels/slide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73.png"/><Relationship Id="rId7" Type="http://schemas.openxmlformats.org/officeDocument/2006/relationships/image" Target="../media/image170.png"/><Relationship Id="rId2" Type="http://schemas.openxmlformats.org/officeDocument/2006/relationships/notesSlide" Target="../notesSlides/notesSlide37.xml"/><Relationship Id="rId1" Type="http://schemas.openxmlformats.org/officeDocument/2006/relationships/slideLayout" Target="../slideLayouts/slideLayout26.xml"/><Relationship Id="rId6" Type="http://schemas.openxmlformats.org/officeDocument/2006/relationships/hyperlink" Target="https://aka.ms/CustomerHubSessions" TargetMode="External"/><Relationship Id="rId5" Type="http://schemas.microsoft.com/office/2007/relationships/hdphoto" Target="../media/hdphoto12.wdp"/><Relationship Id="rId4" Type="http://schemas.openxmlformats.org/officeDocument/2006/relationships/image" Target="../media/image169.png"/></Relationships>
</file>

<file path=ppt/slides/_rels/slide3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8.xml"/><Relationship Id="rId1" Type="http://schemas.openxmlformats.org/officeDocument/2006/relationships/slideLayout" Target="../slideLayouts/slideLayout21.xml"/><Relationship Id="rId5" Type="http://schemas.openxmlformats.org/officeDocument/2006/relationships/image" Target="../media/image171.svg"/><Relationship Id="rId4" Type="http://schemas.openxmlformats.org/officeDocument/2006/relationships/hyperlink" Target="https://aka.ms/M365Champions"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39.xml"/><Relationship Id="rId1" Type="http://schemas.openxmlformats.org/officeDocument/2006/relationships/slideLayout" Target="../slideLayouts/slideLayout22.xml"/><Relationship Id="rId6" Type="http://schemas.microsoft.com/office/2007/relationships/hdphoto" Target="../media/hdphoto13.wdp"/><Relationship Id="rId5" Type="http://schemas.openxmlformats.org/officeDocument/2006/relationships/image" Target="../media/image173.png"/><Relationship Id="rId4" Type="http://schemas.openxmlformats.org/officeDocument/2006/relationships/hyperlink" Target="https://aka.ms/CustomerHubSurvey"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6.xml"/><Relationship Id="rId1" Type="http://schemas.openxmlformats.org/officeDocument/2006/relationships/slideLayout" Target="../slideLayouts/slideLayout41.xml"/><Relationship Id="rId4" Type="http://schemas.openxmlformats.org/officeDocument/2006/relationships/image" Target="../media/image80.png"/></Relationships>
</file>

<file path=ppt/slides/_rels/slide7.xml.rels><?xml version="1.0" encoding="UTF-8" standalone="yes"?>
<Relationships xmlns="http://schemas.openxmlformats.org/package/2006/relationships"><Relationship Id="rId3" Type="http://schemas.openxmlformats.org/officeDocument/2006/relationships/image" Target="../media/image81.svg"/><Relationship Id="rId7" Type="http://schemas.openxmlformats.org/officeDocument/2006/relationships/image" Target="../media/image85.svg"/><Relationship Id="rId2" Type="http://schemas.openxmlformats.org/officeDocument/2006/relationships/notesSlide" Target="../notesSlides/notesSlide7.xml"/><Relationship Id="rId1" Type="http://schemas.openxmlformats.org/officeDocument/2006/relationships/slideLayout" Target="../slideLayouts/slideLayout42.xml"/><Relationship Id="rId6" Type="http://schemas.openxmlformats.org/officeDocument/2006/relationships/image" Target="../media/image84.svg"/><Relationship Id="rId5" Type="http://schemas.openxmlformats.org/officeDocument/2006/relationships/image" Target="../media/image83.png"/><Relationship Id="rId4" Type="http://schemas.openxmlformats.org/officeDocument/2006/relationships/image" Target="../media/image82.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xml"/><Relationship Id="rId1" Type="http://schemas.openxmlformats.org/officeDocument/2006/relationships/slideLayout" Target="../slideLayouts/slideLayout43.xml"/><Relationship Id="rId4" Type="http://schemas.openxmlformats.org/officeDocument/2006/relationships/image" Target="../media/image8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0A61A9-49AA-B8BE-EEF7-EE610AE2884A}"/>
              </a:ext>
            </a:extLst>
          </p:cNvPr>
          <p:cNvSpPr>
            <a:spLocks noGrp="1"/>
          </p:cNvSpPr>
          <p:nvPr>
            <p:ph type="title"/>
          </p:nvPr>
        </p:nvSpPr>
        <p:spPr>
          <a:xfrm>
            <a:off x="591450" y="2511166"/>
            <a:ext cx="5163891" cy="1754326"/>
          </a:xfrm>
          <a:prstGeom prst="rect">
            <a:avLst/>
          </a:prstGeom>
        </p:spPr>
        <p:txBody>
          <a:bodyPr/>
          <a:lstStyle/>
          <a:p>
            <a:r>
              <a:rPr lang="es-es" dirty="0"/>
              <a:t>Agentes en una hora</a:t>
            </a:r>
          </a:p>
        </p:txBody>
      </p:sp>
      <p:sp>
        <p:nvSpPr>
          <p:cNvPr id="2" name="Text Placeholder 1">
            <a:extLst>
              <a:ext uri="{FF2B5EF4-FFF2-40B4-BE49-F238E27FC236}">
                <a16:creationId xmlns:a16="http://schemas.microsoft.com/office/drawing/2014/main" id="{79C55DFC-05C3-5211-7C8C-01629B2A242D}"/>
              </a:ext>
            </a:extLst>
          </p:cNvPr>
          <p:cNvSpPr>
            <a:spLocks noGrp="1"/>
          </p:cNvSpPr>
          <p:nvPr>
            <p:ph type="body" sz="quarter" idx="10"/>
          </p:nvPr>
        </p:nvSpPr>
        <p:spPr>
          <a:prstGeom prst="rect">
            <a:avLst/>
          </a:prstGeom>
        </p:spPr>
        <p:txBody>
          <a:bodyPr/>
          <a:lstStyle/>
          <a:p>
            <a:pPr lvl="0" defTabSz="457200">
              <a:lnSpc>
                <a:spcPct val="90000"/>
              </a:lnSpc>
              <a:spcBef>
                <a:spcPts val="0"/>
              </a:spcBef>
              <a:buSzTx/>
              <a:defRPr/>
            </a:pPr>
            <a:r>
              <a:rPr lang="es-es" dirty="0">
                <a:solidFill>
                  <a:prstClr val="white"/>
                </a:solidFill>
                <a:latin typeface="Segoe Sans Display" pitchFamily="2" charset="0"/>
              </a:rPr>
              <a:t>Descubre la eficacia de las plantillas y ejemplos </a:t>
            </a:r>
            <a:br>
              <a:rPr lang="es-es" dirty="0">
                <a:solidFill>
                  <a:prstClr val="white"/>
                </a:solidFill>
                <a:latin typeface="Segoe Sans Display" pitchFamily="2" charset="0"/>
              </a:rPr>
            </a:br>
            <a:r>
              <a:rPr lang="es-es" dirty="0">
                <a:solidFill>
                  <a:prstClr val="white"/>
                </a:solidFill>
                <a:latin typeface="Segoe Sans Display" pitchFamily="2" charset="0"/>
              </a:rPr>
              <a:t>de agentes en Generador de agentes</a:t>
            </a:r>
            <a:endParaRPr lang="en-US" dirty="0">
              <a:solidFill>
                <a:prstClr val="white"/>
              </a:solidFill>
              <a:latin typeface="Segoe Sans Display" pitchFamily="2" charset="0"/>
            </a:endParaRPr>
          </a:p>
        </p:txBody>
      </p:sp>
      <p:sp>
        <p:nvSpPr>
          <p:cNvPr id="3" name="object 33">
            <a:extLst>
              <a:ext uri="{FF2B5EF4-FFF2-40B4-BE49-F238E27FC236}">
                <a16:creationId xmlns:a16="http://schemas.microsoft.com/office/drawing/2014/main" id="{C933D51D-CF35-A3D9-6F54-C62823178A79}"/>
              </a:ext>
            </a:extLst>
          </p:cNvPr>
          <p:cNvSpPr txBox="1">
            <a:spLocks/>
          </p:cNvSpPr>
          <p:nvPr/>
        </p:nvSpPr>
        <p:spPr>
          <a:xfrm>
            <a:off x="571500" y="6410684"/>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0" lvl="0" indent="0" algn="l" defTabSz="914400" rtl="0" eaLnBrk="1" fontAlgn="auto" latinLnBrk="0" hangingPunct="1">
              <a:lnSpc>
                <a:spcPct val="100000"/>
              </a:lnSpc>
              <a:spcBef>
                <a:spcPts val="150"/>
              </a:spcBef>
              <a:spcAft>
                <a:spcPts val="0"/>
              </a:spcAft>
              <a:buClrTx/>
              <a:buSzTx/>
              <a:buFontTx/>
              <a:buNone/>
              <a:tabLst/>
              <a:defRPr/>
            </a:pPr>
            <a:r>
              <a:rPr kumimoji="0" lang="es-es" sz="800" b="0" i="0" u="none" strike="noStrike" kern="100" cap="none" spc="0" normalizeH="0" baseline="0" noProof="0">
                <a:ln>
                  <a:noFill/>
                </a:ln>
                <a:solidFill>
                  <a:prstClr val="white"/>
                </a:solidFill>
                <a:effectLst/>
                <a:uLnTx/>
                <a:uFillTx/>
                <a:latin typeface="Segoe Sans Small" pitchFamily="2" charset="0"/>
                <a:ea typeface="+mn-ea"/>
                <a:cs typeface="Segoe Sans Small" pitchFamily="2" charset="0"/>
              </a:rPr>
              <a:t>Información </a:t>
            </a:r>
            <a:r>
              <a:rPr kumimoji="0" lang="es-es" sz="800" b="0" i="0" u="none" strike="noStrike" kern="1200" cap="none" spc="0" normalizeH="0" baseline="0" noProof="0">
                <a:ln>
                  <a:noFill/>
                </a:ln>
                <a:solidFill>
                  <a:prstClr val="white"/>
                </a:solidFill>
                <a:effectLst/>
                <a:uLnTx/>
                <a:uFillTx/>
                <a:latin typeface="Segoe Sans Small" pitchFamily="2" charset="0"/>
                <a:ea typeface="+mn-ea"/>
                <a:cs typeface="Segoe Sans Small" pitchFamily="2" charset="0"/>
              </a:rPr>
              <a:t>confidencial de Microsoft</a:t>
            </a:r>
            <a:endParaRPr kumimoji="0" lang="en-US" sz="800" b="0" i="0" u="none" strike="noStrike" kern="100" cap="none" spc="0" normalizeH="0" baseline="0" noProof="0">
              <a:ln>
                <a:noFill/>
              </a:ln>
              <a:solidFill>
                <a:prstClr val="white"/>
              </a:solidFill>
              <a:effectLst/>
              <a:uLnTx/>
              <a:uFillTx/>
              <a:latin typeface="Segoe Sans Small" pitchFamily="2" charset="0"/>
              <a:ea typeface="+mn-ea"/>
              <a:cs typeface="Segoe Sans Small" pitchFamily="2" charset="0"/>
            </a:endParaRPr>
          </a:p>
        </p:txBody>
      </p:sp>
    </p:spTree>
    <p:extLst>
      <p:ext uri="{BB962C8B-B14F-4D97-AF65-F5344CB8AC3E}">
        <p14:creationId xmlns:p14="http://schemas.microsoft.com/office/powerpoint/2010/main" val="9662935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E8C73-E705-18A2-9CB3-6A00462DF6A2}"/>
            </a:ext>
          </a:extLst>
        </p:cNvPr>
        <p:cNvGrpSpPr/>
        <p:nvPr/>
      </p:nvGrpSpPr>
      <p:grpSpPr>
        <a:xfrm>
          <a:off x="0" y="0"/>
          <a:ext cx="0" cy="0"/>
          <a:chOff x="0" y="0"/>
          <a:chExt cx="0" cy="0"/>
        </a:xfrm>
      </p:grpSpPr>
      <p:sp>
        <p:nvSpPr>
          <p:cNvPr id="199" name="Graphic 197">
            <a:extLst>
              <a:ext uri="{FF2B5EF4-FFF2-40B4-BE49-F238E27FC236}">
                <a16:creationId xmlns:a16="http://schemas.microsoft.com/office/drawing/2014/main" id="{3D62C5A0-BA5F-94F9-4CAE-F535B85302BF}"/>
              </a:ext>
              <a:ext uri="{C183D7F6-B498-43B3-948B-1728B52AA6E4}">
                <adec:decorative xmlns:adec="http://schemas.microsoft.com/office/drawing/2017/decorative" val="1"/>
              </a:ext>
            </a:extLst>
          </p:cNvPr>
          <p:cNvSpPr>
            <a:spLocks/>
          </p:cNvSpPr>
          <p:nvPr/>
        </p:nvSpPr>
        <p:spPr>
          <a:xfrm>
            <a:off x="171450" y="1687547"/>
            <a:ext cx="11846451" cy="698294"/>
          </a:xfrm>
          <a:custGeom>
            <a:avLst/>
            <a:gdLst>
              <a:gd name="connsiteX0" fmla="*/ 18288 w 11846451"/>
              <a:gd name="connsiteY0" fmla="*/ 304176 h 698294"/>
              <a:gd name="connsiteX1" fmla="*/ 315665 w 11846451"/>
              <a:gd name="connsiteY1" fmla="*/ 6796 h 698294"/>
              <a:gd name="connsiteX2" fmla="*/ 352278 w 11846451"/>
              <a:gd name="connsiteY2" fmla="*/ 6796 h 698294"/>
              <a:gd name="connsiteX3" fmla="*/ 359861 w 11846451"/>
              <a:gd name="connsiteY3" fmla="*/ 25103 h 698294"/>
              <a:gd name="connsiteX4" fmla="*/ 359861 w 11846451"/>
              <a:gd name="connsiteY4" fmla="*/ 92978 h 698294"/>
              <a:gd name="connsiteX5" fmla="*/ 422364 w 11846451"/>
              <a:gd name="connsiteY5" fmla="*/ 155481 h 698294"/>
              <a:gd name="connsiteX6" fmla="*/ 11412665 w 11846451"/>
              <a:gd name="connsiteY6" fmla="*/ 155481 h 698294"/>
              <a:gd name="connsiteX7" fmla="*/ 11494580 w 11846451"/>
              <a:gd name="connsiteY7" fmla="*/ 73585 h 698294"/>
              <a:gd name="connsiteX8" fmla="*/ 11494580 w 11846451"/>
              <a:gd name="connsiteY8" fmla="*/ 44496 h 698294"/>
              <a:gd name="connsiteX9" fmla="*/ 11528489 w 11846451"/>
              <a:gd name="connsiteY9" fmla="*/ 10577 h 698294"/>
              <a:gd name="connsiteX10" fmla="*/ 11552491 w 11846451"/>
              <a:gd name="connsiteY10" fmla="*/ 20512 h 698294"/>
              <a:gd name="connsiteX11" fmla="*/ 11822431 w 11846451"/>
              <a:gd name="connsiteY11" fmla="*/ 290460 h 698294"/>
              <a:gd name="connsiteX12" fmla="*/ 11822431 w 11846451"/>
              <a:gd name="connsiteY12" fmla="*/ 406284 h 698294"/>
              <a:gd name="connsiteX13" fmla="*/ 11552491 w 11846451"/>
              <a:gd name="connsiteY13" fmla="*/ 676213 h 698294"/>
              <a:gd name="connsiteX14" fmla="*/ 11504486 w 11846451"/>
              <a:gd name="connsiteY14" fmla="*/ 676213 h 698294"/>
              <a:gd name="connsiteX15" fmla="*/ 11494580 w 11846451"/>
              <a:gd name="connsiteY15" fmla="*/ 652229 h 698294"/>
              <a:gd name="connsiteX16" fmla="*/ 11494580 w 11846451"/>
              <a:gd name="connsiteY16" fmla="*/ 623140 h 698294"/>
              <a:gd name="connsiteX17" fmla="*/ 11412665 w 11846451"/>
              <a:gd name="connsiteY17" fmla="*/ 541244 h 698294"/>
              <a:gd name="connsiteX18" fmla="*/ 422364 w 11846451"/>
              <a:gd name="connsiteY18" fmla="*/ 541244 h 698294"/>
              <a:gd name="connsiteX19" fmla="*/ 359861 w 11846451"/>
              <a:gd name="connsiteY19" fmla="*/ 603747 h 698294"/>
              <a:gd name="connsiteX20" fmla="*/ 359861 w 11846451"/>
              <a:gd name="connsiteY20" fmla="*/ 671622 h 698294"/>
              <a:gd name="connsiteX21" fmla="*/ 333970 w 11846451"/>
              <a:gd name="connsiteY21" fmla="*/ 697511 h 698294"/>
              <a:gd name="connsiteX22" fmla="*/ 315664 w 11846451"/>
              <a:gd name="connsiteY22" fmla="*/ 689929 h 698294"/>
              <a:gd name="connsiteX23" fmla="*/ 18289 w 11846451"/>
              <a:gd name="connsiteY23" fmla="*/ 392568 h 698294"/>
              <a:gd name="connsiteX24" fmla="*/ 18288 w 11846451"/>
              <a:gd name="connsiteY24" fmla="*/ 304176 h 698294"/>
              <a:gd name="connsiteX25" fmla="*/ 18288 w 11846451"/>
              <a:gd name="connsiteY25" fmla="*/ 304176 h 6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846451" h="698294">
                <a:moveTo>
                  <a:pt x="18288" y="304176"/>
                </a:moveTo>
                <a:lnTo>
                  <a:pt x="315665" y="6796"/>
                </a:lnTo>
                <a:cubicBezTo>
                  <a:pt x="325774" y="-3310"/>
                  <a:pt x="342167" y="-3310"/>
                  <a:pt x="352278" y="6796"/>
                </a:cubicBezTo>
                <a:cubicBezTo>
                  <a:pt x="357133" y="11654"/>
                  <a:pt x="359861" y="18235"/>
                  <a:pt x="359861" y="25103"/>
                </a:cubicBezTo>
                <a:lnTo>
                  <a:pt x="359861" y="92978"/>
                </a:lnTo>
                <a:cubicBezTo>
                  <a:pt x="359861" y="127497"/>
                  <a:pt x="387844" y="155481"/>
                  <a:pt x="422364" y="155481"/>
                </a:cubicBezTo>
                <a:lnTo>
                  <a:pt x="11412665" y="155481"/>
                </a:lnTo>
                <a:cubicBezTo>
                  <a:pt x="11457909" y="155481"/>
                  <a:pt x="11494580" y="118819"/>
                  <a:pt x="11494580" y="73585"/>
                </a:cubicBezTo>
                <a:lnTo>
                  <a:pt x="11494580" y="44496"/>
                </a:lnTo>
                <a:cubicBezTo>
                  <a:pt x="11494580" y="25760"/>
                  <a:pt x="11509724" y="10577"/>
                  <a:pt x="11528489" y="10577"/>
                </a:cubicBezTo>
                <a:cubicBezTo>
                  <a:pt x="11537538" y="10577"/>
                  <a:pt x="11546110" y="14149"/>
                  <a:pt x="11552491" y="20512"/>
                </a:cubicBezTo>
                <a:lnTo>
                  <a:pt x="11822431" y="290460"/>
                </a:lnTo>
                <a:cubicBezTo>
                  <a:pt x="11854435" y="322445"/>
                  <a:pt x="11854435" y="374299"/>
                  <a:pt x="11822431" y="406284"/>
                </a:cubicBezTo>
                <a:lnTo>
                  <a:pt x="11552491" y="676213"/>
                </a:lnTo>
                <a:cubicBezTo>
                  <a:pt x="11539252" y="689462"/>
                  <a:pt x="11517726" y="689462"/>
                  <a:pt x="11504486" y="676213"/>
                </a:cubicBezTo>
                <a:cubicBezTo>
                  <a:pt x="11498199" y="669850"/>
                  <a:pt x="11494580" y="661221"/>
                  <a:pt x="11494580" y="652229"/>
                </a:cubicBezTo>
                <a:lnTo>
                  <a:pt x="11494580" y="623140"/>
                </a:lnTo>
                <a:cubicBezTo>
                  <a:pt x="11494580" y="577905"/>
                  <a:pt x="11457909" y="541244"/>
                  <a:pt x="11412665" y="541244"/>
                </a:cubicBezTo>
                <a:lnTo>
                  <a:pt x="422364" y="541244"/>
                </a:lnTo>
                <a:cubicBezTo>
                  <a:pt x="387844" y="541244"/>
                  <a:pt x="359861" y="569228"/>
                  <a:pt x="359861" y="603747"/>
                </a:cubicBezTo>
                <a:lnTo>
                  <a:pt x="359861" y="671622"/>
                </a:lnTo>
                <a:cubicBezTo>
                  <a:pt x="359861" y="685919"/>
                  <a:pt x="348269" y="697511"/>
                  <a:pt x="333970" y="697511"/>
                </a:cubicBezTo>
                <a:cubicBezTo>
                  <a:pt x="327104" y="697511"/>
                  <a:pt x="320519" y="694787"/>
                  <a:pt x="315664" y="689929"/>
                </a:cubicBezTo>
                <a:lnTo>
                  <a:pt x="18289" y="392568"/>
                </a:lnTo>
                <a:cubicBezTo>
                  <a:pt x="-6119" y="368155"/>
                  <a:pt x="-6120" y="328589"/>
                  <a:pt x="18288" y="304176"/>
                </a:cubicBezTo>
                <a:cubicBezTo>
                  <a:pt x="18288" y="304176"/>
                  <a:pt x="18288" y="304176"/>
                  <a:pt x="18288" y="304176"/>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pic>
        <p:nvPicPr>
          <p:cNvPr id="65" name="Picture 64">
            <a:extLst>
              <a:ext uri="{FF2B5EF4-FFF2-40B4-BE49-F238E27FC236}">
                <a16:creationId xmlns:a16="http://schemas.microsoft.com/office/drawing/2014/main" id="{7CED751B-9B21-0E9E-BDAC-B743287D42EF}"/>
              </a:ext>
              <a:ext uri="{C183D7F6-B498-43B3-948B-1728B52AA6E4}">
                <adec:decorative xmlns:adec="http://schemas.microsoft.com/office/drawing/2017/decorative" val="1"/>
              </a:ext>
            </a:extLst>
          </p:cNvPr>
          <p:cNvPicPr>
            <a:picLocks/>
          </p:cNvPicPr>
          <p:nvPr/>
        </p:nvPicPr>
        <p:blipFill rotWithShape="1">
          <a:blip r:embed="rId4">
            <a:alphaModFix amt="45000"/>
          </a:blip>
          <a:srcRect l="7533" t="35613" r="65955" b="15124"/>
          <a:stretch/>
        </p:blipFill>
        <p:spPr>
          <a:xfrm>
            <a:off x="587374" y="2347804"/>
            <a:ext cx="11017254" cy="3690067"/>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8" name="Rectangle: Rounded Corners 67">
            <a:extLst>
              <a:ext uri="{FF2B5EF4-FFF2-40B4-BE49-F238E27FC236}">
                <a16:creationId xmlns:a16="http://schemas.microsoft.com/office/drawing/2014/main" id="{78872B9C-6B24-D12C-18D3-A6B2CCE4416C}"/>
              </a:ext>
              <a:ext uri="{C183D7F6-B498-43B3-948B-1728B52AA6E4}">
                <adec:decorative xmlns:adec="http://schemas.microsoft.com/office/drawing/2017/decorative" val="1"/>
              </a:ext>
            </a:extLst>
          </p:cNvPr>
          <p:cNvSpPr>
            <a:spLocks/>
          </p:cNvSpPr>
          <p:nvPr/>
        </p:nvSpPr>
        <p:spPr bwMode="auto">
          <a:xfrm>
            <a:off x="754914" y="2744483"/>
            <a:ext cx="10682172" cy="460605"/>
          </a:xfrm>
          <a:prstGeom prst="roundRect">
            <a:avLst>
              <a:gd name="adj" fmla="val 1243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0" name="TextBox 69">
            <a:extLst>
              <a:ext uri="{FF2B5EF4-FFF2-40B4-BE49-F238E27FC236}">
                <a16:creationId xmlns:a16="http://schemas.microsoft.com/office/drawing/2014/main" id="{233A7341-BAE1-DE61-E3C7-449FB1EE390E}"/>
              </a:ext>
              <a:ext uri="{C183D7F6-B498-43B3-948B-1728B52AA6E4}">
                <adec:decorative xmlns:adec="http://schemas.microsoft.com/office/drawing/2017/decorative" val="1"/>
              </a:ext>
            </a:extLst>
          </p:cNvPr>
          <p:cNvSpPr txBox="1">
            <a:spLocks/>
          </p:cNvSpPr>
          <p:nvPr/>
        </p:nvSpPr>
        <p:spPr>
          <a:xfrm>
            <a:off x="83868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3F15E6EC-8770-93F5-B928-BD207A7F1B71}"/>
              </a:ext>
              <a:ext uri="{C183D7F6-B498-43B3-948B-1728B52AA6E4}">
                <adec:decorative xmlns:adec="http://schemas.microsoft.com/office/drawing/2017/decorative" val="1"/>
              </a:ext>
            </a:extLst>
          </p:cNvPr>
          <p:cNvSpPr txBox="1">
            <a:spLocks/>
          </p:cNvSpPr>
          <p:nvPr/>
        </p:nvSpPr>
        <p:spPr>
          <a:xfrm>
            <a:off x="437150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2" name="TextBox 71">
            <a:extLst>
              <a:ext uri="{FF2B5EF4-FFF2-40B4-BE49-F238E27FC236}">
                <a16:creationId xmlns:a16="http://schemas.microsoft.com/office/drawing/2014/main" id="{87997BF2-7DC2-BAEB-1534-37FC596F526B}"/>
              </a:ext>
              <a:ext uri="{C183D7F6-B498-43B3-948B-1728B52AA6E4}">
                <adec:decorative xmlns:adec="http://schemas.microsoft.com/office/drawing/2017/decorative" val="1"/>
              </a:ext>
            </a:extLst>
          </p:cNvPr>
          <p:cNvSpPr txBox="1">
            <a:spLocks/>
          </p:cNvSpPr>
          <p:nvPr/>
        </p:nvSpPr>
        <p:spPr>
          <a:xfrm>
            <a:off x="7904325" y="3677256"/>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89" name="Freeform: Shape 33">
            <a:extLst>
              <a:ext uri="{FF2B5EF4-FFF2-40B4-BE49-F238E27FC236}">
                <a16:creationId xmlns:a16="http://schemas.microsoft.com/office/drawing/2014/main" id="{73CA232F-0159-198D-6414-D725CA47FD39}"/>
              </a:ext>
              <a:ext uri="{C183D7F6-B498-43B3-948B-1728B52AA6E4}">
                <adec:decorative xmlns:adec="http://schemas.microsoft.com/office/drawing/2017/decorative" val="1"/>
              </a:ext>
            </a:extLst>
          </p:cNvPr>
          <p:cNvSpPr>
            <a:spLocks/>
          </p:cNvSpPr>
          <p:nvPr/>
        </p:nvSpPr>
        <p:spPr bwMode="auto">
          <a:xfrm>
            <a:off x="2102644"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0" name="Rectangle: Top Corners Rounded 189">
            <a:extLst>
              <a:ext uri="{FF2B5EF4-FFF2-40B4-BE49-F238E27FC236}">
                <a16:creationId xmlns:a16="http://schemas.microsoft.com/office/drawing/2014/main" id="{88BF5521-BAE2-2AD1-8DA1-8EB9B62E8FEE}"/>
              </a:ext>
              <a:ext uri="{C183D7F6-B498-43B3-948B-1728B52AA6E4}">
                <adec:decorative xmlns:adec="http://schemas.microsoft.com/office/drawing/2017/decorative" val="1"/>
              </a:ext>
            </a:extLst>
          </p:cNvPr>
          <p:cNvSpPr/>
          <p:nvPr/>
        </p:nvSpPr>
        <p:spPr bwMode="auto">
          <a:xfrm>
            <a:off x="2193966" y="3602854"/>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1" name="Rectangle: Top Corners Rounded 190">
            <a:extLst>
              <a:ext uri="{FF2B5EF4-FFF2-40B4-BE49-F238E27FC236}">
                <a16:creationId xmlns:a16="http://schemas.microsoft.com/office/drawing/2014/main" id="{14A64C33-16DC-7A88-2074-CE2260BB9280}"/>
              </a:ext>
              <a:ext uri="{C183D7F6-B498-43B3-948B-1728B52AA6E4}">
                <adec:decorative xmlns:adec="http://schemas.microsoft.com/office/drawing/2017/decorative" val="1"/>
              </a:ext>
            </a:extLst>
          </p:cNvPr>
          <p:cNvSpPr/>
          <p:nvPr/>
        </p:nvSpPr>
        <p:spPr bwMode="auto">
          <a:xfrm>
            <a:off x="5726786" y="3602854"/>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2" name="Rectangle: Top Corners Rounded 191">
            <a:extLst>
              <a:ext uri="{FF2B5EF4-FFF2-40B4-BE49-F238E27FC236}">
                <a16:creationId xmlns:a16="http://schemas.microsoft.com/office/drawing/2014/main" id="{B84014CF-13CE-4276-7475-00E4793AAA6B}"/>
              </a:ext>
              <a:ext uri="{C183D7F6-B498-43B3-948B-1728B52AA6E4}">
                <adec:decorative xmlns:adec="http://schemas.microsoft.com/office/drawing/2017/decorative" val="1"/>
              </a:ext>
            </a:extLst>
          </p:cNvPr>
          <p:cNvSpPr>
            <a:spLocks/>
          </p:cNvSpPr>
          <p:nvPr/>
        </p:nvSpPr>
        <p:spPr bwMode="auto">
          <a:xfrm>
            <a:off x="9259608" y="3602854"/>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3" name="Freeform: Shape 33">
            <a:extLst>
              <a:ext uri="{FF2B5EF4-FFF2-40B4-BE49-F238E27FC236}">
                <a16:creationId xmlns:a16="http://schemas.microsoft.com/office/drawing/2014/main" id="{16C4E3A3-5D89-9FC1-A595-6635A08D0666}"/>
              </a:ext>
              <a:ext uri="{C183D7F6-B498-43B3-948B-1728B52AA6E4}">
                <adec:decorative xmlns:adec="http://schemas.microsoft.com/office/drawing/2017/decorative" val="1"/>
              </a:ext>
            </a:extLst>
          </p:cNvPr>
          <p:cNvSpPr>
            <a:spLocks/>
          </p:cNvSpPr>
          <p:nvPr/>
        </p:nvSpPr>
        <p:spPr bwMode="auto">
          <a:xfrm>
            <a:off x="5667429"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4" name="Freeform: Shape 33">
            <a:extLst>
              <a:ext uri="{FF2B5EF4-FFF2-40B4-BE49-F238E27FC236}">
                <a16:creationId xmlns:a16="http://schemas.microsoft.com/office/drawing/2014/main" id="{A320D534-B994-8904-35F1-D7A2ECB98B3C}"/>
              </a:ext>
              <a:ext uri="{C183D7F6-B498-43B3-948B-1728B52AA6E4}">
                <adec:decorative xmlns:adec="http://schemas.microsoft.com/office/drawing/2017/decorative" val="1"/>
              </a:ext>
            </a:extLst>
          </p:cNvPr>
          <p:cNvSpPr>
            <a:spLocks/>
          </p:cNvSpPr>
          <p:nvPr/>
        </p:nvSpPr>
        <p:spPr bwMode="auto">
          <a:xfrm>
            <a:off x="9200252"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itle 7">
            <a:extLst>
              <a:ext uri="{FF2B5EF4-FFF2-40B4-BE49-F238E27FC236}">
                <a16:creationId xmlns:a16="http://schemas.microsoft.com/office/drawing/2014/main" id="{38C9752E-5A93-D91F-A6ED-429E5596D50B}"/>
              </a:ext>
            </a:extLst>
          </p:cNvPr>
          <p:cNvSpPr>
            <a:spLocks noGrp="1"/>
          </p:cNvSpPr>
          <p:nvPr>
            <p:ph type="title"/>
          </p:nvPr>
        </p:nvSpPr>
        <p:spPr/>
        <p:txBody>
          <a:bodyPr/>
          <a:lstStyle/>
          <a:p>
            <a:pPr algn="ctr"/>
            <a:r>
              <a:rPr lang="es-es">
                <a:solidFill>
                  <a:schemeClr val="tx1"/>
                </a:solidFill>
              </a:rPr>
              <a:t>¿Qué son los </a:t>
            </a:r>
            <a:r>
              <a:rPr lang="es-es" sz="3200">
                <a:gradFill flip="none" rotWithShape="1">
                  <a:gsLst>
                    <a:gs pos="12000">
                      <a:srgbClr val="8661C5"/>
                    </a:gs>
                    <a:gs pos="87000">
                      <a:srgbClr val="0078D4"/>
                    </a:gs>
                  </a:gsLst>
                  <a:lin ang="10800000" scaled="1"/>
                  <a:tileRect/>
                </a:gradFill>
                <a:latin typeface="Segoe UI Semibold"/>
                <a:cs typeface="Segoe UI Semibold"/>
              </a:rPr>
              <a:t>agentes de Copilot</a:t>
            </a:r>
            <a:endParaRPr lang="en-US">
              <a:solidFill>
                <a:schemeClr val="tx1"/>
              </a:solidFill>
            </a:endParaRPr>
          </a:p>
        </p:txBody>
      </p:sp>
      <p:sp>
        <p:nvSpPr>
          <p:cNvPr id="4" name="Slide Number Placeholder 5">
            <a:extLst>
              <a:ext uri="{FF2B5EF4-FFF2-40B4-BE49-F238E27FC236}">
                <a16:creationId xmlns:a16="http://schemas.microsoft.com/office/drawing/2014/main" id="{224D3A1A-3317-5B8E-32B8-35BF5D74FD8D}"/>
              </a:ext>
            </a:extLst>
          </p:cNvPr>
          <p:cNvSpPr>
            <a:spLocks noGrp="1"/>
          </p:cNvSpPr>
          <p:nvPr>
            <p:ph type="sldNum" sz="quarter" idx="4"/>
          </p:nvPr>
        </p:nvSpPr>
        <p:spPr>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C0151E6-08A3-4246-B91A-F3551DAD1FF4}" type="slidenum">
              <a:rPr kumimoji="0" lang="en-IN"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IN" sz="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Title 7">
            <a:extLst>
              <a:ext uri="{FF2B5EF4-FFF2-40B4-BE49-F238E27FC236}">
                <a16:creationId xmlns:a16="http://schemas.microsoft.com/office/drawing/2014/main" id="{AD91DF35-5288-8BC9-24F6-7C5E89C00D7F}"/>
              </a:ext>
            </a:extLst>
          </p:cNvPr>
          <p:cNvSpPr txBox="1">
            <a:spLocks/>
          </p:cNvSpPr>
          <p:nvPr/>
        </p:nvSpPr>
        <p:spPr>
          <a:xfrm>
            <a:off x="587375" y="1048051"/>
            <a:ext cx="11017250"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s-es" sz="20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Los agentes de Copilot son asistentes de IA que pueden ayudar a optimizar procesos empresariales y aumentar la productividad </a:t>
            </a:r>
          </a:p>
        </p:txBody>
      </p:sp>
      <p:sp>
        <p:nvSpPr>
          <p:cNvPr id="61" name="Title 7">
            <a:extLst>
              <a:ext uri="{FF2B5EF4-FFF2-40B4-BE49-F238E27FC236}">
                <a16:creationId xmlns:a16="http://schemas.microsoft.com/office/drawing/2014/main" id="{6FB747C8-00AA-5297-C57E-F4B7E37D10E2}"/>
              </a:ext>
            </a:extLst>
          </p:cNvPr>
          <p:cNvSpPr txBox="1">
            <a:spLocks/>
          </p:cNvSpPr>
          <p:nvPr/>
        </p:nvSpPr>
        <p:spPr>
          <a:xfrm>
            <a:off x="587375" y="1882806"/>
            <a:ext cx="11017250" cy="30777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s-es" sz="2000" b="0" i="0" u="none" strike="noStrike" kern="1200" cap="none" spc="0" normalizeH="0" baseline="0" noProof="0">
                <a:ln w="3175">
                  <a:noFill/>
                </a:ln>
                <a:solidFill>
                  <a:srgbClr val="FFFFFF"/>
                </a:solidFill>
                <a:effectLst/>
                <a:uLnTx/>
                <a:uFillTx/>
                <a:latin typeface="Segoe UI Semibold"/>
                <a:ea typeface="+mn-ea"/>
                <a:cs typeface="Segoe UI" pitchFamily="34" charset="0"/>
              </a:rPr>
              <a:t>Los agentes de Copilot varían en niveles de complejidad y capacidades según lo que necesites</a:t>
            </a:r>
          </a:p>
        </p:txBody>
      </p:sp>
      <p:sp>
        <p:nvSpPr>
          <p:cNvPr id="6" name="Rectangle 5" descr="Flecha que muestra un flujo en el que la recuperación, la tarea y la autonomía pasan de lo central a lo avanzado.">
            <a:extLst>
              <a:ext uri="{FF2B5EF4-FFF2-40B4-BE49-F238E27FC236}">
                <a16:creationId xmlns:a16="http://schemas.microsoft.com/office/drawing/2014/main" id="{785C6AA9-9767-6986-D7F5-6B339A71047B}"/>
              </a:ext>
            </a:extLst>
          </p:cNvPr>
          <p:cNvSpPr/>
          <p:nvPr/>
        </p:nvSpPr>
        <p:spPr bwMode="auto">
          <a:xfrm>
            <a:off x="6007589"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53808FAD-EB6C-D020-244D-AA0C8406A206}"/>
              </a:ext>
            </a:extLst>
          </p:cNvPr>
          <p:cNvSpPr txBox="1">
            <a:spLocks/>
          </p:cNvSpPr>
          <p:nvPr/>
        </p:nvSpPr>
        <p:spPr>
          <a:xfrm>
            <a:off x="838683" y="2851675"/>
            <a:ext cx="727567"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s-es" sz="1600" b="0" i="0" u="none" strike="noStrike" kern="1200" cap="none" spc="0" normalizeH="0" baseline="0" noProof="0">
                <a:ln w="3175">
                  <a:noFill/>
                </a:ln>
                <a:solidFill>
                  <a:srgbClr val="FF5C39"/>
                </a:solidFill>
                <a:effectLst/>
                <a:uLnTx/>
                <a:uFillTx/>
                <a:latin typeface="Segoe UI Semibold"/>
                <a:ea typeface="+mn-ea"/>
                <a:cs typeface="Segoe UI" pitchFamily="34" charset="0"/>
              </a:rPr>
              <a:t>Sencillo</a:t>
            </a:r>
          </a:p>
        </p:txBody>
      </p:sp>
      <p:sp>
        <p:nvSpPr>
          <p:cNvPr id="7" name="Rectangle 6" descr="Avanzado">
            <a:extLst>
              <a:ext uri="{FF2B5EF4-FFF2-40B4-BE49-F238E27FC236}">
                <a16:creationId xmlns:a16="http://schemas.microsoft.com/office/drawing/2014/main" id="{74815DC9-13A8-0BCE-430E-6E4F8ABDBC2A}"/>
              </a:ext>
            </a:extLst>
          </p:cNvPr>
          <p:cNvSpPr/>
          <p:nvPr/>
        </p:nvSpPr>
        <p:spPr bwMode="auto">
          <a:xfrm>
            <a:off x="9541735"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TextBox 74">
            <a:extLst>
              <a:ext uri="{FF2B5EF4-FFF2-40B4-BE49-F238E27FC236}">
                <a16:creationId xmlns:a16="http://schemas.microsoft.com/office/drawing/2014/main" id="{85CB489A-9C5D-E635-F804-489A1FA2C1EB}"/>
              </a:ext>
              <a:ext uri="{C183D7F6-B498-43B3-948B-1728B52AA6E4}">
                <adec:decorative xmlns:adec="http://schemas.microsoft.com/office/drawing/2017/decorative" val="1"/>
              </a:ext>
            </a:extLst>
          </p:cNvPr>
          <p:cNvSpPr txBox="1">
            <a:spLocks/>
          </p:cNvSpPr>
          <p:nvPr/>
        </p:nvSpPr>
        <p:spPr>
          <a:xfrm>
            <a:off x="10363252" y="2851675"/>
            <a:ext cx="990066"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es-es" sz="1600" b="0" i="0" u="none" strike="noStrike" kern="1200" cap="none" spc="0" normalizeH="0" baseline="0" noProof="0">
                <a:ln w="3175">
                  <a:noFill/>
                </a:ln>
                <a:solidFill>
                  <a:srgbClr val="14938C"/>
                </a:solidFill>
                <a:effectLst/>
                <a:uLnTx/>
                <a:uFillTx/>
                <a:latin typeface="Segoe UI Semibold"/>
                <a:ea typeface="+mn-ea"/>
                <a:cs typeface="Segoe UI" pitchFamily="34" charset="0"/>
              </a:rPr>
              <a:t>Avanzado</a:t>
            </a:r>
          </a:p>
        </p:txBody>
      </p:sp>
      <p:sp>
        <p:nvSpPr>
          <p:cNvPr id="2" name="Graphic 21" descr="Icono de chip de ordenador">
            <a:extLst>
              <a:ext uri="{FF2B5EF4-FFF2-40B4-BE49-F238E27FC236}">
                <a16:creationId xmlns:a16="http://schemas.microsoft.com/office/drawing/2014/main" id="{EEC11685-C807-DD4F-32AC-E6630A9CCDC7}"/>
              </a:ext>
            </a:extLst>
          </p:cNvPr>
          <p:cNvSpPr>
            <a:spLocks/>
          </p:cNvSpPr>
          <p:nvPr/>
        </p:nvSpPr>
        <p:spPr>
          <a:xfrm>
            <a:off x="2331134" y="2774698"/>
            <a:ext cx="400160" cy="400174"/>
          </a:xfrm>
          <a:custGeom>
            <a:avLst/>
            <a:gdLst>
              <a:gd name="connsiteX0" fmla="*/ 126206 w 190500"/>
              <a:gd name="connsiteY0" fmla="*/ 0 h 190500"/>
              <a:gd name="connsiteX1" fmla="*/ 133283 w 190500"/>
              <a:gd name="connsiteY1" fmla="*/ 6172 h 190500"/>
              <a:gd name="connsiteX2" fmla="*/ 133350 w 190500"/>
              <a:gd name="connsiteY2" fmla="*/ 7144 h 190500"/>
              <a:gd name="connsiteX3" fmla="*/ 133350 w 190500"/>
              <a:gd name="connsiteY3" fmla="*/ 29289 h 190500"/>
              <a:gd name="connsiteX4" fmla="*/ 161220 w 190500"/>
              <a:gd name="connsiteY4" fmla="*/ 57198 h 190500"/>
              <a:gd name="connsiteX5" fmla="*/ 183356 w 190500"/>
              <a:gd name="connsiteY5" fmla="*/ 57198 h 190500"/>
              <a:gd name="connsiteX6" fmla="*/ 190498 w 190500"/>
              <a:gd name="connsiteY6" fmla="*/ 64344 h 190500"/>
              <a:gd name="connsiteX7" fmla="*/ 184328 w 190500"/>
              <a:gd name="connsiteY7" fmla="*/ 71418 h 190500"/>
              <a:gd name="connsiteX8" fmla="*/ 183356 w 190500"/>
              <a:gd name="connsiteY8" fmla="*/ 71485 h 190500"/>
              <a:gd name="connsiteX9" fmla="*/ 161925 w 190500"/>
              <a:gd name="connsiteY9" fmla="*/ 71476 h 190500"/>
              <a:gd name="connsiteX10" fmla="*/ 161925 w 190500"/>
              <a:gd name="connsiteY10" fmla="*/ 88144 h 190500"/>
              <a:gd name="connsiteX11" fmla="*/ 183356 w 190500"/>
              <a:gd name="connsiteY11" fmla="*/ 88144 h 190500"/>
              <a:gd name="connsiteX12" fmla="*/ 190433 w 190500"/>
              <a:gd name="connsiteY12" fmla="*/ 94336 h 190500"/>
              <a:gd name="connsiteX13" fmla="*/ 190500 w 190500"/>
              <a:gd name="connsiteY13" fmla="*/ 95288 h 190500"/>
              <a:gd name="connsiteX14" fmla="*/ 184328 w 190500"/>
              <a:gd name="connsiteY14" fmla="*/ 102375 h 190500"/>
              <a:gd name="connsiteX15" fmla="*/ 183356 w 190500"/>
              <a:gd name="connsiteY15" fmla="*/ 102441 h 190500"/>
              <a:gd name="connsiteX16" fmla="*/ 161925 w 190500"/>
              <a:gd name="connsiteY16" fmla="*/ 102432 h 190500"/>
              <a:gd name="connsiteX17" fmla="*/ 161925 w 190500"/>
              <a:gd name="connsiteY17" fmla="*/ 119101 h 190500"/>
              <a:gd name="connsiteX18" fmla="*/ 183356 w 190500"/>
              <a:gd name="connsiteY18" fmla="*/ 119101 h 190500"/>
              <a:gd name="connsiteX19" fmla="*/ 190433 w 190500"/>
              <a:gd name="connsiteY19" fmla="*/ 125292 h 190500"/>
              <a:gd name="connsiteX20" fmla="*/ 190500 w 190500"/>
              <a:gd name="connsiteY20" fmla="*/ 126244 h 190500"/>
              <a:gd name="connsiteX21" fmla="*/ 184328 w 190500"/>
              <a:gd name="connsiteY21" fmla="*/ 133331 h 190500"/>
              <a:gd name="connsiteX22" fmla="*/ 183356 w 190500"/>
              <a:gd name="connsiteY22" fmla="*/ 133398 h 190500"/>
              <a:gd name="connsiteX23" fmla="*/ 161201 w 190500"/>
              <a:gd name="connsiteY23" fmla="*/ 133398 h 190500"/>
              <a:gd name="connsiteX24" fmla="*/ 133350 w 190500"/>
              <a:gd name="connsiteY24" fmla="*/ 161211 h 190500"/>
              <a:gd name="connsiteX25" fmla="*/ 133350 w 190500"/>
              <a:gd name="connsiteY25" fmla="*/ 183356 h 190500"/>
              <a:gd name="connsiteX26" fmla="*/ 126204 w 190500"/>
              <a:gd name="connsiteY26" fmla="*/ 190498 h 190500"/>
              <a:gd name="connsiteX27" fmla="*/ 119129 w 190500"/>
              <a:gd name="connsiteY27" fmla="*/ 184328 h 190500"/>
              <a:gd name="connsiteX28" fmla="*/ 119063 w 190500"/>
              <a:gd name="connsiteY28" fmla="*/ 183356 h 190500"/>
              <a:gd name="connsiteX29" fmla="*/ 119063 w 190500"/>
              <a:gd name="connsiteY29" fmla="*/ 161915 h 190500"/>
              <a:gd name="connsiteX30" fmla="*/ 102384 w 190500"/>
              <a:gd name="connsiteY30" fmla="*/ 161915 h 190500"/>
              <a:gd name="connsiteX31" fmla="*/ 102394 w 190500"/>
              <a:gd name="connsiteY31" fmla="*/ 183356 h 190500"/>
              <a:gd name="connsiteX32" fmla="*/ 96222 w 190500"/>
              <a:gd name="connsiteY32" fmla="*/ 190433 h 190500"/>
              <a:gd name="connsiteX33" fmla="*/ 95250 w 190500"/>
              <a:gd name="connsiteY33" fmla="*/ 190500 h 190500"/>
              <a:gd name="connsiteX34" fmla="*/ 88173 w 190500"/>
              <a:gd name="connsiteY34" fmla="*/ 184328 h 190500"/>
              <a:gd name="connsiteX35" fmla="*/ 88106 w 190500"/>
              <a:gd name="connsiteY35" fmla="*/ 183356 h 190500"/>
              <a:gd name="connsiteX36" fmla="*/ 88097 w 190500"/>
              <a:gd name="connsiteY36" fmla="*/ 161915 h 190500"/>
              <a:gd name="connsiteX37" fmla="*/ 71438 w 190500"/>
              <a:gd name="connsiteY37" fmla="*/ 161915 h 190500"/>
              <a:gd name="connsiteX38" fmla="*/ 71438 w 190500"/>
              <a:gd name="connsiteY38" fmla="*/ 183356 h 190500"/>
              <a:gd name="connsiteX39" fmla="*/ 65265 w 190500"/>
              <a:gd name="connsiteY39" fmla="*/ 190433 h 190500"/>
              <a:gd name="connsiteX40" fmla="*/ 64294 w 190500"/>
              <a:gd name="connsiteY40" fmla="*/ 190500 h 190500"/>
              <a:gd name="connsiteX41" fmla="*/ 57217 w 190500"/>
              <a:gd name="connsiteY41" fmla="*/ 184328 h 190500"/>
              <a:gd name="connsiteX42" fmla="*/ 57150 w 190500"/>
              <a:gd name="connsiteY42" fmla="*/ 183356 h 190500"/>
              <a:gd name="connsiteX43" fmla="*/ 57150 w 190500"/>
              <a:gd name="connsiteY43" fmla="*/ 161211 h 190500"/>
              <a:gd name="connsiteX44" fmla="*/ 29289 w 190500"/>
              <a:gd name="connsiteY44" fmla="*/ 133350 h 190500"/>
              <a:gd name="connsiteX45" fmla="*/ 7144 w 190500"/>
              <a:gd name="connsiteY45" fmla="*/ 133350 h 190500"/>
              <a:gd name="connsiteX46" fmla="*/ 2 w 190500"/>
              <a:gd name="connsiteY46" fmla="*/ 126204 h 190500"/>
              <a:gd name="connsiteX47" fmla="*/ 6172 w 190500"/>
              <a:gd name="connsiteY47" fmla="*/ 119129 h 190500"/>
              <a:gd name="connsiteX48" fmla="*/ 7144 w 190500"/>
              <a:gd name="connsiteY48" fmla="*/ 119063 h 190500"/>
              <a:gd name="connsiteX49" fmla="*/ 28575 w 190500"/>
              <a:gd name="connsiteY49" fmla="*/ 119053 h 190500"/>
              <a:gd name="connsiteX50" fmla="*/ 28575 w 190500"/>
              <a:gd name="connsiteY50" fmla="*/ 102384 h 190500"/>
              <a:gd name="connsiteX51" fmla="*/ 7144 w 190500"/>
              <a:gd name="connsiteY51" fmla="*/ 102394 h 190500"/>
              <a:gd name="connsiteX52" fmla="*/ 67 w 190500"/>
              <a:gd name="connsiteY52" fmla="*/ 96222 h 190500"/>
              <a:gd name="connsiteX53" fmla="*/ 0 w 190500"/>
              <a:gd name="connsiteY53" fmla="*/ 95250 h 190500"/>
              <a:gd name="connsiteX54" fmla="*/ 6172 w 190500"/>
              <a:gd name="connsiteY54" fmla="*/ 88173 h 190500"/>
              <a:gd name="connsiteX55" fmla="*/ 7144 w 190500"/>
              <a:gd name="connsiteY55" fmla="*/ 88106 h 190500"/>
              <a:gd name="connsiteX56" fmla="*/ 28575 w 190500"/>
              <a:gd name="connsiteY56" fmla="*/ 88097 h 190500"/>
              <a:gd name="connsiteX57" fmla="*/ 28575 w 190500"/>
              <a:gd name="connsiteY57" fmla="*/ 71428 h 190500"/>
              <a:gd name="connsiteX58" fmla="*/ 7144 w 190500"/>
              <a:gd name="connsiteY58" fmla="*/ 71438 h 190500"/>
              <a:gd name="connsiteX59" fmla="*/ 67 w 190500"/>
              <a:gd name="connsiteY59" fmla="*/ 65265 h 190500"/>
              <a:gd name="connsiteX60" fmla="*/ 0 w 190500"/>
              <a:gd name="connsiteY60" fmla="*/ 64294 h 190500"/>
              <a:gd name="connsiteX61" fmla="*/ 6172 w 190500"/>
              <a:gd name="connsiteY61" fmla="*/ 57217 h 190500"/>
              <a:gd name="connsiteX62" fmla="*/ 7144 w 190500"/>
              <a:gd name="connsiteY62" fmla="*/ 57150 h 190500"/>
              <a:gd name="connsiteX63" fmla="*/ 29289 w 190500"/>
              <a:gd name="connsiteY63" fmla="*/ 57140 h 190500"/>
              <a:gd name="connsiteX64" fmla="*/ 57150 w 190500"/>
              <a:gd name="connsiteY64" fmla="*/ 29289 h 190500"/>
              <a:gd name="connsiteX65" fmla="*/ 57150 w 190500"/>
              <a:gd name="connsiteY65" fmla="*/ 7144 h 190500"/>
              <a:gd name="connsiteX66" fmla="*/ 64296 w 190500"/>
              <a:gd name="connsiteY66" fmla="*/ 2 h 190500"/>
              <a:gd name="connsiteX67" fmla="*/ 71371 w 190500"/>
              <a:gd name="connsiteY67" fmla="*/ 6172 h 190500"/>
              <a:gd name="connsiteX68" fmla="*/ 71438 w 190500"/>
              <a:gd name="connsiteY68" fmla="*/ 7144 h 190500"/>
              <a:gd name="connsiteX69" fmla="*/ 71438 w 190500"/>
              <a:gd name="connsiteY69" fmla="*/ 28565 h 190500"/>
              <a:gd name="connsiteX70" fmla="*/ 88097 w 190500"/>
              <a:gd name="connsiteY70" fmla="*/ 28565 h 190500"/>
              <a:gd name="connsiteX71" fmla="*/ 88106 w 190500"/>
              <a:gd name="connsiteY71" fmla="*/ 7144 h 190500"/>
              <a:gd name="connsiteX72" fmla="*/ 94278 w 190500"/>
              <a:gd name="connsiteY72" fmla="*/ 67 h 190500"/>
              <a:gd name="connsiteX73" fmla="*/ 95250 w 190500"/>
              <a:gd name="connsiteY73" fmla="*/ 0 h 190500"/>
              <a:gd name="connsiteX74" fmla="*/ 102327 w 190500"/>
              <a:gd name="connsiteY74" fmla="*/ 6172 h 190500"/>
              <a:gd name="connsiteX75" fmla="*/ 102394 w 190500"/>
              <a:gd name="connsiteY75" fmla="*/ 7144 h 190500"/>
              <a:gd name="connsiteX76" fmla="*/ 102384 w 190500"/>
              <a:gd name="connsiteY76" fmla="*/ 28565 h 190500"/>
              <a:gd name="connsiteX77" fmla="*/ 119063 w 190500"/>
              <a:gd name="connsiteY77" fmla="*/ 28565 h 190500"/>
              <a:gd name="connsiteX78" fmla="*/ 119063 w 190500"/>
              <a:gd name="connsiteY78" fmla="*/ 7144 h 190500"/>
              <a:gd name="connsiteX79" fmla="*/ 124301 w 190500"/>
              <a:gd name="connsiteY79" fmla="*/ 257 h 190500"/>
              <a:gd name="connsiteX80" fmla="*/ 125235 w 190500"/>
              <a:gd name="connsiteY80" fmla="*/ 67 h 190500"/>
              <a:gd name="connsiteX81" fmla="*/ 126206 w 190500"/>
              <a:gd name="connsiteY81" fmla="*/ 0 h 190500"/>
              <a:gd name="connsiteX82" fmla="*/ 95298 w 190500"/>
              <a:gd name="connsiteY82" fmla="*/ 66723 h 190500"/>
              <a:gd name="connsiteX83" fmla="*/ 66723 w 190500"/>
              <a:gd name="connsiteY83" fmla="*/ 95298 h 190500"/>
              <a:gd name="connsiteX84" fmla="*/ 95298 w 190500"/>
              <a:gd name="connsiteY84" fmla="*/ 123873 h 190500"/>
              <a:gd name="connsiteX85" fmla="*/ 123873 w 190500"/>
              <a:gd name="connsiteY85" fmla="*/ 95298 h 190500"/>
              <a:gd name="connsiteX86" fmla="*/ 95298 w 190500"/>
              <a:gd name="connsiteY86" fmla="*/ 66723 h 190500"/>
              <a:gd name="connsiteX87" fmla="*/ 95298 w 190500"/>
              <a:gd name="connsiteY87" fmla="*/ 81010 h 190500"/>
              <a:gd name="connsiteX88" fmla="*/ 109585 w 190500"/>
              <a:gd name="connsiteY88" fmla="*/ 95298 h 190500"/>
              <a:gd name="connsiteX89" fmla="*/ 95298 w 190500"/>
              <a:gd name="connsiteY89" fmla="*/ 109585 h 190500"/>
              <a:gd name="connsiteX90" fmla="*/ 81010 w 190500"/>
              <a:gd name="connsiteY90" fmla="*/ 95298 h 190500"/>
              <a:gd name="connsiteX91" fmla="*/ 95298 w 190500"/>
              <a:gd name="connsiteY91" fmla="*/ 8101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90500" h="190500">
                <a:moveTo>
                  <a:pt x="126206" y="0"/>
                </a:moveTo>
                <a:cubicBezTo>
                  <a:pt x="129776" y="0"/>
                  <a:pt x="132798" y="2636"/>
                  <a:pt x="133283" y="6172"/>
                </a:cubicBezTo>
                <a:lnTo>
                  <a:pt x="133350" y="7144"/>
                </a:lnTo>
                <a:lnTo>
                  <a:pt x="133350" y="29289"/>
                </a:lnTo>
                <a:cubicBezTo>
                  <a:pt x="147395" y="32164"/>
                  <a:pt x="158365" y="43149"/>
                  <a:pt x="161220" y="57198"/>
                </a:cubicBezTo>
                <a:lnTo>
                  <a:pt x="183356" y="57198"/>
                </a:lnTo>
                <a:cubicBezTo>
                  <a:pt x="187302" y="57199"/>
                  <a:pt x="190499" y="60398"/>
                  <a:pt x="190498" y="64344"/>
                </a:cubicBezTo>
                <a:cubicBezTo>
                  <a:pt x="190497" y="67912"/>
                  <a:pt x="187863" y="70932"/>
                  <a:pt x="184328" y="71418"/>
                </a:cubicBezTo>
                <a:lnTo>
                  <a:pt x="183356" y="71485"/>
                </a:lnTo>
                <a:lnTo>
                  <a:pt x="161925" y="71476"/>
                </a:lnTo>
                <a:lnTo>
                  <a:pt x="161925" y="88144"/>
                </a:lnTo>
                <a:lnTo>
                  <a:pt x="183356" y="88144"/>
                </a:lnTo>
                <a:cubicBezTo>
                  <a:pt x="186933" y="88146"/>
                  <a:pt x="189956" y="90791"/>
                  <a:pt x="190433" y="94336"/>
                </a:cubicBezTo>
                <a:lnTo>
                  <a:pt x="190500" y="95288"/>
                </a:lnTo>
                <a:cubicBezTo>
                  <a:pt x="190505" y="98862"/>
                  <a:pt x="187868" y="101889"/>
                  <a:pt x="184328" y="102375"/>
                </a:cubicBezTo>
                <a:lnTo>
                  <a:pt x="183356" y="102441"/>
                </a:lnTo>
                <a:lnTo>
                  <a:pt x="161925" y="102432"/>
                </a:lnTo>
                <a:lnTo>
                  <a:pt x="161925" y="119101"/>
                </a:lnTo>
                <a:lnTo>
                  <a:pt x="183356" y="119101"/>
                </a:lnTo>
                <a:cubicBezTo>
                  <a:pt x="186933" y="119103"/>
                  <a:pt x="189956" y="121748"/>
                  <a:pt x="190433" y="125292"/>
                </a:cubicBezTo>
                <a:lnTo>
                  <a:pt x="190500" y="126244"/>
                </a:lnTo>
                <a:cubicBezTo>
                  <a:pt x="190505" y="129818"/>
                  <a:pt x="187868" y="132845"/>
                  <a:pt x="184328" y="133331"/>
                </a:cubicBezTo>
                <a:lnTo>
                  <a:pt x="183356" y="133398"/>
                </a:lnTo>
                <a:lnTo>
                  <a:pt x="161201" y="133398"/>
                </a:lnTo>
                <a:cubicBezTo>
                  <a:pt x="158312" y="147402"/>
                  <a:pt x="147359" y="158341"/>
                  <a:pt x="133350" y="161211"/>
                </a:cubicBezTo>
                <a:lnTo>
                  <a:pt x="133350" y="183356"/>
                </a:lnTo>
                <a:cubicBezTo>
                  <a:pt x="133349" y="187302"/>
                  <a:pt x="130150" y="190499"/>
                  <a:pt x="126204" y="190498"/>
                </a:cubicBezTo>
                <a:cubicBezTo>
                  <a:pt x="122635" y="190497"/>
                  <a:pt x="119616" y="187863"/>
                  <a:pt x="119129" y="184328"/>
                </a:cubicBezTo>
                <a:lnTo>
                  <a:pt x="119063" y="183356"/>
                </a:lnTo>
                <a:lnTo>
                  <a:pt x="119063" y="161915"/>
                </a:lnTo>
                <a:lnTo>
                  <a:pt x="102384" y="161915"/>
                </a:lnTo>
                <a:lnTo>
                  <a:pt x="102394" y="183356"/>
                </a:lnTo>
                <a:cubicBezTo>
                  <a:pt x="102394" y="186926"/>
                  <a:pt x="99758" y="189948"/>
                  <a:pt x="96222" y="190433"/>
                </a:cubicBezTo>
                <a:lnTo>
                  <a:pt x="95250" y="190500"/>
                </a:lnTo>
                <a:cubicBezTo>
                  <a:pt x="91680" y="190500"/>
                  <a:pt x="88659" y="187864"/>
                  <a:pt x="88173" y="184328"/>
                </a:cubicBezTo>
                <a:lnTo>
                  <a:pt x="88106" y="183356"/>
                </a:lnTo>
                <a:lnTo>
                  <a:pt x="88097" y="161915"/>
                </a:lnTo>
                <a:lnTo>
                  <a:pt x="71438" y="161915"/>
                </a:lnTo>
                <a:lnTo>
                  <a:pt x="71438" y="183356"/>
                </a:lnTo>
                <a:cubicBezTo>
                  <a:pt x="71437" y="186926"/>
                  <a:pt x="68802" y="189948"/>
                  <a:pt x="65265" y="190433"/>
                </a:cubicBezTo>
                <a:lnTo>
                  <a:pt x="64294" y="190500"/>
                </a:lnTo>
                <a:cubicBezTo>
                  <a:pt x="60724" y="190500"/>
                  <a:pt x="57702" y="187864"/>
                  <a:pt x="57217" y="184328"/>
                </a:cubicBezTo>
                <a:lnTo>
                  <a:pt x="57150" y="183356"/>
                </a:lnTo>
                <a:lnTo>
                  <a:pt x="57150" y="161211"/>
                </a:lnTo>
                <a:cubicBezTo>
                  <a:pt x="43123" y="158340"/>
                  <a:pt x="32160" y="147377"/>
                  <a:pt x="29289" y="133350"/>
                </a:cubicBezTo>
                <a:lnTo>
                  <a:pt x="7144" y="133350"/>
                </a:lnTo>
                <a:cubicBezTo>
                  <a:pt x="3198" y="133349"/>
                  <a:pt x="1" y="130150"/>
                  <a:pt x="2" y="126204"/>
                </a:cubicBezTo>
                <a:cubicBezTo>
                  <a:pt x="3" y="122635"/>
                  <a:pt x="2637" y="119616"/>
                  <a:pt x="6172" y="119129"/>
                </a:cubicBezTo>
                <a:lnTo>
                  <a:pt x="7144" y="119063"/>
                </a:lnTo>
                <a:lnTo>
                  <a:pt x="28575" y="119053"/>
                </a:lnTo>
                <a:lnTo>
                  <a:pt x="28575" y="102384"/>
                </a:lnTo>
                <a:lnTo>
                  <a:pt x="7144" y="102394"/>
                </a:lnTo>
                <a:cubicBezTo>
                  <a:pt x="3574" y="102394"/>
                  <a:pt x="552" y="99758"/>
                  <a:pt x="67" y="96222"/>
                </a:cubicBezTo>
                <a:lnTo>
                  <a:pt x="0" y="95250"/>
                </a:lnTo>
                <a:cubicBezTo>
                  <a:pt x="0" y="91680"/>
                  <a:pt x="2636" y="88659"/>
                  <a:pt x="6172" y="88173"/>
                </a:cubicBezTo>
                <a:lnTo>
                  <a:pt x="7144" y="88106"/>
                </a:lnTo>
                <a:lnTo>
                  <a:pt x="28575" y="88097"/>
                </a:lnTo>
                <a:lnTo>
                  <a:pt x="28575" y="71428"/>
                </a:lnTo>
                <a:lnTo>
                  <a:pt x="7144" y="71438"/>
                </a:lnTo>
                <a:cubicBezTo>
                  <a:pt x="3574" y="71437"/>
                  <a:pt x="552" y="68802"/>
                  <a:pt x="67" y="65265"/>
                </a:cubicBezTo>
                <a:lnTo>
                  <a:pt x="0" y="64294"/>
                </a:lnTo>
                <a:cubicBezTo>
                  <a:pt x="0" y="60724"/>
                  <a:pt x="2636" y="57702"/>
                  <a:pt x="6172" y="57217"/>
                </a:cubicBezTo>
                <a:lnTo>
                  <a:pt x="7144" y="57150"/>
                </a:lnTo>
                <a:lnTo>
                  <a:pt x="29289" y="57140"/>
                </a:lnTo>
                <a:cubicBezTo>
                  <a:pt x="32164" y="43117"/>
                  <a:pt x="43125" y="32159"/>
                  <a:pt x="57150" y="29289"/>
                </a:cubicBezTo>
                <a:lnTo>
                  <a:pt x="57150" y="7144"/>
                </a:lnTo>
                <a:cubicBezTo>
                  <a:pt x="57151" y="3198"/>
                  <a:pt x="60351" y="1"/>
                  <a:pt x="64296" y="2"/>
                </a:cubicBezTo>
                <a:cubicBezTo>
                  <a:pt x="67864" y="3"/>
                  <a:pt x="70884" y="2637"/>
                  <a:pt x="71371" y="6172"/>
                </a:cubicBezTo>
                <a:lnTo>
                  <a:pt x="71438" y="7144"/>
                </a:lnTo>
                <a:lnTo>
                  <a:pt x="71438" y="28565"/>
                </a:lnTo>
                <a:lnTo>
                  <a:pt x="88097" y="28565"/>
                </a:lnTo>
                <a:lnTo>
                  <a:pt x="88106" y="7144"/>
                </a:lnTo>
                <a:cubicBezTo>
                  <a:pt x="88106" y="3574"/>
                  <a:pt x="90742" y="552"/>
                  <a:pt x="94278" y="67"/>
                </a:cubicBezTo>
                <a:lnTo>
                  <a:pt x="95250" y="0"/>
                </a:lnTo>
                <a:cubicBezTo>
                  <a:pt x="98820" y="0"/>
                  <a:pt x="101841" y="2636"/>
                  <a:pt x="102327" y="6172"/>
                </a:cubicBezTo>
                <a:lnTo>
                  <a:pt x="102394" y="7144"/>
                </a:lnTo>
                <a:lnTo>
                  <a:pt x="102384" y="28565"/>
                </a:lnTo>
                <a:lnTo>
                  <a:pt x="119063" y="28565"/>
                </a:lnTo>
                <a:lnTo>
                  <a:pt x="119063" y="7144"/>
                </a:lnTo>
                <a:cubicBezTo>
                  <a:pt x="119062" y="3931"/>
                  <a:pt x="121206" y="1114"/>
                  <a:pt x="124301" y="257"/>
                </a:cubicBezTo>
                <a:lnTo>
                  <a:pt x="125235" y="67"/>
                </a:lnTo>
                <a:lnTo>
                  <a:pt x="126206" y="0"/>
                </a:lnTo>
                <a:close/>
                <a:moveTo>
                  <a:pt x="95298" y="66723"/>
                </a:moveTo>
                <a:cubicBezTo>
                  <a:pt x="79516" y="66723"/>
                  <a:pt x="66723" y="79516"/>
                  <a:pt x="66723" y="95298"/>
                </a:cubicBezTo>
                <a:cubicBezTo>
                  <a:pt x="66723" y="111080"/>
                  <a:pt x="79516" y="123873"/>
                  <a:pt x="95298" y="123873"/>
                </a:cubicBezTo>
                <a:cubicBezTo>
                  <a:pt x="111080" y="123873"/>
                  <a:pt x="123873" y="111080"/>
                  <a:pt x="123873" y="95298"/>
                </a:cubicBezTo>
                <a:cubicBezTo>
                  <a:pt x="123873" y="79516"/>
                  <a:pt x="111080" y="66723"/>
                  <a:pt x="95298" y="66723"/>
                </a:cubicBezTo>
                <a:close/>
                <a:moveTo>
                  <a:pt x="95298" y="81010"/>
                </a:moveTo>
                <a:cubicBezTo>
                  <a:pt x="103188" y="81010"/>
                  <a:pt x="109585" y="87407"/>
                  <a:pt x="109585" y="95298"/>
                </a:cubicBezTo>
                <a:cubicBezTo>
                  <a:pt x="109585" y="103188"/>
                  <a:pt x="103188" y="109585"/>
                  <a:pt x="95298" y="109585"/>
                </a:cubicBezTo>
                <a:cubicBezTo>
                  <a:pt x="87407" y="109585"/>
                  <a:pt x="81010" y="103188"/>
                  <a:pt x="81010" y="95298"/>
                </a:cubicBezTo>
                <a:cubicBezTo>
                  <a:pt x="81010" y="87407"/>
                  <a:pt x="87407" y="81010"/>
                  <a:pt x="95298" y="8101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7" name="TextBox 86">
            <a:extLst>
              <a:ext uri="{FF2B5EF4-FFF2-40B4-BE49-F238E27FC236}">
                <a16:creationId xmlns:a16="http://schemas.microsoft.com/office/drawing/2014/main" id="{55E184A1-B9E9-2612-8CED-FE8F2D9976F1}"/>
              </a:ext>
            </a:extLst>
          </p:cNvPr>
          <p:cNvSpPr txBox="1">
            <a:spLocks/>
          </p:cNvSpPr>
          <p:nvPr/>
        </p:nvSpPr>
        <p:spPr>
          <a:xfrm>
            <a:off x="922513" y="3745062"/>
            <a:ext cx="3281332" cy="146193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es" sz="1800" b="0" i="0" u="none" strike="noStrike" kern="1200" cap="none" spc="0" normalizeH="0" baseline="0" noProof="0" dirty="0">
                <a:ln>
                  <a:noFill/>
                </a:ln>
                <a:solidFill>
                  <a:srgbClr val="F4364C"/>
                </a:solidFill>
                <a:effectLst/>
                <a:uLnTx/>
                <a:uFillTx/>
                <a:latin typeface="Segoe UI Semibold"/>
                <a:ea typeface="+mn-ea"/>
                <a:cs typeface="Segoe Sans Display Semibold" pitchFamily="2" charset="0"/>
              </a:rPr>
              <a:t>Recuperación</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es" sz="1800" b="0" i="0" u="none" strike="noStrike" kern="1200" cap="none" spc="0" normalizeH="0" baseline="0" noProof="0" dirty="0">
                <a:ln>
                  <a:noFill/>
                </a:ln>
                <a:solidFill>
                  <a:srgbClr val="000000"/>
                </a:solidFill>
                <a:effectLst/>
                <a:uLnTx/>
                <a:uFillTx/>
                <a:latin typeface="Segoe UI Semibold"/>
                <a:ea typeface="+mn-ea"/>
                <a:cs typeface="Segoe Sans Display Semibold" pitchFamily="2" charset="0"/>
              </a:rPr>
              <a:t>Recupera información</a:t>
            </a:r>
            <a:r>
              <a:rPr kumimoji="0" lang="es-es" sz="18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 </a:t>
            </a:r>
            <a:r>
              <a:rPr kumimoji="0" lang="es-es" sz="1800" b="0" i="0" u="none" strike="noStrike" kern="1200" cap="none" spc="0" normalizeH="0" baseline="0" noProof="0" dirty="0">
                <a:ln>
                  <a:noFill/>
                </a:ln>
                <a:solidFill>
                  <a:srgbClr val="000000"/>
                </a:solidFill>
                <a:effectLst/>
                <a:uLnTx/>
                <a:uFillTx/>
                <a:latin typeface="Segoe UI"/>
                <a:ea typeface="+mn-ea"/>
                <a:cs typeface="Segoe Sans Display" pitchFamily="2" charset="0"/>
              </a:rPr>
              <a:t>de los datos de fundamento, razona, resume y responde a preguntas del usuario</a:t>
            </a:r>
          </a:p>
        </p:txBody>
      </p:sp>
      <p:sp>
        <p:nvSpPr>
          <p:cNvPr id="3" name="Graphic 52" descr="Icono de tres capas superpuestas">
            <a:extLst>
              <a:ext uri="{FF2B5EF4-FFF2-40B4-BE49-F238E27FC236}">
                <a16:creationId xmlns:a16="http://schemas.microsoft.com/office/drawing/2014/main" id="{6C9D602C-57D7-B74B-B4D8-79EBBE983189}"/>
              </a:ext>
            </a:extLst>
          </p:cNvPr>
          <p:cNvSpPr>
            <a:spLocks/>
          </p:cNvSpPr>
          <p:nvPr/>
        </p:nvSpPr>
        <p:spPr>
          <a:xfrm>
            <a:off x="5905393" y="2774033"/>
            <a:ext cx="381212" cy="401504"/>
          </a:xfrm>
          <a:custGeom>
            <a:avLst/>
            <a:gdLst>
              <a:gd name="connsiteX0" fmla="*/ 92561 w 158693"/>
              <a:gd name="connsiteY0" fmla="*/ 4001 h 167136"/>
              <a:gd name="connsiteX1" fmla="*/ 153187 w 158693"/>
              <a:gd name="connsiteY1" fmla="*/ 44415 h 167136"/>
              <a:gd name="connsiteX2" fmla="*/ 155828 w 158693"/>
              <a:gd name="connsiteY2" fmla="*/ 57625 h 167136"/>
              <a:gd name="connsiteX3" fmla="*/ 153187 w 158693"/>
              <a:gd name="connsiteY3" fmla="*/ 60265 h 167136"/>
              <a:gd name="connsiteX4" fmla="*/ 92561 w 158693"/>
              <a:gd name="connsiteY4" fmla="*/ 100689 h 167136"/>
              <a:gd name="connsiteX5" fmla="*/ 66138 w 158693"/>
              <a:gd name="connsiteY5" fmla="*/ 100689 h 167136"/>
              <a:gd name="connsiteX6" fmla="*/ 5512 w 158693"/>
              <a:gd name="connsiteY6" fmla="*/ 60265 h 167136"/>
              <a:gd name="connsiteX7" fmla="*/ 2871 w 158693"/>
              <a:gd name="connsiteY7" fmla="*/ 47056 h 167136"/>
              <a:gd name="connsiteX8" fmla="*/ 5512 w 158693"/>
              <a:gd name="connsiteY8" fmla="*/ 44415 h 167136"/>
              <a:gd name="connsiteX9" fmla="*/ 66138 w 158693"/>
              <a:gd name="connsiteY9" fmla="*/ 4001 h 167136"/>
              <a:gd name="connsiteX10" fmla="*/ 92561 w 158693"/>
              <a:gd name="connsiteY10" fmla="*/ 4001 h 167136"/>
              <a:gd name="connsiteX11" fmla="*/ 155797 w 158693"/>
              <a:gd name="connsiteY11" fmla="*/ 87507 h 167136"/>
              <a:gd name="connsiteX12" fmla="*/ 150301 w 158693"/>
              <a:gd name="connsiteY12" fmla="*/ 93202 h 167136"/>
              <a:gd name="connsiteX13" fmla="*/ 92675 w 158693"/>
              <a:gd name="connsiteY13" fmla="*/ 132103 h 167136"/>
              <a:gd name="connsiteX14" fmla="*/ 66024 w 158693"/>
              <a:gd name="connsiteY14" fmla="*/ 132103 h 167136"/>
              <a:gd name="connsiteX15" fmla="*/ 8398 w 158693"/>
              <a:gd name="connsiteY15" fmla="*/ 93202 h 167136"/>
              <a:gd name="connsiteX16" fmla="*/ 978 w 158693"/>
              <a:gd name="connsiteY16" fmla="*/ 71390 h 167136"/>
              <a:gd name="connsiteX17" fmla="*/ 66138 w 158693"/>
              <a:gd name="connsiteY17" fmla="*/ 114824 h 167136"/>
              <a:gd name="connsiteX18" fmla="*/ 91027 w 158693"/>
              <a:gd name="connsiteY18" fmla="*/ 115758 h 167136"/>
              <a:gd name="connsiteX19" fmla="*/ 92551 w 158693"/>
              <a:gd name="connsiteY19" fmla="*/ 114824 h 167136"/>
              <a:gd name="connsiteX20" fmla="*/ 157712 w 158693"/>
              <a:gd name="connsiteY20" fmla="*/ 71390 h 167136"/>
              <a:gd name="connsiteX21" fmla="*/ 155797 w 158693"/>
              <a:gd name="connsiteY21" fmla="*/ 87507 h 167136"/>
              <a:gd name="connsiteX22" fmla="*/ 155797 w 158693"/>
              <a:gd name="connsiteY22" fmla="*/ 118463 h 167136"/>
              <a:gd name="connsiteX23" fmla="*/ 150301 w 158693"/>
              <a:gd name="connsiteY23" fmla="*/ 124159 h 167136"/>
              <a:gd name="connsiteX24" fmla="*/ 92675 w 158693"/>
              <a:gd name="connsiteY24" fmla="*/ 163059 h 167136"/>
              <a:gd name="connsiteX25" fmla="*/ 66024 w 158693"/>
              <a:gd name="connsiteY25" fmla="*/ 163059 h 167136"/>
              <a:gd name="connsiteX26" fmla="*/ 8398 w 158693"/>
              <a:gd name="connsiteY26" fmla="*/ 124159 h 167136"/>
              <a:gd name="connsiteX27" fmla="*/ 978 w 158693"/>
              <a:gd name="connsiteY27" fmla="*/ 102346 h 167136"/>
              <a:gd name="connsiteX28" fmla="*/ 66138 w 158693"/>
              <a:gd name="connsiteY28" fmla="*/ 145780 h 167136"/>
              <a:gd name="connsiteX29" fmla="*/ 91027 w 158693"/>
              <a:gd name="connsiteY29" fmla="*/ 146714 h 167136"/>
              <a:gd name="connsiteX30" fmla="*/ 92551 w 158693"/>
              <a:gd name="connsiteY30" fmla="*/ 145780 h 167136"/>
              <a:gd name="connsiteX31" fmla="*/ 157712 w 158693"/>
              <a:gd name="connsiteY31" fmla="*/ 102346 h 167136"/>
              <a:gd name="connsiteX32" fmla="*/ 155797 w 158693"/>
              <a:gd name="connsiteY32" fmla="*/ 118463 h 16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693" h="167136">
                <a:moveTo>
                  <a:pt x="92561" y="4001"/>
                </a:moveTo>
                <a:lnTo>
                  <a:pt x="153187" y="44415"/>
                </a:lnTo>
                <a:cubicBezTo>
                  <a:pt x="157564" y="47334"/>
                  <a:pt x="158746" y="53248"/>
                  <a:pt x="155828" y="57625"/>
                </a:cubicBezTo>
                <a:cubicBezTo>
                  <a:pt x="155130" y="58670"/>
                  <a:pt x="154233" y="59568"/>
                  <a:pt x="153187" y="60265"/>
                </a:cubicBezTo>
                <a:lnTo>
                  <a:pt x="92561" y="100689"/>
                </a:lnTo>
                <a:cubicBezTo>
                  <a:pt x="84561" y="106024"/>
                  <a:pt x="74138" y="106024"/>
                  <a:pt x="66138" y="100689"/>
                </a:cubicBezTo>
                <a:lnTo>
                  <a:pt x="5512" y="60265"/>
                </a:lnTo>
                <a:cubicBezTo>
                  <a:pt x="1135" y="57347"/>
                  <a:pt x="-47" y="51433"/>
                  <a:pt x="2871" y="47056"/>
                </a:cubicBezTo>
                <a:cubicBezTo>
                  <a:pt x="3568" y="46010"/>
                  <a:pt x="4466" y="45113"/>
                  <a:pt x="5512" y="44415"/>
                </a:cubicBezTo>
                <a:lnTo>
                  <a:pt x="66138" y="4001"/>
                </a:lnTo>
                <a:cubicBezTo>
                  <a:pt x="74138" y="-1334"/>
                  <a:pt x="84561" y="-1334"/>
                  <a:pt x="92561" y="4001"/>
                </a:cubicBezTo>
                <a:close/>
                <a:moveTo>
                  <a:pt x="155797" y="87507"/>
                </a:moveTo>
                <a:cubicBezTo>
                  <a:pt x="154384" y="89769"/>
                  <a:pt x="152511" y="91709"/>
                  <a:pt x="150301" y="93202"/>
                </a:cubicBezTo>
                <a:lnTo>
                  <a:pt x="92675" y="132103"/>
                </a:lnTo>
                <a:cubicBezTo>
                  <a:pt x="84623" y="137539"/>
                  <a:pt x="74075" y="137539"/>
                  <a:pt x="66024" y="132103"/>
                </a:cubicBezTo>
                <a:lnTo>
                  <a:pt x="8398" y="93202"/>
                </a:lnTo>
                <a:cubicBezTo>
                  <a:pt x="1310" y="88421"/>
                  <a:pt x="-1724" y="79503"/>
                  <a:pt x="978" y="71390"/>
                </a:cubicBezTo>
                <a:lnTo>
                  <a:pt x="66138" y="114824"/>
                </a:lnTo>
                <a:cubicBezTo>
                  <a:pt x="73597" y="119795"/>
                  <a:pt x="83217" y="120155"/>
                  <a:pt x="91027" y="115758"/>
                </a:cubicBezTo>
                <a:lnTo>
                  <a:pt x="92551" y="114824"/>
                </a:lnTo>
                <a:lnTo>
                  <a:pt x="157712" y="71390"/>
                </a:lnTo>
                <a:cubicBezTo>
                  <a:pt x="159514" y="76779"/>
                  <a:pt x="158812" y="82691"/>
                  <a:pt x="155797" y="87507"/>
                </a:cubicBezTo>
                <a:close/>
                <a:moveTo>
                  <a:pt x="155797" y="118463"/>
                </a:moveTo>
                <a:cubicBezTo>
                  <a:pt x="154384" y="120725"/>
                  <a:pt x="152511" y="122665"/>
                  <a:pt x="150301" y="124159"/>
                </a:cubicBezTo>
                <a:lnTo>
                  <a:pt x="92675" y="163059"/>
                </a:lnTo>
                <a:cubicBezTo>
                  <a:pt x="84623" y="168496"/>
                  <a:pt x="74075" y="168496"/>
                  <a:pt x="66024" y="163059"/>
                </a:cubicBezTo>
                <a:lnTo>
                  <a:pt x="8398" y="124159"/>
                </a:lnTo>
                <a:cubicBezTo>
                  <a:pt x="1310" y="119377"/>
                  <a:pt x="-1724" y="110459"/>
                  <a:pt x="978" y="102346"/>
                </a:cubicBezTo>
                <a:lnTo>
                  <a:pt x="66138" y="145780"/>
                </a:lnTo>
                <a:cubicBezTo>
                  <a:pt x="73597" y="150752"/>
                  <a:pt x="83217" y="151112"/>
                  <a:pt x="91027" y="146714"/>
                </a:cubicBezTo>
                <a:lnTo>
                  <a:pt x="92551" y="145780"/>
                </a:lnTo>
                <a:lnTo>
                  <a:pt x="157712" y="102346"/>
                </a:lnTo>
                <a:cubicBezTo>
                  <a:pt x="159514" y="107735"/>
                  <a:pt x="158812" y="113647"/>
                  <a:pt x="155797" y="1184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8" name="TextBox 87">
            <a:extLst>
              <a:ext uri="{FF2B5EF4-FFF2-40B4-BE49-F238E27FC236}">
                <a16:creationId xmlns:a16="http://schemas.microsoft.com/office/drawing/2014/main" id="{E511079C-682F-2E72-2817-50BD75970A75}"/>
              </a:ext>
            </a:extLst>
          </p:cNvPr>
          <p:cNvSpPr txBox="1">
            <a:spLocks/>
          </p:cNvSpPr>
          <p:nvPr/>
        </p:nvSpPr>
        <p:spPr>
          <a:xfrm>
            <a:off x="4455333" y="3745062"/>
            <a:ext cx="3281332" cy="1423467"/>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es" sz="1800" b="0" i="0" u="none" strike="noStrike" kern="1200" cap="none" spc="0" normalizeH="0" baseline="0" noProof="0" dirty="0">
                <a:ln>
                  <a:noFill/>
                </a:ln>
                <a:solidFill>
                  <a:srgbClr val="C03BC4"/>
                </a:solidFill>
                <a:effectLst/>
                <a:uLnTx/>
                <a:uFillTx/>
                <a:latin typeface="Segoe UI Semibold"/>
                <a:ea typeface="+mn-ea"/>
                <a:cs typeface="Segoe Sans Display Semibold" pitchFamily="2" charset="0"/>
              </a:rPr>
              <a:t>Tarea</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es" sz="1800" b="0" i="0" u="none" strike="noStrike" kern="1200" cap="none" spc="0" normalizeH="0" baseline="0" noProof="0" dirty="0">
                <a:ln>
                  <a:noFill/>
                </a:ln>
                <a:solidFill>
                  <a:srgbClr val="000000"/>
                </a:solidFill>
                <a:effectLst/>
                <a:uLnTx/>
                <a:uFillTx/>
                <a:latin typeface="Segoe UI Semibold"/>
                <a:ea typeface="+mn-ea"/>
                <a:cs typeface="Segoe Sans Display Semibold" pitchFamily="2" charset="0"/>
              </a:rPr>
              <a:t>Toma medidas cuando se te solicite</a:t>
            </a:r>
            <a:r>
              <a:rPr kumimoji="0" lang="es-es" sz="1800" b="0" i="0" u="none" strike="noStrike" kern="1200" cap="none" spc="0" normalizeH="0" baseline="0" noProof="0" dirty="0">
                <a:ln>
                  <a:noFill/>
                </a:ln>
                <a:solidFill>
                  <a:srgbClr val="000000"/>
                </a:solidFill>
                <a:effectLst/>
                <a:uLnTx/>
                <a:uFillTx/>
                <a:latin typeface="Segoe UI"/>
                <a:ea typeface="+mn-ea"/>
                <a:cs typeface="Segoe Sans Display Semibold" pitchFamily="2" charset="0"/>
              </a:rPr>
              <a:t>, </a:t>
            </a:r>
            <a:r>
              <a:rPr kumimoji="0" lang="es-es" sz="1800" b="0" i="0" u="none" strike="noStrike" kern="1200" cap="none" spc="0" normalizeH="0" baseline="0" noProof="0" dirty="0">
                <a:ln>
                  <a:noFill/>
                </a:ln>
                <a:solidFill>
                  <a:srgbClr val="000000"/>
                </a:solidFill>
                <a:effectLst/>
                <a:uLnTx/>
                <a:uFillTx/>
                <a:latin typeface="Segoe UI"/>
                <a:ea typeface="+mn-ea"/>
                <a:cs typeface="Segoe Sans Display" pitchFamily="2" charset="0"/>
              </a:rPr>
              <a:t>automatiza los flujos </a:t>
            </a:r>
            <a:br>
              <a:rPr kumimoji="0" lang="es-es" sz="1800" b="0" i="0" u="none" strike="noStrike" kern="1200" cap="none" spc="0" normalizeH="0" baseline="0" noProof="0" dirty="0">
                <a:ln>
                  <a:noFill/>
                </a:ln>
                <a:solidFill>
                  <a:srgbClr val="000000"/>
                </a:solidFill>
                <a:effectLst/>
                <a:uLnTx/>
                <a:uFillTx/>
                <a:latin typeface="Segoe UI"/>
                <a:ea typeface="+mn-ea"/>
                <a:cs typeface="Segoe Sans Display" pitchFamily="2" charset="0"/>
              </a:rPr>
            </a:br>
            <a:r>
              <a:rPr kumimoji="0" lang="es-es" sz="1800" b="0" i="0" u="none" strike="noStrike" kern="1200" cap="none" spc="0" normalizeH="0" baseline="0" noProof="0" dirty="0">
                <a:ln>
                  <a:noFill/>
                </a:ln>
                <a:solidFill>
                  <a:srgbClr val="000000"/>
                </a:solidFill>
                <a:effectLst/>
                <a:uLnTx/>
                <a:uFillTx/>
                <a:latin typeface="Segoe UI"/>
                <a:ea typeface="+mn-ea"/>
                <a:cs typeface="Segoe Sans Display" pitchFamily="2" charset="0"/>
              </a:rPr>
              <a:t>de trabajo y sustituye las tareas repetitivas para los usuarios</a:t>
            </a:r>
          </a:p>
        </p:txBody>
      </p:sp>
      <p:sp>
        <p:nvSpPr>
          <p:cNvPr id="5" name="Graphic 7" descr="Icono de un cilindro con un enchufe en el que se muestra una conexión de A a B">
            <a:extLst>
              <a:ext uri="{FF2B5EF4-FFF2-40B4-BE49-F238E27FC236}">
                <a16:creationId xmlns:a16="http://schemas.microsoft.com/office/drawing/2014/main" id="{58D4FAF2-B02D-9BEA-068C-3040128195AD}"/>
              </a:ext>
            </a:extLst>
          </p:cNvPr>
          <p:cNvSpPr>
            <a:spLocks/>
          </p:cNvSpPr>
          <p:nvPr/>
        </p:nvSpPr>
        <p:spPr>
          <a:xfrm>
            <a:off x="9458396" y="2780629"/>
            <a:ext cx="340852" cy="388312"/>
          </a:xfrm>
          <a:custGeom>
            <a:avLst/>
            <a:gdLst>
              <a:gd name="connsiteX0" fmla="*/ 76200 w 180975"/>
              <a:gd name="connsiteY0" fmla="*/ 76200 h 190500"/>
              <a:gd name="connsiteX1" fmla="*/ 152400 w 180975"/>
              <a:gd name="connsiteY1" fmla="*/ 38100 h 190500"/>
              <a:gd name="connsiteX2" fmla="*/ 76200 w 180975"/>
              <a:gd name="connsiteY2" fmla="*/ 0 h 190500"/>
              <a:gd name="connsiteX3" fmla="*/ 0 w 180975"/>
              <a:gd name="connsiteY3" fmla="*/ 38100 h 190500"/>
              <a:gd name="connsiteX4" fmla="*/ 76200 w 180975"/>
              <a:gd name="connsiteY4" fmla="*/ 76200 h 190500"/>
              <a:gd name="connsiteX5" fmla="*/ 136474 w 180975"/>
              <a:gd name="connsiteY5" fmla="*/ 77819 h 190500"/>
              <a:gd name="connsiteX6" fmla="*/ 152400 w 180975"/>
              <a:gd name="connsiteY6" fmla="*/ 67180 h 190500"/>
              <a:gd name="connsiteX7" fmla="*/ 152400 w 180975"/>
              <a:gd name="connsiteY7" fmla="*/ 105337 h 190500"/>
              <a:gd name="connsiteX8" fmla="*/ 145256 w 180975"/>
              <a:gd name="connsiteY8" fmla="*/ 104775 h 190500"/>
              <a:gd name="connsiteX9" fmla="*/ 111919 w 180975"/>
              <a:gd name="connsiteY9" fmla="*/ 104775 h 190500"/>
              <a:gd name="connsiteX10" fmla="*/ 66666 w 180975"/>
              <a:gd name="connsiteY10" fmla="*/ 150010 h 190500"/>
              <a:gd name="connsiteX11" fmla="*/ 90421 w 180975"/>
              <a:gd name="connsiteY11" fmla="*/ 189833 h 190500"/>
              <a:gd name="connsiteX12" fmla="*/ 76200 w 180975"/>
              <a:gd name="connsiteY12" fmla="*/ 190500 h 190500"/>
              <a:gd name="connsiteX13" fmla="*/ 0 w 180975"/>
              <a:gd name="connsiteY13" fmla="*/ 152400 h 190500"/>
              <a:gd name="connsiteX14" fmla="*/ 0 w 180975"/>
              <a:gd name="connsiteY14" fmla="*/ 67180 h 190500"/>
              <a:gd name="connsiteX15" fmla="*/ 15926 w 180975"/>
              <a:gd name="connsiteY15" fmla="*/ 77819 h 190500"/>
              <a:gd name="connsiteX16" fmla="*/ 76200 w 180975"/>
              <a:gd name="connsiteY16" fmla="*/ 90488 h 190500"/>
              <a:gd name="connsiteX17" fmla="*/ 136474 w 180975"/>
              <a:gd name="connsiteY17" fmla="*/ 77819 h 190500"/>
              <a:gd name="connsiteX18" fmla="*/ 180975 w 180975"/>
              <a:gd name="connsiteY18" fmla="*/ 150019 h 190500"/>
              <a:gd name="connsiteX19" fmla="*/ 145256 w 180975"/>
              <a:gd name="connsiteY19" fmla="*/ 114300 h 190500"/>
              <a:gd name="connsiteX20" fmla="*/ 144285 w 180975"/>
              <a:gd name="connsiteY20" fmla="*/ 114367 h 190500"/>
              <a:gd name="connsiteX21" fmla="*/ 138181 w 180975"/>
              <a:gd name="connsiteY21" fmla="*/ 122417 h 190500"/>
              <a:gd name="connsiteX22" fmla="*/ 145256 w 180975"/>
              <a:gd name="connsiteY22" fmla="*/ 128588 h 190500"/>
              <a:gd name="connsiteX23" fmla="*/ 146723 w 180975"/>
              <a:gd name="connsiteY23" fmla="*/ 128635 h 190500"/>
              <a:gd name="connsiteX24" fmla="*/ 166679 w 180975"/>
              <a:gd name="connsiteY24" fmla="*/ 151447 h 190500"/>
              <a:gd name="connsiteX25" fmla="*/ 145256 w 180975"/>
              <a:gd name="connsiteY25" fmla="*/ 171450 h 190500"/>
              <a:gd name="connsiteX26" fmla="*/ 145228 w 180975"/>
              <a:gd name="connsiteY26" fmla="*/ 171498 h 190500"/>
              <a:gd name="connsiteX27" fmla="*/ 144256 w 180975"/>
              <a:gd name="connsiteY27" fmla="*/ 171564 h 190500"/>
              <a:gd name="connsiteX28" fmla="*/ 138151 w 180975"/>
              <a:gd name="connsiteY28" fmla="*/ 179614 h 190500"/>
              <a:gd name="connsiteX29" fmla="*/ 145285 w 180975"/>
              <a:gd name="connsiteY29" fmla="*/ 185785 h 190500"/>
              <a:gd name="connsiteX30" fmla="*/ 145285 w 180975"/>
              <a:gd name="connsiteY30" fmla="*/ 185738 h 190500"/>
              <a:gd name="connsiteX31" fmla="*/ 147190 w 180975"/>
              <a:gd name="connsiteY31" fmla="*/ 185690 h 190500"/>
              <a:gd name="connsiteX32" fmla="*/ 180975 w 180975"/>
              <a:gd name="connsiteY32" fmla="*/ 150019 h 190500"/>
              <a:gd name="connsiteX33" fmla="*/ 119063 w 180975"/>
              <a:gd name="connsiteY33" fmla="*/ 121444 h 190500"/>
              <a:gd name="connsiteX34" fmla="*/ 111919 w 180975"/>
              <a:gd name="connsiteY34" fmla="*/ 114300 h 190500"/>
              <a:gd name="connsiteX35" fmla="*/ 110014 w 180975"/>
              <a:gd name="connsiteY35" fmla="*/ 114348 h 190500"/>
              <a:gd name="connsiteX36" fmla="*/ 76186 w 180975"/>
              <a:gd name="connsiteY36" fmla="*/ 151862 h 190500"/>
              <a:gd name="connsiteX37" fmla="*/ 111919 w 180975"/>
              <a:gd name="connsiteY37" fmla="*/ 185738 h 190500"/>
              <a:gd name="connsiteX38" fmla="*/ 112890 w 180975"/>
              <a:gd name="connsiteY38" fmla="*/ 185671 h 190500"/>
              <a:gd name="connsiteX39" fmla="*/ 118994 w 180975"/>
              <a:gd name="connsiteY39" fmla="*/ 177620 h 190500"/>
              <a:gd name="connsiteX40" fmla="*/ 111919 w 180975"/>
              <a:gd name="connsiteY40" fmla="*/ 171450 h 190500"/>
              <a:gd name="connsiteX41" fmla="*/ 110452 w 180975"/>
              <a:gd name="connsiteY41" fmla="*/ 171402 h 190500"/>
              <a:gd name="connsiteX42" fmla="*/ 90496 w 180975"/>
              <a:gd name="connsiteY42" fmla="*/ 148591 h 190500"/>
              <a:gd name="connsiteX43" fmla="*/ 111919 w 180975"/>
              <a:gd name="connsiteY43" fmla="*/ 128588 h 190500"/>
              <a:gd name="connsiteX44" fmla="*/ 112890 w 180975"/>
              <a:gd name="connsiteY44" fmla="*/ 128521 h 190500"/>
              <a:gd name="connsiteX45" fmla="*/ 119063 w 180975"/>
              <a:gd name="connsiteY45" fmla="*/ 121444 h 190500"/>
              <a:gd name="connsiteX46" fmla="*/ 152400 w 180975"/>
              <a:gd name="connsiteY46" fmla="*/ 150019 h 190500"/>
              <a:gd name="connsiteX47" fmla="*/ 145256 w 180975"/>
              <a:gd name="connsiteY47" fmla="*/ 142875 h 190500"/>
              <a:gd name="connsiteX48" fmla="*/ 111919 w 180975"/>
              <a:gd name="connsiteY48" fmla="*/ 142875 h 190500"/>
              <a:gd name="connsiteX49" fmla="*/ 110947 w 180975"/>
              <a:gd name="connsiteY49" fmla="*/ 142942 h 190500"/>
              <a:gd name="connsiteX50" fmla="*/ 104844 w 180975"/>
              <a:gd name="connsiteY50" fmla="*/ 150992 h 190500"/>
              <a:gd name="connsiteX51" fmla="*/ 111919 w 180975"/>
              <a:gd name="connsiteY51" fmla="*/ 157163 h 190500"/>
              <a:gd name="connsiteX52" fmla="*/ 145256 w 180975"/>
              <a:gd name="connsiteY52" fmla="*/ 157163 h 190500"/>
              <a:gd name="connsiteX53" fmla="*/ 146228 w 180975"/>
              <a:gd name="connsiteY53" fmla="*/ 157096 h 190500"/>
              <a:gd name="connsiteX54" fmla="*/ 152400 w 180975"/>
              <a:gd name="connsiteY54" fmla="*/ 1500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0975" h="190500">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105337"/>
                </a:lnTo>
                <a:cubicBezTo>
                  <a:pt x="150037" y="104963"/>
                  <a:pt x="147649" y="104774"/>
                  <a:pt x="145256" y="104775"/>
                </a:cubicBezTo>
                <a:lnTo>
                  <a:pt x="111919" y="104775"/>
                </a:lnTo>
                <a:cubicBezTo>
                  <a:pt x="86931" y="104770"/>
                  <a:pt x="66671" y="125023"/>
                  <a:pt x="66666" y="150010"/>
                </a:cubicBezTo>
                <a:cubicBezTo>
                  <a:pt x="66664" y="166642"/>
                  <a:pt x="75786" y="181934"/>
                  <a:pt x="90421" y="189833"/>
                </a:cubicBezTo>
                <a:cubicBezTo>
                  <a:pt x="85811" y="190271"/>
                  <a:pt x="81058"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98984" y="90488"/>
                  <a:pt x="120301" y="85896"/>
                  <a:pt x="136474" y="77819"/>
                </a:cubicBezTo>
                <a:close/>
                <a:moveTo>
                  <a:pt x="180975" y="150019"/>
                </a:moveTo>
                <a:cubicBezTo>
                  <a:pt x="180975" y="130292"/>
                  <a:pt x="164983" y="114300"/>
                  <a:pt x="145256" y="114300"/>
                </a:cubicBezTo>
                <a:lnTo>
                  <a:pt x="144285" y="114367"/>
                </a:lnTo>
                <a:cubicBezTo>
                  <a:pt x="140377" y="114905"/>
                  <a:pt x="137644" y="118509"/>
                  <a:pt x="138181" y="122417"/>
                </a:cubicBezTo>
                <a:cubicBezTo>
                  <a:pt x="138668" y="125953"/>
                  <a:pt x="141688" y="128587"/>
                  <a:pt x="145256" y="128588"/>
                </a:cubicBezTo>
                <a:lnTo>
                  <a:pt x="146723" y="128635"/>
                </a:lnTo>
                <a:cubicBezTo>
                  <a:pt x="158533" y="129424"/>
                  <a:pt x="167468" y="139637"/>
                  <a:pt x="166679" y="151447"/>
                </a:cubicBezTo>
                <a:cubicBezTo>
                  <a:pt x="165926" y="162718"/>
                  <a:pt x="156554" y="171471"/>
                  <a:pt x="145256" y="171450"/>
                </a:cubicBezTo>
                <a:lnTo>
                  <a:pt x="145228" y="171498"/>
                </a:lnTo>
                <a:lnTo>
                  <a:pt x="144256" y="171564"/>
                </a:lnTo>
                <a:cubicBezTo>
                  <a:pt x="140347" y="172102"/>
                  <a:pt x="137614" y="175705"/>
                  <a:pt x="138151" y="179614"/>
                </a:cubicBezTo>
                <a:cubicBezTo>
                  <a:pt x="138639" y="183171"/>
                  <a:pt x="141694" y="185814"/>
                  <a:pt x="145285" y="185785"/>
                </a:cubicBezTo>
                <a:lnTo>
                  <a:pt x="145285" y="185738"/>
                </a:lnTo>
                <a:lnTo>
                  <a:pt x="147190" y="185690"/>
                </a:lnTo>
                <a:cubicBezTo>
                  <a:pt x="166140" y="184662"/>
                  <a:pt x="180978" y="168996"/>
                  <a:pt x="180975" y="150019"/>
                </a:cubicBezTo>
                <a:close/>
                <a:moveTo>
                  <a:pt x="119063" y="121444"/>
                </a:moveTo>
                <a:cubicBezTo>
                  <a:pt x="119063" y="117499"/>
                  <a:pt x="115864" y="114300"/>
                  <a:pt x="111919" y="114300"/>
                </a:cubicBezTo>
                <a:lnTo>
                  <a:pt x="110014" y="114348"/>
                </a:lnTo>
                <a:cubicBezTo>
                  <a:pt x="90313" y="115366"/>
                  <a:pt x="75167" y="132161"/>
                  <a:pt x="76186" y="151862"/>
                </a:cubicBezTo>
                <a:cubicBezTo>
                  <a:pt x="77168" y="170871"/>
                  <a:pt x="92884" y="185771"/>
                  <a:pt x="111919" y="185738"/>
                </a:cubicBezTo>
                <a:lnTo>
                  <a:pt x="112890" y="185671"/>
                </a:lnTo>
                <a:cubicBezTo>
                  <a:pt x="116798" y="185133"/>
                  <a:pt x="119531" y="181528"/>
                  <a:pt x="118994" y="177620"/>
                </a:cubicBezTo>
                <a:cubicBezTo>
                  <a:pt x="118507" y="174085"/>
                  <a:pt x="115487" y="171451"/>
                  <a:pt x="111919" y="171450"/>
                </a:cubicBezTo>
                <a:lnTo>
                  <a:pt x="110452" y="171402"/>
                </a:lnTo>
                <a:cubicBezTo>
                  <a:pt x="98642" y="170614"/>
                  <a:pt x="89707" y="160401"/>
                  <a:pt x="90496" y="148591"/>
                </a:cubicBezTo>
                <a:cubicBezTo>
                  <a:pt x="91249" y="137319"/>
                  <a:pt x="100621" y="128567"/>
                  <a:pt x="111919" y="128588"/>
                </a:cubicBezTo>
                <a:lnTo>
                  <a:pt x="112890" y="128521"/>
                </a:lnTo>
                <a:cubicBezTo>
                  <a:pt x="116427" y="128035"/>
                  <a:pt x="119063" y="125014"/>
                  <a:pt x="119063" y="121444"/>
                </a:cubicBezTo>
                <a:close/>
                <a:moveTo>
                  <a:pt x="152400" y="150019"/>
                </a:moveTo>
                <a:cubicBezTo>
                  <a:pt x="152400" y="146074"/>
                  <a:pt x="149202" y="142875"/>
                  <a:pt x="145256" y="142875"/>
                </a:cubicBezTo>
                <a:lnTo>
                  <a:pt x="111919" y="142875"/>
                </a:lnTo>
                <a:lnTo>
                  <a:pt x="110947" y="142942"/>
                </a:lnTo>
                <a:cubicBezTo>
                  <a:pt x="107039" y="143480"/>
                  <a:pt x="104306" y="147084"/>
                  <a:pt x="104844" y="150992"/>
                </a:cubicBezTo>
                <a:cubicBezTo>
                  <a:pt x="105330" y="154528"/>
                  <a:pt x="108351" y="157162"/>
                  <a:pt x="111919" y="157163"/>
                </a:cubicBezTo>
                <a:lnTo>
                  <a:pt x="145256" y="157163"/>
                </a:lnTo>
                <a:lnTo>
                  <a:pt x="146228" y="157096"/>
                </a:lnTo>
                <a:cubicBezTo>
                  <a:pt x="149764" y="156610"/>
                  <a:pt x="152400" y="153589"/>
                  <a:pt x="152400" y="150019"/>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9" name="TextBox 88">
            <a:extLst>
              <a:ext uri="{FF2B5EF4-FFF2-40B4-BE49-F238E27FC236}">
                <a16:creationId xmlns:a16="http://schemas.microsoft.com/office/drawing/2014/main" id="{AEB90455-B066-3786-9075-4A86A5EC6823}"/>
              </a:ext>
            </a:extLst>
          </p:cNvPr>
          <p:cNvSpPr txBox="1">
            <a:spLocks/>
          </p:cNvSpPr>
          <p:nvPr/>
        </p:nvSpPr>
        <p:spPr>
          <a:xfrm>
            <a:off x="7988156" y="3745062"/>
            <a:ext cx="3281332" cy="118494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es" sz="1800" b="0" i="0" u="none" strike="noStrike" kern="1200" cap="none" spc="0" normalizeH="0" baseline="0" noProof="0">
                <a:ln>
                  <a:noFill/>
                </a:ln>
                <a:solidFill>
                  <a:srgbClr val="0078D4"/>
                </a:solidFill>
                <a:effectLst/>
                <a:uLnTx/>
                <a:uFillTx/>
                <a:latin typeface="Segoe UI Semibold"/>
                <a:ea typeface="+mn-ea"/>
                <a:cs typeface="Segoe Sans Display Semibold" pitchFamily="2" charset="0"/>
              </a:rPr>
              <a:t>Autónomo</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es"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Opera de forma independiente</a:t>
            </a:r>
            <a:r>
              <a:rPr kumimoji="0" lang="es-es"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a:t>
            </a:r>
            <a:r>
              <a:rPr kumimoji="0" lang="es-es" sz="1800" b="0" i="0" u="none" strike="noStrike" kern="1200" cap="none" spc="0" normalizeH="0" baseline="0" noProof="0">
                <a:ln>
                  <a:noFill/>
                </a:ln>
                <a:solidFill>
                  <a:srgbClr val="000000"/>
                </a:solidFill>
                <a:effectLst/>
                <a:uLnTx/>
                <a:uFillTx/>
                <a:latin typeface="Segoe UI"/>
                <a:ea typeface="+mn-ea"/>
                <a:cs typeface="Segoe Sans Display" pitchFamily="2" charset="0"/>
              </a:rPr>
              <a:t>planifica de manera dinámica, organiza a otros agentes, aprende y escala</a:t>
            </a:r>
          </a:p>
        </p:txBody>
      </p:sp>
    </p:spTree>
    <p:custDataLst>
      <p:tags r:id="rId1"/>
    </p:custDataLst>
    <p:extLst>
      <p:ext uri="{BB962C8B-B14F-4D97-AF65-F5344CB8AC3E}">
        <p14:creationId xmlns:p14="http://schemas.microsoft.com/office/powerpoint/2010/main" val="2650362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5416A-6833-611D-75C4-5E7BCB91D1E4}"/>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D535701B-CFFD-A8ED-37E1-37F6112FEC52}"/>
              </a:ext>
              <a:ext uri="{C183D7F6-B498-43B3-948B-1728B52AA6E4}">
                <adec:decorative xmlns:adec="http://schemas.microsoft.com/office/drawing/2017/decorative" val="1"/>
              </a:ext>
            </a:extLst>
          </p:cNvPr>
          <p:cNvGrpSpPr/>
          <p:nvPr/>
        </p:nvGrpSpPr>
        <p:grpSpPr>
          <a:xfrm>
            <a:off x="591621" y="3228275"/>
            <a:ext cx="11049399" cy="1565289"/>
            <a:chOff x="591621" y="3228275"/>
            <a:chExt cx="11049399" cy="1565289"/>
          </a:xfrm>
        </p:grpSpPr>
        <p:sp>
          <p:nvSpPr>
            <p:cNvPr id="10" name="Rectangle: Rounded Corners 9">
              <a:extLst>
                <a:ext uri="{FF2B5EF4-FFF2-40B4-BE49-F238E27FC236}">
                  <a16:creationId xmlns:a16="http://schemas.microsoft.com/office/drawing/2014/main" id="{D6F7D806-311E-18B7-C50E-7C7D8A467462}"/>
                </a:ext>
              </a:extLst>
            </p:cNvPr>
            <p:cNvSpPr/>
            <p:nvPr/>
          </p:nvSpPr>
          <p:spPr bwMode="auto">
            <a:xfrm>
              <a:off x="591621" y="3711511"/>
              <a:ext cx="11049399" cy="52322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UI Semibold"/>
                <a:ea typeface="+mn-ea"/>
                <a:cs typeface="+mn-cs"/>
              </a:endParaRPr>
            </a:p>
          </p:txBody>
        </p:sp>
        <p:grpSp>
          <p:nvGrpSpPr>
            <p:cNvPr id="11" name="Group 10">
              <a:extLst>
                <a:ext uri="{FF2B5EF4-FFF2-40B4-BE49-F238E27FC236}">
                  <a16:creationId xmlns:a16="http://schemas.microsoft.com/office/drawing/2014/main" id="{9CC5F165-B1B8-6339-5563-44769B21DFBF}"/>
                </a:ext>
              </a:extLst>
            </p:cNvPr>
            <p:cNvGrpSpPr/>
            <p:nvPr/>
          </p:nvGrpSpPr>
          <p:grpSpPr>
            <a:xfrm>
              <a:off x="2787259" y="3477450"/>
              <a:ext cx="991344" cy="991341"/>
              <a:chOff x="2926231" y="2534689"/>
              <a:chExt cx="991344" cy="991341"/>
            </a:xfrm>
          </p:grpSpPr>
          <p:grpSp>
            <p:nvGrpSpPr>
              <p:cNvPr id="62" name="Group 61">
                <a:extLst>
                  <a:ext uri="{FF2B5EF4-FFF2-40B4-BE49-F238E27FC236}">
                    <a16:creationId xmlns:a16="http://schemas.microsoft.com/office/drawing/2014/main" id="{93CB5EED-E785-55BD-00E7-0EEB0DA93091}"/>
                  </a:ext>
                </a:extLst>
              </p:cNvPr>
              <p:cNvGrpSpPr/>
              <p:nvPr/>
            </p:nvGrpSpPr>
            <p:grpSpPr>
              <a:xfrm>
                <a:off x="2926231" y="2534689"/>
                <a:ext cx="991344" cy="991341"/>
                <a:chOff x="3031090" y="2734209"/>
                <a:chExt cx="752625" cy="752623"/>
              </a:xfrm>
            </p:grpSpPr>
            <p:sp>
              <p:nvSpPr>
                <p:cNvPr id="64" name="Oval 63">
                  <a:extLst>
                    <a:ext uri="{FF2B5EF4-FFF2-40B4-BE49-F238E27FC236}">
                      <a16:creationId xmlns:a16="http://schemas.microsoft.com/office/drawing/2014/main" id="{0FD777BE-0DD1-01D3-DEAB-E8F8679DF552}"/>
                    </a:ext>
                  </a:extLst>
                </p:cNvPr>
                <p:cNvSpPr/>
                <p:nvPr/>
              </p:nvSpPr>
              <p:spPr bwMode="auto">
                <a:xfrm>
                  <a:off x="3031090" y="2734209"/>
                  <a:ext cx="752625" cy="752623"/>
                </a:xfrm>
                <a:prstGeom prst="ellipse">
                  <a:avLst/>
                </a:prstGeom>
                <a:solidFill>
                  <a:srgbClr val="FFFFFF">
                    <a:lumMod val="95000"/>
                    <a:alpha val="50000"/>
                  </a:srgbClr>
                </a:solidFill>
                <a:ln w="6350"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D936FF9-3486-8557-8CDC-D752022FDAFE}"/>
                    </a:ext>
                  </a:extLst>
                </p:cNvPr>
                <p:cNvSpPr/>
                <p:nvPr/>
              </p:nvSpPr>
              <p:spPr bwMode="auto">
                <a:xfrm>
                  <a:off x="3104982" y="2808102"/>
                  <a:ext cx="604841" cy="604837"/>
                </a:xfrm>
                <a:prstGeom prst="ellipse">
                  <a:avLst/>
                </a:prstGeom>
                <a:solidFill>
                  <a:srgbClr val="FFFFFF"/>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63" name="Graphic 62" descr="Esquema del chat">
                <a:extLst>
                  <a:ext uri="{FF2B5EF4-FFF2-40B4-BE49-F238E27FC236}">
                    <a16:creationId xmlns:a16="http://schemas.microsoft.com/office/drawing/2014/main" id="{88E907F2-68F0-1B47-818D-6C1FC693C525}"/>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123588" y="2741063"/>
                <a:ext cx="591887" cy="591887"/>
              </a:xfrm>
              <a:prstGeom prst="rect">
                <a:avLst/>
              </a:prstGeom>
            </p:spPr>
          </p:pic>
        </p:grpSp>
        <p:grpSp>
          <p:nvGrpSpPr>
            <p:cNvPr id="12" name="Group 11">
              <a:extLst>
                <a:ext uri="{FF2B5EF4-FFF2-40B4-BE49-F238E27FC236}">
                  <a16:creationId xmlns:a16="http://schemas.microsoft.com/office/drawing/2014/main" id="{0457DF1E-82C7-31DC-0AFA-F9365BFE072E}"/>
                </a:ext>
              </a:extLst>
            </p:cNvPr>
            <p:cNvGrpSpPr/>
            <p:nvPr/>
          </p:nvGrpSpPr>
          <p:grpSpPr>
            <a:xfrm>
              <a:off x="5616729" y="3462726"/>
              <a:ext cx="991344" cy="991341"/>
              <a:chOff x="5693247" y="2519965"/>
              <a:chExt cx="991344" cy="991341"/>
            </a:xfrm>
          </p:grpSpPr>
          <p:grpSp>
            <p:nvGrpSpPr>
              <p:cNvPr id="58" name="Group 57">
                <a:extLst>
                  <a:ext uri="{FF2B5EF4-FFF2-40B4-BE49-F238E27FC236}">
                    <a16:creationId xmlns:a16="http://schemas.microsoft.com/office/drawing/2014/main" id="{7686D7DD-4617-7170-6730-CB955A227AF0}"/>
                  </a:ext>
                </a:extLst>
              </p:cNvPr>
              <p:cNvGrpSpPr/>
              <p:nvPr/>
            </p:nvGrpSpPr>
            <p:grpSpPr>
              <a:xfrm>
                <a:off x="5693247" y="2519965"/>
                <a:ext cx="991344" cy="991341"/>
                <a:chOff x="3031090" y="2734209"/>
                <a:chExt cx="752625" cy="752623"/>
              </a:xfrm>
            </p:grpSpPr>
            <p:sp>
              <p:nvSpPr>
                <p:cNvPr id="60" name="Oval 59">
                  <a:extLst>
                    <a:ext uri="{FF2B5EF4-FFF2-40B4-BE49-F238E27FC236}">
                      <a16:creationId xmlns:a16="http://schemas.microsoft.com/office/drawing/2014/main" id="{D840B118-AB8F-DAB3-0D08-FC6CC4DBFC54}"/>
                    </a:ext>
                  </a:extLst>
                </p:cNvPr>
                <p:cNvSpPr/>
                <p:nvPr/>
              </p:nvSpPr>
              <p:spPr bwMode="auto">
                <a:xfrm>
                  <a:off x="3031090" y="2734209"/>
                  <a:ext cx="752625" cy="752623"/>
                </a:xfrm>
                <a:prstGeom prst="ellipse">
                  <a:avLst/>
                </a:prstGeom>
                <a:solidFill>
                  <a:srgbClr val="FFFFFF">
                    <a:lumMod val="95000"/>
                    <a:alpha val="50000"/>
                  </a:srgbClr>
                </a:solidFill>
                <a:ln w="6350"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4B2DADFE-7417-5F7B-A9DD-ED219AD9F4B1}"/>
                    </a:ext>
                  </a:extLst>
                </p:cNvPr>
                <p:cNvSpPr/>
                <p:nvPr/>
              </p:nvSpPr>
              <p:spPr bwMode="auto">
                <a:xfrm>
                  <a:off x="3104982" y="2808102"/>
                  <a:ext cx="604841" cy="604837"/>
                </a:xfrm>
                <a:prstGeom prst="ellipse">
                  <a:avLst/>
                </a:prstGeom>
                <a:solidFill>
                  <a:srgbClr val="FFFFFF"/>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59" name="Graphic 58" descr="Esquema del diagrama de flujo">
                <a:extLst>
                  <a:ext uri="{FF2B5EF4-FFF2-40B4-BE49-F238E27FC236}">
                    <a16:creationId xmlns:a16="http://schemas.microsoft.com/office/drawing/2014/main" id="{9AEB6F86-42D1-9637-4724-EE890C9414C7}"/>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5914768" y="2731859"/>
                <a:ext cx="552075" cy="552075"/>
              </a:xfrm>
              <a:prstGeom prst="rect">
                <a:avLst/>
              </a:prstGeom>
            </p:spPr>
          </p:pic>
        </p:grpSp>
        <p:grpSp>
          <p:nvGrpSpPr>
            <p:cNvPr id="13" name="Group 12">
              <a:extLst>
                <a:ext uri="{FF2B5EF4-FFF2-40B4-BE49-F238E27FC236}">
                  <a16:creationId xmlns:a16="http://schemas.microsoft.com/office/drawing/2014/main" id="{ECC4B565-9CCA-5190-F5C9-91147DC533B8}"/>
                </a:ext>
              </a:extLst>
            </p:cNvPr>
            <p:cNvGrpSpPr/>
            <p:nvPr/>
          </p:nvGrpSpPr>
          <p:grpSpPr>
            <a:xfrm>
              <a:off x="8444770" y="3461914"/>
              <a:ext cx="991344" cy="991341"/>
              <a:chOff x="8326586" y="2528545"/>
              <a:chExt cx="991344" cy="991341"/>
            </a:xfrm>
          </p:grpSpPr>
          <p:grpSp>
            <p:nvGrpSpPr>
              <p:cNvPr id="54" name="Group 53">
                <a:extLst>
                  <a:ext uri="{FF2B5EF4-FFF2-40B4-BE49-F238E27FC236}">
                    <a16:creationId xmlns:a16="http://schemas.microsoft.com/office/drawing/2014/main" id="{B844D3ED-4A3F-C9ED-DFC0-F551DEA3E696}"/>
                  </a:ext>
                </a:extLst>
              </p:cNvPr>
              <p:cNvGrpSpPr/>
              <p:nvPr/>
            </p:nvGrpSpPr>
            <p:grpSpPr>
              <a:xfrm>
                <a:off x="8326586" y="2528545"/>
                <a:ext cx="991344" cy="991341"/>
                <a:chOff x="3031090" y="2734209"/>
                <a:chExt cx="752625" cy="752623"/>
              </a:xfrm>
            </p:grpSpPr>
            <p:sp>
              <p:nvSpPr>
                <p:cNvPr id="56" name="Oval 55">
                  <a:extLst>
                    <a:ext uri="{FF2B5EF4-FFF2-40B4-BE49-F238E27FC236}">
                      <a16:creationId xmlns:a16="http://schemas.microsoft.com/office/drawing/2014/main" id="{92D0C02A-5571-0397-ABDC-22453175A26D}"/>
                    </a:ext>
                  </a:extLst>
                </p:cNvPr>
                <p:cNvSpPr/>
                <p:nvPr/>
              </p:nvSpPr>
              <p:spPr bwMode="auto">
                <a:xfrm>
                  <a:off x="3031090" y="2734209"/>
                  <a:ext cx="752625" cy="752623"/>
                </a:xfrm>
                <a:prstGeom prst="ellipse">
                  <a:avLst/>
                </a:prstGeom>
                <a:solidFill>
                  <a:srgbClr val="FFFFFF">
                    <a:lumMod val="95000"/>
                    <a:alpha val="50000"/>
                  </a:srgbClr>
                </a:solidFill>
                <a:ln w="6350"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AD799FB8-608D-7C56-5C0B-8CE2745655F2}"/>
                    </a:ext>
                  </a:extLst>
                </p:cNvPr>
                <p:cNvSpPr/>
                <p:nvPr/>
              </p:nvSpPr>
              <p:spPr bwMode="auto">
                <a:xfrm>
                  <a:off x="3104982" y="2808102"/>
                  <a:ext cx="604841" cy="604837"/>
                </a:xfrm>
                <a:prstGeom prst="ellipse">
                  <a:avLst/>
                </a:prstGeom>
                <a:solidFill>
                  <a:srgbClr val="FFFFFF"/>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55" name="Graphic 54" descr="Esquema de mano robótica">
                <a:extLst>
                  <a:ext uri="{FF2B5EF4-FFF2-40B4-BE49-F238E27FC236}">
                    <a16:creationId xmlns:a16="http://schemas.microsoft.com/office/drawing/2014/main" id="{F6E32AAB-A254-DB38-94B7-DE9CC505E4AB}"/>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8585864" y="2737513"/>
                <a:ext cx="549697" cy="549697"/>
              </a:xfrm>
              <a:prstGeom prst="rect">
                <a:avLst/>
              </a:prstGeom>
            </p:spPr>
          </p:pic>
        </p:grpSp>
        <p:sp>
          <p:nvSpPr>
            <p:cNvPr id="14" name="TextBox 13">
              <a:extLst>
                <a:ext uri="{FF2B5EF4-FFF2-40B4-BE49-F238E27FC236}">
                  <a16:creationId xmlns:a16="http://schemas.microsoft.com/office/drawing/2014/main" id="{30B7295D-F85F-DB4D-FB7F-2271CF9F5260}"/>
                </a:ext>
              </a:extLst>
            </p:cNvPr>
            <p:cNvSpPr txBox="1"/>
            <p:nvPr/>
          </p:nvSpPr>
          <p:spPr>
            <a:xfrm>
              <a:off x="771315" y="3869498"/>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0" cap="none" spc="0" normalizeH="0" baseline="0" noProof="0">
                  <a:ln>
                    <a:noFill/>
                  </a:ln>
                  <a:solidFill>
                    <a:srgbClr val="FFFFFF"/>
                  </a:solidFill>
                  <a:effectLst/>
                  <a:uLnTx/>
                  <a:uFillTx/>
                  <a:latin typeface="Segoe UI Semibold"/>
                  <a:ea typeface="+mn-ea"/>
                  <a:cs typeface="+mn-cs"/>
                </a:rPr>
                <a:t>Sencillo</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 name="TextBox 14">
              <a:extLst>
                <a:ext uri="{FF2B5EF4-FFF2-40B4-BE49-F238E27FC236}">
                  <a16:creationId xmlns:a16="http://schemas.microsoft.com/office/drawing/2014/main" id="{26F9EC5A-98FE-C62A-3F0B-F17BF93C4EFB}"/>
                </a:ext>
              </a:extLst>
            </p:cNvPr>
            <p:cNvSpPr txBox="1"/>
            <p:nvPr/>
          </p:nvSpPr>
          <p:spPr>
            <a:xfrm>
              <a:off x="10224306" y="3869498"/>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0" cap="none" spc="0" normalizeH="0" baseline="0" noProof="0" dirty="0">
                  <a:ln>
                    <a:noFill/>
                  </a:ln>
                  <a:solidFill>
                    <a:srgbClr val="FFFFFF"/>
                  </a:solidFill>
                  <a:effectLst/>
                  <a:uLnTx/>
                  <a:uFillTx/>
                  <a:latin typeface="Segoe UI Semibold"/>
                  <a:ea typeface="+mn-ea"/>
                  <a:cs typeface="+mn-cs"/>
                </a:rPr>
                <a:t>Avanzado</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cxnSp>
          <p:nvCxnSpPr>
            <p:cNvPr id="32" name="Straight Connector 31">
              <a:extLst>
                <a:ext uri="{FF2B5EF4-FFF2-40B4-BE49-F238E27FC236}">
                  <a16:creationId xmlns:a16="http://schemas.microsoft.com/office/drawing/2014/main" id="{9ED99FF6-3DFD-A773-7E6D-FABAC0A9578D}"/>
                </a:ext>
              </a:extLst>
            </p:cNvPr>
            <p:cNvCxnSpPr>
              <a:cxnSpLocks/>
            </p:cNvCxnSpPr>
            <p:nvPr/>
          </p:nvCxnSpPr>
          <p:spPr>
            <a:xfrm>
              <a:off x="2082569" y="3228275"/>
              <a:ext cx="0" cy="483236"/>
            </a:xfrm>
            <a:prstGeom prst="line">
              <a:avLst/>
            </a:prstGeom>
            <a:noFill/>
            <a:ln w="19050" cap="flat" cmpd="sng" algn="ctr">
              <a:solidFill>
                <a:srgbClr val="D043A0"/>
              </a:solidFill>
              <a:prstDash val="solid"/>
              <a:headEnd type="none" w="lg" len="med"/>
              <a:tailEnd type="none" w="lg" len="med"/>
            </a:ln>
            <a:effectLst/>
          </p:spPr>
        </p:cxnSp>
        <p:cxnSp>
          <p:nvCxnSpPr>
            <p:cNvPr id="33" name="Straight Connector 32">
              <a:extLst>
                <a:ext uri="{FF2B5EF4-FFF2-40B4-BE49-F238E27FC236}">
                  <a16:creationId xmlns:a16="http://schemas.microsoft.com/office/drawing/2014/main" id="{49416062-C265-F873-C199-D67CF61A14C1}"/>
                </a:ext>
              </a:extLst>
            </p:cNvPr>
            <p:cNvCxnSpPr>
              <a:cxnSpLocks/>
            </p:cNvCxnSpPr>
            <p:nvPr/>
          </p:nvCxnSpPr>
          <p:spPr>
            <a:xfrm>
              <a:off x="3778603" y="4234731"/>
              <a:ext cx="0" cy="558833"/>
            </a:xfrm>
            <a:prstGeom prst="line">
              <a:avLst/>
            </a:prstGeom>
            <a:noFill/>
            <a:ln w="19050" cap="flat" cmpd="sng" algn="ctr">
              <a:solidFill>
                <a:srgbClr val="D043A0"/>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224CD0F8-50DE-28E3-76F1-123D3C9B486B}"/>
                </a:ext>
              </a:extLst>
            </p:cNvPr>
            <p:cNvCxnSpPr>
              <a:cxnSpLocks/>
            </p:cNvCxnSpPr>
            <p:nvPr/>
          </p:nvCxnSpPr>
          <p:spPr>
            <a:xfrm>
              <a:off x="5311515" y="3238697"/>
              <a:ext cx="0" cy="475160"/>
            </a:xfrm>
            <a:prstGeom prst="line">
              <a:avLst/>
            </a:prstGeom>
            <a:noFill/>
            <a:ln w="19050" cap="flat" cmpd="sng" algn="ctr">
              <a:solidFill>
                <a:srgbClr val="595CCD"/>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3210D65-BDE9-E74D-FFC1-52666D70155A}"/>
                </a:ext>
              </a:extLst>
            </p:cNvPr>
            <p:cNvCxnSpPr>
              <a:cxnSpLocks/>
            </p:cNvCxnSpPr>
            <p:nvPr/>
          </p:nvCxnSpPr>
          <p:spPr>
            <a:xfrm>
              <a:off x="7110643" y="4234731"/>
              <a:ext cx="0" cy="558833"/>
            </a:xfrm>
            <a:prstGeom prst="line">
              <a:avLst/>
            </a:prstGeom>
            <a:noFill/>
            <a:ln w="19050" cap="flat" cmpd="sng" algn="ctr">
              <a:solidFill>
                <a:srgbClr val="595CCD"/>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EBCBB963-C881-FC20-DD69-34387E14ECD2}"/>
                </a:ext>
              </a:extLst>
            </p:cNvPr>
            <p:cNvCxnSpPr>
              <a:cxnSpLocks/>
            </p:cNvCxnSpPr>
            <p:nvPr/>
          </p:nvCxnSpPr>
          <p:spPr>
            <a:xfrm>
              <a:off x="8377338" y="3238697"/>
              <a:ext cx="0" cy="472814"/>
            </a:xfrm>
            <a:prstGeom prst="line">
              <a:avLst/>
            </a:prstGeom>
            <a:noFill/>
            <a:ln w="19050" cap="flat" cmpd="sng" algn="ctr">
              <a:solidFill>
                <a:srgbClr val="0D8ECF"/>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9CF60B9-FE9C-E5CF-ED0E-A07317A98703}"/>
                </a:ext>
              </a:extLst>
            </p:cNvPr>
            <p:cNvCxnSpPr>
              <a:cxnSpLocks/>
            </p:cNvCxnSpPr>
            <p:nvPr/>
          </p:nvCxnSpPr>
          <p:spPr>
            <a:xfrm>
              <a:off x="10418886" y="4234731"/>
              <a:ext cx="0" cy="558833"/>
            </a:xfrm>
            <a:prstGeom prst="line">
              <a:avLst/>
            </a:prstGeom>
            <a:noFill/>
            <a:ln w="19050" cap="flat" cmpd="sng" algn="ctr">
              <a:solidFill>
                <a:srgbClr val="0D8ECF"/>
              </a:solidFill>
              <a:prstDash val="solid"/>
              <a:headEnd type="none" w="lg" len="med"/>
              <a:tailEnd type="none" w="lg" len="med"/>
            </a:ln>
            <a:effectLst/>
          </p:spPr>
        </p:cxnSp>
      </p:grpSp>
      <p:grpSp>
        <p:nvGrpSpPr>
          <p:cNvPr id="66" name="Group 65">
            <a:extLst>
              <a:ext uri="{FF2B5EF4-FFF2-40B4-BE49-F238E27FC236}">
                <a16:creationId xmlns:a16="http://schemas.microsoft.com/office/drawing/2014/main" id="{405AB3F1-8FFE-E7DB-13BC-4C3B888819EE}"/>
              </a:ext>
              <a:ext uri="{C183D7F6-B498-43B3-948B-1728B52AA6E4}">
                <adec:decorative xmlns:adec="http://schemas.microsoft.com/office/drawing/2017/decorative" val="1"/>
              </a:ext>
            </a:extLst>
          </p:cNvPr>
          <p:cNvGrpSpPr/>
          <p:nvPr/>
        </p:nvGrpSpPr>
        <p:grpSpPr>
          <a:xfrm>
            <a:off x="593007" y="2347747"/>
            <a:ext cx="10353948" cy="3342510"/>
            <a:chOff x="593007" y="2347747"/>
            <a:chExt cx="10353948" cy="3342510"/>
          </a:xfrm>
        </p:grpSpPr>
        <p:sp>
          <p:nvSpPr>
            <p:cNvPr id="67" name="Rectangle: Rounded Corners 6">
              <a:extLst>
                <a:ext uri="{FF2B5EF4-FFF2-40B4-BE49-F238E27FC236}">
                  <a16:creationId xmlns:a16="http://schemas.microsoft.com/office/drawing/2014/main" id="{65F9ACF1-0EF9-1EBB-E4F8-9B6BB8582A7C}"/>
                </a:ext>
                <a:ext uri="{C183D7F6-B498-43B3-948B-1728B52AA6E4}">
                  <adec:decorative xmlns:adec="http://schemas.microsoft.com/office/drawing/2017/decorative" val="1"/>
                </a:ext>
              </a:extLst>
            </p:cNvPr>
            <p:cNvSpPr/>
            <p:nvPr/>
          </p:nvSpPr>
          <p:spPr bwMode="auto">
            <a:xfrm>
              <a:off x="7610622" y="2353071"/>
              <a:ext cx="2580170" cy="890950"/>
            </a:xfrm>
            <a:prstGeom prst="roundRect">
              <a:avLst>
                <a:gd name="adj" fmla="val 8425"/>
              </a:avLst>
            </a:prstGeom>
            <a:solidFill>
              <a:srgbClr val="FFFFFF"/>
            </a:solidFill>
            <a:ln w="19050" cap="flat" cmpd="sng" algn="ctr">
              <a:solidFill>
                <a:srgbClr val="0D8ECF"/>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8" name="Graphic 67">
              <a:extLst>
                <a:ext uri="{FF2B5EF4-FFF2-40B4-BE49-F238E27FC236}">
                  <a16:creationId xmlns:a16="http://schemas.microsoft.com/office/drawing/2014/main" id="{F16E86F8-E856-F0F1-EE0B-9787076C7B8A}"/>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175910" y="3003509"/>
              <a:ext cx="117643" cy="134449"/>
            </a:xfrm>
            <a:prstGeom prst="rect">
              <a:avLst/>
            </a:prstGeom>
          </p:spPr>
        </p:pic>
        <p:pic>
          <p:nvPicPr>
            <p:cNvPr id="69" name="Graphic 68">
              <a:extLst>
                <a:ext uri="{FF2B5EF4-FFF2-40B4-BE49-F238E27FC236}">
                  <a16:creationId xmlns:a16="http://schemas.microsoft.com/office/drawing/2014/main" id="{B64ADA71-C904-5716-A52F-14F04612E366}"/>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9956826" y="3000148"/>
              <a:ext cx="141171" cy="141171"/>
            </a:xfrm>
            <a:prstGeom prst="rect">
              <a:avLst/>
            </a:prstGeom>
          </p:spPr>
        </p:pic>
        <p:pic>
          <p:nvPicPr>
            <p:cNvPr id="70" name="Graphic 69">
              <a:extLst>
                <a:ext uri="{FF2B5EF4-FFF2-40B4-BE49-F238E27FC236}">
                  <a16:creationId xmlns:a16="http://schemas.microsoft.com/office/drawing/2014/main" id="{CB3027A0-21C7-FCD7-78F5-D0D0E153D060}"/>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7866604" y="3009461"/>
              <a:ext cx="117643" cy="117643"/>
            </a:xfrm>
            <a:prstGeom prst="rect">
              <a:avLst/>
            </a:prstGeom>
          </p:spPr>
        </p:pic>
        <p:sp>
          <p:nvSpPr>
            <p:cNvPr id="71" name="Rectangle: Rounded Corners 6">
              <a:extLst>
                <a:ext uri="{FF2B5EF4-FFF2-40B4-BE49-F238E27FC236}">
                  <a16:creationId xmlns:a16="http://schemas.microsoft.com/office/drawing/2014/main" id="{D815D3CF-0473-50CB-E782-7F805CF3F000}"/>
                </a:ext>
                <a:ext uri="{C183D7F6-B498-43B3-948B-1728B52AA6E4}">
                  <adec:decorative xmlns:adec="http://schemas.microsoft.com/office/drawing/2017/decorative" val="1"/>
                </a:ext>
              </a:extLst>
            </p:cNvPr>
            <p:cNvSpPr/>
            <p:nvPr/>
          </p:nvSpPr>
          <p:spPr bwMode="auto">
            <a:xfrm>
              <a:off x="593007" y="2347747"/>
              <a:ext cx="2580170" cy="890950"/>
            </a:xfrm>
            <a:prstGeom prst="roundRect">
              <a:avLst>
                <a:gd name="adj" fmla="val 8425"/>
              </a:avLst>
            </a:prstGeom>
            <a:solidFill>
              <a:srgbClr val="FFFFFF"/>
            </a:solidFill>
            <a:ln w="19050" cap="flat" cmpd="sng" algn="ctr">
              <a:solidFill>
                <a:srgbClr val="D043A0"/>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2" name="Graphic 71">
              <a:extLst>
                <a:ext uri="{FF2B5EF4-FFF2-40B4-BE49-F238E27FC236}">
                  <a16:creationId xmlns:a16="http://schemas.microsoft.com/office/drawing/2014/main" id="{A9972566-ED54-3300-1789-897859870E66}"/>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1158295" y="2998185"/>
              <a:ext cx="117643" cy="134449"/>
            </a:xfrm>
            <a:prstGeom prst="rect">
              <a:avLst/>
            </a:prstGeom>
          </p:spPr>
        </p:pic>
        <p:pic>
          <p:nvPicPr>
            <p:cNvPr id="73" name="Graphic 72">
              <a:extLst>
                <a:ext uri="{FF2B5EF4-FFF2-40B4-BE49-F238E27FC236}">
                  <a16:creationId xmlns:a16="http://schemas.microsoft.com/office/drawing/2014/main" id="{1ED04DB9-990C-D5BB-06E0-2DF765587092}"/>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2939211" y="2994824"/>
              <a:ext cx="141171" cy="141171"/>
            </a:xfrm>
            <a:prstGeom prst="rect">
              <a:avLst/>
            </a:prstGeom>
          </p:spPr>
        </p:pic>
        <p:pic>
          <p:nvPicPr>
            <p:cNvPr id="74" name="Graphic 73">
              <a:extLst>
                <a:ext uri="{FF2B5EF4-FFF2-40B4-BE49-F238E27FC236}">
                  <a16:creationId xmlns:a16="http://schemas.microsoft.com/office/drawing/2014/main" id="{16C6C470-027D-C58A-510A-7FACCCD44EF5}"/>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48989" y="3004137"/>
              <a:ext cx="117643" cy="117643"/>
            </a:xfrm>
            <a:prstGeom prst="rect">
              <a:avLst/>
            </a:prstGeom>
          </p:spPr>
        </p:pic>
        <p:sp>
          <p:nvSpPr>
            <p:cNvPr id="75" name="Rectangle: Rounded Corners 6">
              <a:extLst>
                <a:ext uri="{FF2B5EF4-FFF2-40B4-BE49-F238E27FC236}">
                  <a16:creationId xmlns:a16="http://schemas.microsoft.com/office/drawing/2014/main" id="{39811B81-B2B4-C2E4-4ACD-0F69E2E745FB}"/>
                </a:ext>
                <a:ext uri="{C183D7F6-B498-43B3-948B-1728B52AA6E4}">
                  <adec:decorative xmlns:adec="http://schemas.microsoft.com/office/drawing/2017/decorative" val="1"/>
                </a:ext>
              </a:extLst>
            </p:cNvPr>
            <p:cNvSpPr/>
            <p:nvPr/>
          </p:nvSpPr>
          <p:spPr bwMode="auto">
            <a:xfrm>
              <a:off x="1676859" y="4799307"/>
              <a:ext cx="2580170" cy="890950"/>
            </a:xfrm>
            <a:prstGeom prst="roundRect">
              <a:avLst>
                <a:gd name="adj" fmla="val 8425"/>
              </a:avLst>
            </a:prstGeom>
            <a:solidFill>
              <a:srgbClr val="FFFFFF"/>
            </a:solidFill>
            <a:ln w="19050" cap="flat" cmpd="sng" algn="ctr">
              <a:solidFill>
                <a:srgbClr val="D043A0"/>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6" name="Graphic 75">
              <a:extLst>
                <a:ext uri="{FF2B5EF4-FFF2-40B4-BE49-F238E27FC236}">
                  <a16:creationId xmlns:a16="http://schemas.microsoft.com/office/drawing/2014/main" id="{9C0BE90C-CA40-5224-00FB-E49533239E8C}"/>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2242147" y="5449745"/>
              <a:ext cx="117643" cy="134449"/>
            </a:xfrm>
            <a:prstGeom prst="rect">
              <a:avLst/>
            </a:prstGeom>
          </p:spPr>
        </p:pic>
        <p:pic>
          <p:nvPicPr>
            <p:cNvPr id="77" name="Graphic 76">
              <a:extLst>
                <a:ext uri="{FF2B5EF4-FFF2-40B4-BE49-F238E27FC236}">
                  <a16:creationId xmlns:a16="http://schemas.microsoft.com/office/drawing/2014/main" id="{84A2C2BC-60F1-3233-D60E-AEF43460F133}"/>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4023063" y="5446384"/>
              <a:ext cx="141171" cy="141171"/>
            </a:xfrm>
            <a:prstGeom prst="rect">
              <a:avLst/>
            </a:prstGeom>
          </p:spPr>
        </p:pic>
        <p:pic>
          <p:nvPicPr>
            <p:cNvPr id="78" name="Graphic 77">
              <a:extLst>
                <a:ext uri="{FF2B5EF4-FFF2-40B4-BE49-F238E27FC236}">
                  <a16:creationId xmlns:a16="http://schemas.microsoft.com/office/drawing/2014/main" id="{678CB1A3-4EAE-D940-B29A-E2386DE9BE92}"/>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1932841" y="5455697"/>
              <a:ext cx="117643" cy="117643"/>
            </a:xfrm>
            <a:prstGeom prst="rect">
              <a:avLst/>
            </a:prstGeom>
          </p:spPr>
        </p:pic>
        <p:sp>
          <p:nvSpPr>
            <p:cNvPr id="79" name="Rectangle: Rounded Corners 6">
              <a:extLst>
                <a:ext uri="{FF2B5EF4-FFF2-40B4-BE49-F238E27FC236}">
                  <a16:creationId xmlns:a16="http://schemas.microsoft.com/office/drawing/2014/main" id="{EED16D0A-E0EF-7CB1-8462-2E9665D02808}"/>
                </a:ext>
                <a:ext uri="{C183D7F6-B498-43B3-948B-1728B52AA6E4}">
                  <adec:decorative xmlns:adec="http://schemas.microsoft.com/office/drawing/2017/decorative" val="1"/>
                </a:ext>
              </a:extLst>
            </p:cNvPr>
            <p:cNvSpPr/>
            <p:nvPr/>
          </p:nvSpPr>
          <p:spPr bwMode="auto">
            <a:xfrm>
              <a:off x="4971286" y="4795667"/>
              <a:ext cx="2580170" cy="890950"/>
            </a:xfrm>
            <a:prstGeom prst="roundRect">
              <a:avLst>
                <a:gd name="adj" fmla="val 8425"/>
              </a:avLst>
            </a:prstGeom>
            <a:solidFill>
              <a:srgbClr val="FFFFFF"/>
            </a:solidFill>
            <a:ln w="19050" cap="flat" cmpd="sng" algn="ctr">
              <a:solidFill>
                <a:srgbClr val="595CCD"/>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0" name="Graphic 79">
              <a:extLst>
                <a:ext uri="{FF2B5EF4-FFF2-40B4-BE49-F238E27FC236}">
                  <a16:creationId xmlns:a16="http://schemas.microsoft.com/office/drawing/2014/main" id="{C05180D5-B3B2-E200-536C-B6E5FBF52BC4}"/>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536574" y="5446105"/>
              <a:ext cx="117643" cy="134449"/>
            </a:xfrm>
            <a:prstGeom prst="rect">
              <a:avLst/>
            </a:prstGeom>
          </p:spPr>
        </p:pic>
        <p:pic>
          <p:nvPicPr>
            <p:cNvPr id="81" name="Graphic 80">
              <a:extLst>
                <a:ext uri="{FF2B5EF4-FFF2-40B4-BE49-F238E27FC236}">
                  <a16:creationId xmlns:a16="http://schemas.microsoft.com/office/drawing/2014/main" id="{18720A1C-8518-AC82-9979-7FBF5698B3A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7317490" y="5442744"/>
              <a:ext cx="141171" cy="141171"/>
            </a:xfrm>
            <a:prstGeom prst="rect">
              <a:avLst/>
            </a:prstGeom>
          </p:spPr>
        </p:pic>
        <p:pic>
          <p:nvPicPr>
            <p:cNvPr id="82" name="Graphic 81">
              <a:extLst>
                <a:ext uri="{FF2B5EF4-FFF2-40B4-BE49-F238E27FC236}">
                  <a16:creationId xmlns:a16="http://schemas.microsoft.com/office/drawing/2014/main" id="{4B0EE2EF-9BAB-E0F8-4743-CD5EB11FFC8E}"/>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5227268" y="5452057"/>
              <a:ext cx="117643" cy="117643"/>
            </a:xfrm>
            <a:prstGeom prst="rect">
              <a:avLst/>
            </a:prstGeom>
          </p:spPr>
        </p:pic>
        <p:sp>
          <p:nvSpPr>
            <p:cNvPr id="83" name="Rectangle: Rounded Corners 6">
              <a:extLst>
                <a:ext uri="{FF2B5EF4-FFF2-40B4-BE49-F238E27FC236}">
                  <a16:creationId xmlns:a16="http://schemas.microsoft.com/office/drawing/2014/main" id="{CE5685B2-8B1F-02C6-46A6-40D076BF2EAE}"/>
                </a:ext>
                <a:ext uri="{C183D7F6-B498-43B3-948B-1728B52AA6E4}">
                  <adec:decorative xmlns:adec="http://schemas.microsoft.com/office/drawing/2017/decorative" val="1"/>
                </a:ext>
              </a:extLst>
            </p:cNvPr>
            <p:cNvSpPr/>
            <p:nvPr/>
          </p:nvSpPr>
          <p:spPr bwMode="auto">
            <a:xfrm>
              <a:off x="4149477" y="2350209"/>
              <a:ext cx="2580170" cy="890950"/>
            </a:xfrm>
            <a:prstGeom prst="roundRect">
              <a:avLst>
                <a:gd name="adj" fmla="val 8425"/>
              </a:avLst>
            </a:prstGeom>
            <a:solidFill>
              <a:srgbClr val="FFFFFF"/>
            </a:solidFill>
            <a:ln w="19050" cap="flat" cmpd="sng" algn="ctr">
              <a:solidFill>
                <a:srgbClr val="595CCD"/>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4" name="Graphic 83">
              <a:extLst>
                <a:ext uri="{FF2B5EF4-FFF2-40B4-BE49-F238E27FC236}">
                  <a16:creationId xmlns:a16="http://schemas.microsoft.com/office/drawing/2014/main" id="{3178C76F-EA6E-03FC-A137-84BB00DF98A7}"/>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4714765" y="3000647"/>
              <a:ext cx="117643" cy="134449"/>
            </a:xfrm>
            <a:prstGeom prst="rect">
              <a:avLst/>
            </a:prstGeom>
          </p:spPr>
        </p:pic>
        <p:pic>
          <p:nvPicPr>
            <p:cNvPr id="85" name="Graphic 84">
              <a:extLst>
                <a:ext uri="{FF2B5EF4-FFF2-40B4-BE49-F238E27FC236}">
                  <a16:creationId xmlns:a16="http://schemas.microsoft.com/office/drawing/2014/main" id="{D436F67E-0013-6907-5755-2A34DA3A2659}"/>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6495681" y="2997286"/>
              <a:ext cx="141171" cy="141171"/>
            </a:xfrm>
            <a:prstGeom prst="rect">
              <a:avLst/>
            </a:prstGeom>
          </p:spPr>
        </p:pic>
        <p:pic>
          <p:nvPicPr>
            <p:cNvPr id="86" name="Graphic 85">
              <a:extLst>
                <a:ext uri="{FF2B5EF4-FFF2-40B4-BE49-F238E27FC236}">
                  <a16:creationId xmlns:a16="http://schemas.microsoft.com/office/drawing/2014/main" id="{BA252DD0-3EDA-4BD5-C423-BD0B6B978E87}"/>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4405459" y="3006599"/>
              <a:ext cx="117643" cy="117643"/>
            </a:xfrm>
            <a:prstGeom prst="rect">
              <a:avLst/>
            </a:prstGeom>
          </p:spPr>
        </p:pic>
        <p:sp>
          <p:nvSpPr>
            <p:cNvPr id="87" name="Rectangle: Rounded Corners 6">
              <a:extLst>
                <a:ext uri="{FF2B5EF4-FFF2-40B4-BE49-F238E27FC236}">
                  <a16:creationId xmlns:a16="http://schemas.microsoft.com/office/drawing/2014/main" id="{3D6021F6-6CAC-3CF3-B144-D7EB242F9116}"/>
                </a:ext>
                <a:ext uri="{C183D7F6-B498-43B3-948B-1728B52AA6E4}">
                  <adec:decorative xmlns:adec="http://schemas.microsoft.com/office/drawing/2017/decorative" val="1"/>
                </a:ext>
              </a:extLst>
            </p:cNvPr>
            <p:cNvSpPr/>
            <p:nvPr/>
          </p:nvSpPr>
          <p:spPr bwMode="auto">
            <a:xfrm>
              <a:off x="8366785" y="4793564"/>
              <a:ext cx="2580170" cy="890950"/>
            </a:xfrm>
            <a:prstGeom prst="roundRect">
              <a:avLst>
                <a:gd name="adj" fmla="val 8425"/>
              </a:avLst>
            </a:prstGeom>
            <a:solidFill>
              <a:srgbClr val="FFFFFF"/>
            </a:solidFill>
            <a:ln w="19050" cap="flat" cmpd="sng" algn="ctr">
              <a:solidFill>
                <a:srgbClr val="0D8ECF"/>
              </a:soli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8" name="Graphic 87">
              <a:extLst>
                <a:ext uri="{FF2B5EF4-FFF2-40B4-BE49-F238E27FC236}">
                  <a16:creationId xmlns:a16="http://schemas.microsoft.com/office/drawing/2014/main" id="{F9A1997A-09D0-ABA9-FCD4-2F4396E508F1}"/>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8932073" y="5444002"/>
              <a:ext cx="117643" cy="134449"/>
            </a:xfrm>
            <a:prstGeom prst="rect">
              <a:avLst/>
            </a:prstGeom>
          </p:spPr>
        </p:pic>
        <p:pic>
          <p:nvPicPr>
            <p:cNvPr id="89" name="Graphic 88">
              <a:extLst>
                <a:ext uri="{FF2B5EF4-FFF2-40B4-BE49-F238E27FC236}">
                  <a16:creationId xmlns:a16="http://schemas.microsoft.com/office/drawing/2014/main" id="{B32441C5-A7B3-E6CF-A337-1D25407B86B1}"/>
                </a:ext>
              </a:extLst>
            </p:cNvPr>
            <p:cNvPicPr>
              <a:picLocks noChangeAspect="1"/>
            </p:cNvPicPr>
            <p:nvPr/>
          </p:nvPicPr>
          <p:blipFill>
            <a:blip>
              <a:extLst>
                <a:ext uri="{96DAC541-7B7A-43D3-8B79-37D633B846F1}">
                  <asvg:svgBlip xmlns:asvg="http://schemas.microsoft.com/office/drawing/2016/SVG/main" r:embed="rId8"/>
                </a:ext>
              </a:extLst>
            </a:blip>
            <a:stretch>
              <a:fillRect/>
            </a:stretch>
          </p:blipFill>
          <p:spPr>
            <a:xfrm>
              <a:off x="10712989" y="5440641"/>
              <a:ext cx="141171" cy="141171"/>
            </a:xfrm>
            <a:prstGeom prst="rect">
              <a:avLst/>
            </a:prstGeom>
          </p:spPr>
        </p:pic>
        <p:pic>
          <p:nvPicPr>
            <p:cNvPr id="90" name="Graphic 89">
              <a:extLst>
                <a:ext uri="{FF2B5EF4-FFF2-40B4-BE49-F238E27FC236}">
                  <a16:creationId xmlns:a16="http://schemas.microsoft.com/office/drawing/2014/main" id="{5E6FADD3-71D0-FC13-75E2-55945D8A04D1}"/>
                </a:ext>
              </a:extLst>
            </p:cNvPr>
            <p:cNvPicPr>
              <a:picLocks noChangeAspect="1"/>
            </p:cNvPicPr>
            <p:nvPr/>
          </p:nvPicPr>
          <p:blipFill>
            <a:blip>
              <a:extLst>
                <a:ext uri="{96DAC541-7B7A-43D3-8B79-37D633B846F1}">
                  <asvg:svgBlip xmlns:asvg="http://schemas.microsoft.com/office/drawing/2016/SVG/main" r:embed="rId9"/>
                </a:ext>
              </a:extLst>
            </a:blip>
            <a:stretch>
              <a:fillRect/>
            </a:stretch>
          </p:blipFill>
          <p:spPr>
            <a:xfrm>
              <a:off x="8622767" y="5449954"/>
              <a:ext cx="117643" cy="117643"/>
            </a:xfrm>
            <a:prstGeom prst="rect">
              <a:avLst/>
            </a:prstGeom>
          </p:spPr>
        </p:pic>
      </p:grpSp>
      <p:sp>
        <p:nvSpPr>
          <p:cNvPr id="92" name="TextBox 91">
            <a:extLst>
              <a:ext uri="{FF2B5EF4-FFF2-40B4-BE49-F238E27FC236}">
                <a16:creationId xmlns:a16="http://schemas.microsoft.com/office/drawing/2014/main" id="{22B98046-2A4F-AC20-BBBE-E5BAC76C8CDE}"/>
              </a:ext>
            </a:extLst>
          </p:cNvPr>
          <p:cNvSpPr txBox="1"/>
          <p:nvPr/>
        </p:nvSpPr>
        <p:spPr>
          <a:xfrm>
            <a:off x="604582" y="2111875"/>
            <a:ext cx="2738495"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prstClr val="black"/>
                </a:solidFill>
                <a:effectLst/>
                <a:uLnTx/>
                <a:uFillTx/>
                <a:latin typeface="Segoe UI Semibold"/>
                <a:ea typeface="+mn-ea"/>
                <a:cs typeface="Segoe Sans Text Semibold" pitchFamily="2" charset="0"/>
              </a:rPr>
              <a:t>Agente de soporte técnico</a:t>
            </a:r>
          </a:p>
        </p:txBody>
      </p:sp>
      <p:sp>
        <p:nvSpPr>
          <p:cNvPr id="93" name="Title 1">
            <a:extLst>
              <a:ext uri="{FF2B5EF4-FFF2-40B4-BE49-F238E27FC236}">
                <a16:creationId xmlns:a16="http://schemas.microsoft.com/office/drawing/2014/main" id="{25F5029B-B87A-6ABA-436A-4A25DD08FAA6}"/>
              </a:ext>
            </a:extLst>
          </p:cNvPr>
          <p:cNvSpPr txBox="1">
            <a:spLocks/>
          </p:cNvSpPr>
          <p:nvPr/>
        </p:nvSpPr>
        <p:spPr>
          <a:xfrm>
            <a:off x="734689" y="2436676"/>
            <a:ext cx="2319033" cy="322204"/>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300"/>
              </a:lnSpc>
              <a:spcBef>
                <a:spcPct val="0"/>
              </a:spcBef>
              <a:spcAft>
                <a:spcPct val="0"/>
              </a:spcAft>
              <a:buClrTx/>
              <a:buSzTx/>
              <a:buFontTx/>
              <a:buNone/>
              <a:tabLst/>
              <a:defRPr/>
            </a:pPr>
            <a:r>
              <a:rPr kumimoji="0" lang="es-es" sz="1050" b="0" i="0" u="none" strike="noStrike" kern="1200" cap="none" spc="0" normalizeH="0" baseline="0" noProof="0" dirty="0">
                <a:ln w="3175">
                  <a:noFill/>
                </a:ln>
                <a:solidFill>
                  <a:srgbClr val="000000"/>
                </a:solidFill>
                <a:effectLst/>
                <a:uLnTx/>
                <a:uFillTx/>
                <a:latin typeface="Segoe UI"/>
                <a:ea typeface="+mn-ea"/>
                <a:cs typeface="Segoe UI" pitchFamily="34" charset="0"/>
              </a:rPr>
              <a:t>¿Cómo me </a:t>
            </a:r>
            <a:r>
              <a:rPr kumimoji="0" lang="es-es" sz="1050" b="0" i="0" u="none" strike="noStrike" kern="1200" cap="none" spc="0" normalizeH="0" baseline="0" noProof="0" dirty="0">
                <a:ln>
                  <a:noFill/>
                </a:ln>
                <a:solidFill>
                  <a:srgbClr val="000000"/>
                </a:solidFill>
                <a:effectLst/>
                <a:uLnTx/>
                <a:uFillTx/>
                <a:latin typeface="Segoe UI"/>
                <a:ea typeface="+mn-ea"/>
                <a:cs typeface="Segoe UI" pitchFamily="34" charset="0"/>
              </a:rPr>
              <a:t>conecto a la red corporativa</a:t>
            </a:r>
            <a:r>
              <a:rPr kumimoji="0" lang="es-es" sz="1050" b="0" i="0" u="none" strike="noStrike" kern="1200" cap="none" spc="0" normalizeH="0" baseline="0" noProof="0" dirty="0">
                <a:ln w="3175">
                  <a:noFill/>
                </a:ln>
                <a:solidFill>
                  <a:srgbClr val="000000"/>
                </a:solidFill>
                <a:effectLst/>
                <a:uLnTx/>
                <a:uFillTx/>
                <a:latin typeface="Segoe UI"/>
                <a:ea typeface="+mn-ea"/>
                <a:cs typeface="Segoe UI" pitchFamily="34" charset="0"/>
              </a:rPr>
              <a:t>?</a:t>
            </a:r>
          </a:p>
        </p:txBody>
      </p:sp>
      <p:sp>
        <p:nvSpPr>
          <p:cNvPr id="94" name="TextBox 93">
            <a:extLst>
              <a:ext uri="{FF2B5EF4-FFF2-40B4-BE49-F238E27FC236}">
                <a16:creationId xmlns:a16="http://schemas.microsoft.com/office/drawing/2014/main" id="{85D62477-9FFE-0A44-8B71-B95350E980B3}"/>
              </a:ext>
            </a:extLst>
          </p:cNvPr>
          <p:cNvSpPr txBox="1"/>
          <p:nvPr/>
        </p:nvSpPr>
        <p:spPr>
          <a:xfrm>
            <a:off x="4161052" y="2103170"/>
            <a:ext cx="2744845"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prstClr val="black"/>
                </a:solidFill>
                <a:effectLst/>
                <a:uLnTx/>
                <a:uFillTx/>
                <a:latin typeface="Segoe UI Semibold"/>
                <a:ea typeface="+mn-ea"/>
                <a:cs typeface="Segoe Sans Text Semibold" pitchFamily="2" charset="0"/>
              </a:rPr>
              <a:t>Agente de renovación de dispositivos</a:t>
            </a:r>
          </a:p>
        </p:txBody>
      </p:sp>
      <p:sp>
        <p:nvSpPr>
          <p:cNvPr id="95" name="Title 1">
            <a:extLst>
              <a:ext uri="{FF2B5EF4-FFF2-40B4-BE49-F238E27FC236}">
                <a16:creationId xmlns:a16="http://schemas.microsoft.com/office/drawing/2014/main" id="{C9FE2B6C-E6A2-3773-5C6F-58A024891D77}"/>
              </a:ext>
            </a:extLst>
          </p:cNvPr>
          <p:cNvSpPr txBox="1">
            <a:spLocks/>
          </p:cNvSpPr>
          <p:nvPr/>
        </p:nvSpPr>
        <p:spPr>
          <a:xfrm>
            <a:off x="4291159" y="2439138"/>
            <a:ext cx="2319033" cy="488916"/>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300"/>
              </a:lnSpc>
              <a:spcBef>
                <a:spcPct val="0"/>
              </a:spcBef>
              <a:spcAft>
                <a:spcPct val="0"/>
              </a:spcAft>
              <a:buClrTx/>
              <a:buSzTx/>
              <a:buFontTx/>
              <a:buNone/>
              <a:tabLst/>
              <a:defRPr/>
            </a:pPr>
            <a:r>
              <a:rPr kumimoji="0" lang="es-es" sz="1050" b="0" i="0" u="none" strike="noStrike" kern="1200" cap="none" spc="0" normalizeH="0" baseline="0" noProof="0" dirty="0">
                <a:ln w="3175">
                  <a:noFill/>
                </a:ln>
                <a:solidFill>
                  <a:srgbClr val="000000"/>
                </a:solidFill>
                <a:effectLst/>
                <a:uLnTx/>
                <a:uFillTx/>
                <a:latin typeface="Segoe UI"/>
                <a:ea typeface="+mn-ea"/>
                <a:cs typeface="Segoe UI" pitchFamily="34" charset="0"/>
              </a:rPr>
              <a:t>Solicite un nuevo portátil y envíe las aprobaciones mediante la herramienta de servicio de TI.</a:t>
            </a:r>
          </a:p>
        </p:txBody>
      </p:sp>
      <p:sp>
        <p:nvSpPr>
          <p:cNvPr id="96" name="TextBox 95">
            <a:extLst>
              <a:ext uri="{FF2B5EF4-FFF2-40B4-BE49-F238E27FC236}">
                <a16:creationId xmlns:a16="http://schemas.microsoft.com/office/drawing/2014/main" id="{75E83068-5E17-B560-CC0D-4DF56367C2A2}"/>
              </a:ext>
            </a:extLst>
          </p:cNvPr>
          <p:cNvSpPr txBox="1"/>
          <p:nvPr/>
        </p:nvSpPr>
        <p:spPr>
          <a:xfrm>
            <a:off x="7622197" y="1955121"/>
            <a:ext cx="2744845"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prstClr val="black"/>
                </a:solidFill>
                <a:effectLst/>
                <a:uLnTx/>
                <a:uFillTx/>
                <a:latin typeface="Segoe UI Semibold"/>
                <a:ea typeface="+mn-ea"/>
                <a:cs typeface="Segoe Sans Text Semibold" pitchFamily="2" charset="0"/>
              </a:rPr>
              <a:t>Agente de generación </a:t>
            </a:r>
            <a:br>
              <a:rPr kumimoji="0" lang="es-es" sz="1100" b="0" i="0" u="none" strike="noStrike" kern="1200" cap="none" spc="0" normalizeH="0" baseline="0" noProof="0" dirty="0">
                <a:ln>
                  <a:noFill/>
                </a:ln>
                <a:solidFill>
                  <a:prstClr val="black"/>
                </a:solidFill>
                <a:effectLst/>
                <a:uLnTx/>
                <a:uFillTx/>
                <a:latin typeface="Segoe UI Semibold"/>
                <a:ea typeface="+mn-ea"/>
                <a:cs typeface="Segoe Sans Text Semibold" pitchFamily="2" charset="0"/>
              </a:rPr>
            </a:br>
            <a:r>
              <a:rPr kumimoji="0" lang="es-es" sz="1100" b="0" i="0" u="none" strike="noStrike" kern="1200" cap="none" spc="0" normalizeH="0" baseline="0" noProof="0" dirty="0">
                <a:ln>
                  <a:noFill/>
                </a:ln>
                <a:solidFill>
                  <a:prstClr val="black"/>
                </a:solidFill>
                <a:effectLst/>
                <a:uLnTx/>
                <a:uFillTx/>
                <a:latin typeface="Segoe UI Semibold"/>
                <a:ea typeface="+mn-ea"/>
                <a:cs typeface="Segoe Sans Text Semibold" pitchFamily="2" charset="0"/>
              </a:rPr>
              <a:t>de clientes potenciales</a:t>
            </a:r>
          </a:p>
        </p:txBody>
      </p:sp>
      <p:sp>
        <p:nvSpPr>
          <p:cNvPr id="97" name="Title 1">
            <a:extLst>
              <a:ext uri="{FF2B5EF4-FFF2-40B4-BE49-F238E27FC236}">
                <a16:creationId xmlns:a16="http://schemas.microsoft.com/office/drawing/2014/main" id="{0A5AAE98-0B86-B9A2-8293-CB83BBB9BC31}"/>
              </a:ext>
            </a:extLst>
          </p:cNvPr>
          <p:cNvSpPr txBox="1">
            <a:spLocks/>
          </p:cNvSpPr>
          <p:nvPr/>
        </p:nvSpPr>
        <p:spPr>
          <a:xfrm>
            <a:off x="7752304" y="2442000"/>
            <a:ext cx="2438488" cy="488916"/>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300"/>
              </a:lnSpc>
              <a:spcBef>
                <a:spcPct val="0"/>
              </a:spcBef>
              <a:spcAft>
                <a:spcPct val="0"/>
              </a:spcAft>
              <a:buClrTx/>
              <a:buSzTx/>
              <a:buFontTx/>
              <a:buNone/>
              <a:tabLst/>
              <a:defRPr/>
            </a:pPr>
            <a:r>
              <a:rPr kumimoji="0" lang="es-es" sz="1050" b="0" i="0" u="none" strike="noStrike" kern="1200" cap="none" spc="0" normalizeH="0" baseline="0" noProof="0">
                <a:ln w="3175">
                  <a:noFill/>
                </a:ln>
                <a:solidFill>
                  <a:srgbClr val="000000"/>
                </a:solidFill>
                <a:effectLst/>
                <a:uLnTx/>
                <a:uFillTx/>
                <a:latin typeface="Segoe UI"/>
                <a:ea typeface="+mn-ea"/>
                <a:cs typeface="Segoe UI" pitchFamily="34" charset="0"/>
              </a:rPr>
              <a:t>El agente ha identificado e investigado 15 nuevos clientes potenciales para que los revise.</a:t>
            </a:r>
          </a:p>
        </p:txBody>
      </p:sp>
      <p:sp>
        <p:nvSpPr>
          <p:cNvPr id="98" name="TextBox 97">
            <a:extLst>
              <a:ext uri="{FF2B5EF4-FFF2-40B4-BE49-F238E27FC236}">
                <a16:creationId xmlns:a16="http://schemas.microsoft.com/office/drawing/2014/main" id="{065AE7C8-F056-527A-5C82-67C8C0E1DD57}"/>
              </a:ext>
            </a:extLst>
          </p:cNvPr>
          <p:cNvSpPr txBox="1"/>
          <p:nvPr/>
        </p:nvSpPr>
        <p:spPr>
          <a:xfrm>
            <a:off x="1688433" y="4383690"/>
            <a:ext cx="3042695"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prstClr val="black"/>
                </a:solidFill>
                <a:effectLst/>
                <a:uLnTx/>
                <a:uFillTx/>
                <a:latin typeface="Segoe UI Semibold"/>
                <a:ea typeface="+mn-ea"/>
                <a:cs typeface="Segoe Sans Text Semibold" pitchFamily="2" charset="0"/>
              </a:rPr>
              <a:t>Agente de </a:t>
            </a:r>
            <a:br>
              <a:rPr kumimoji="0" lang="es-es" sz="1100" b="0" i="0" u="none" strike="noStrike" kern="1200" cap="none" spc="0" normalizeH="0" baseline="0" noProof="0" dirty="0">
                <a:ln>
                  <a:noFill/>
                </a:ln>
                <a:solidFill>
                  <a:prstClr val="black"/>
                </a:solidFill>
                <a:effectLst/>
                <a:uLnTx/>
                <a:uFillTx/>
                <a:latin typeface="Segoe UI Semibold"/>
                <a:ea typeface="+mn-ea"/>
                <a:cs typeface="Segoe Sans Text Semibold" pitchFamily="2" charset="0"/>
              </a:rPr>
            </a:br>
            <a:r>
              <a:rPr kumimoji="0" lang="es-es" sz="1100" b="0" i="0" u="none" strike="noStrike" kern="1200" cap="none" spc="0" normalizeH="0" baseline="0" noProof="0" dirty="0">
                <a:ln>
                  <a:noFill/>
                </a:ln>
                <a:solidFill>
                  <a:prstClr val="black"/>
                </a:solidFill>
                <a:effectLst/>
                <a:uLnTx/>
                <a:uFillTx/>
                <a:latin typeface="Segoe UI Semibold"/>
                <a:ea typeface="+mn-ea"/>
                <a:cs typeface="Segoe Sans Text Semibold" pitchFamily="2" charset="0"/>
              </a:rPr>
              <a:t>seguimiento de proyectos</a:t>
            </a:r>
          </a:p>
        </p:txBody>
      </p:sp>
      <p:sp>
        <p:nvSpPr>
          <p:cNvPr id="99" name="Title 1">
            <a:extLst>
              <a:ext uri="{FF2B5EF4-FFF2-40B4-BE49-F238E27FC236}">
                <a16:creationId xmlns:a16="http://schemas.microsoft.com/office/drawing/2014/main" id="{720F70A4-B90E-5C9E-8479-5AA966A93F62}"/>
              </a:ext>
            </a:extLst>
          </p:cNvPr>
          <p:cNvSpPr txBox="1">
            <a:spLocks/>
          </p:cNvSpPr>
          <p:nvPr/>
        </p:nvSpPr>
        <p:spPr>
          <a:xfrm>
            <a:off x="1818541" y="4888236"/>
            <a:ext cx="2319033" cy="322204"/>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300"/>
              </a:lnSpc>
              <a:spcBef>
                <a:spcPct val="0"/>
              </a:spcBef>
              <a:spcAft>
                <a:spcPct val="0"/>
              </a:spcAft>
              <a:buClrTx/>
              <a:buSzTx/>
              <a:buFontTx/>
              <a:buNone/>
              <a:tabLst/>
              <a:defRPr/>
            </a:pPr>
            <a:r>
              <a:rPr kumimoji="0" lang="es-es" sz="1050" b="0" i="0" u="none" strike="noStrike" kern="1200" cap="none" spc="0" normalizeH="0" baseline="0" noProof="0" dirty="0">
                <a:ln w="3175">
                  <a:noFill/>
                </a:ln>
                <a:solidFill>
                  <a:srgbClr val="000000"/>
                </a:solidFill>
                <a:effectLst/>
                <a:uLnTx/>
                <a:uFillTx/>
                <a:latin typeface="Segoe UI"/>
                <a:ea typeface="+mn-ea"/>
                <a:cs typeface="Segoe UI" pitchFamily="34" charset="0"/>
              </a:rPr>
              <a:t>¿Cuál es el estado de la fase 2 del proyecto X y el presupuesto restante?</a:t>
            </a:r>
          </a:p>
        </p:txBody>
      </p:sp>
      <p:sp>
        <p:nvSpPr>
          <p:cNvPr id="100" name="TextBox 99">
            <a:extLst>
              <a:ext uri="{FF2B5EF4-FFF2-40B4-BE49-F238E27FC236}">
                <a16:creationId xmlns:a16="http://schemas.microsoft.com/office/drawing/2014/main" id="{DDF8992D-A290-4397-5D87-36721DE31B6A}"/>
              </a:ext>
            </a:extLst>
          </p:cNvPr>
          <p:cNvSpPr txBox="1"/>
          <p:nvPr/>
        </p:nvSpPr>
        <p:spPr>
          <a:xfrm>
            <a:off x="4981937" y="4557864"/>
            <a:ext cx="2104907" cy="16770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20" normalizeH="0" noProof="0" dirty="0">
                <a:ln>
                  <a:noFill/>
                </a:ln>
                <a:solidFill>
                  <a:prstClr val="black"/>
                </a:solidFill>
                <a:effectLst/>
                <a:uLnTx/>
                <a:uFillTx/>
                <a:latin typeface="Segoe UI Semibold"/>
                <a:ea typeface="+mn-ea"/>
                <a:cs typeface="Segoe Sans Text Semibold" pitchFamily="2" charset="0"/>
              </a:rPr>
              <a:t>Agente de gestión presupuestaria</a:t>
            </a:r>
          </a:p>
        </p:txBody>
      </p:sp>
      <p:sp>
        <p:nvSpPr>
          <p:cNvPr id="101" name="Title 1">
            <a:extLst>
              <a:ext uri="{FF2B5EF4-FFF2-40B4-BE49-F238E27FC236}">
                <a16:creationId xmlns:a16="http://schemas.microsoft.com/office/drawing/2014/main" id="{BC7B9BE6-68E9-CC0B-23A9-D7511F3AD306}"/>
              </a:ext>
            </a:extLst>
          </p:cNvPr>
          <p:cNvSpPr txBox="1">
            <a:spLocks/>
          </p:cNvSpPr>
          <p:nvPr/>
        </p:nvSpPr>
        <p:spPr>
          <a:xfrm>
            <a:off x="5112968" y="4884596"/>
            <a:ext cx="2319033" cy="488916"/>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300"/>
              </a:lnSpc>
              <a:spcBef>
                <a:spcPct val="0"/>
              </a:spcBef>
              <a:spcAft>
                <a:spcPct val="0"/>
              </a:spcAft>
              <a:buClrTx/>
              <a:buSzTx/>
              <a:buFontTx/>
              <a:buNone/>
              <a:tabLst/>
              <a:defRPr/>
            </a:pPr>
            <a:r>
              <a:rPr kumimoji="0" lang="es-es" sz="1050" b="0" i="0" u="none" strike="noStrike" kern="1200" cap="none" spc="0" normalizeH="0" baseline="0" noProof="0">
                <a:ln w="3175">
                  <a:noFill/>
                </a:ln>
                <a:solidFill>
                  <a:srgbClr val="000000"/>
                </a:solidFill>
                <a:effectLst/>
                <a:uLnTx/>
                <a:uFillTx/>
                <a:latin typeface="Segoe UI"/>
                <a:ea typeface="+mn-ea"/>
                <a:cs typeface="Segoe UI" pitchFamily="34" charset="0"/>
              </a:rPr>
              <a:t>Revisa las órdenes de compra abiertas pendientes y comienza la planificación financiera.</a:t>
            </a:r>
          </a:p>
        </p:txBody>
      </p:sp>
      <p:sp>
        <p:nvSpPr>
          <p:cNvPr id="102" name="TextBox 101">
            <a:extLst>
              <a:ext uri="{FF2B5EF4-FFF2-40B4-BE49-F238E27FC236}">
                <a16:creationId xmlns:a16="http://schemas.microsoft.com/office/drawing/2014/main" id="{789A30E1-252E-D83F-B682-021A48B93384}"/>
              </a:ext>
            </a:extLst>
          </p:cNvPr>
          <p:cNvSpPr txBox="1"/>
          <p:nvPr/>
        </p:nvSpPr>
        <p:spPr>
          <a:xfrm>
            <a:off x="8378361" y="4566265"/>
            <a:ext cx="198868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prstClr val="black"/>
                </a:solidFill>
                <a:effectLst/>
                <a:uLnTx/>
                <a:uFillTx/>
                <a:latin typeface="Segoe UI Semibold"/>
                <a:ea typeface="+mn-ea"/>
                <a:cs typeface="Segoe Sans Text Semibold" pitchFamily="2" charset="0"/>
              </a:rPr>
              <a:t>Agente de asistencia al cliente</a:t>
            </a:r>
          </a:p>
        </p:txBody>
      </p:sp>
      <p:sp>
        <p:nvSpPr>
          <p:cNvPr id="103" name="Title 1">
            <a:extLst>
              <a:ext uri="{FF2B5EF4-FFF2-40B4-BE49-F238E27FC236}">
                <a16:creationId xmlns:a16="http://schemas.microsoft.com/office/drawing/2014/main" id="{7416BBEA-8993-05C5-BF23-261B1746CA7E}"/>
              </a:ext>
            </a:extLst>
          </p:cNvPr>
          <p:cNvSpPr txBox="1">
            <a:spLocks/>
          </p:cNvSpPr>
          <p:nvPr/>
        </p:nvSpPr>
        <p:spPr>
          <a:xfrm>
            <a:off x="8508467" y="4882493"/>
            <a:ext cx="2319033" cy="488916"/>
          </a:xfrm>
          <a:prstGeom prst="rect">
            <a:avLst/>
          </a:prstGeom>
        </p:spPr>
        <p:txBody>
          <a:bodyPr vert="horz" wrap="square" lIns="0" tIns="0" rIns="0" bIns="0" rtlCol="0" anchor="t">
            <a:spAutoFit/>
          </a:bodyPr>
          <a:lstStyle>
            <a:lvl1pPr algn="l" defTabSz="2402409" rtl="0" eaLnBrk="1" latinLnBrk="0" hangingPunct="1">
              <a:lnSpc>
                <a:spcPct val="100000"/>
              </a:lnSpc>
              <a:spcBef>
                <a:spcPct val="0"/>
              </a:spcBef>
              <a:buNone/>
              <a:defRPr lang="en-US" sz="9272" b="0" kern="1200" cap="none" spc="-129" baseline="0" dirty="0" smtClean="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ts val="1300"/>
              </a:lnSpc>
              <a:spcBef>
                <a:spcPct val="0"/>
              </a:spcBef>
              <a:spcAft>
                <a:spcPct val="0"/>
              </a:spcAft>
              <a:buClrTx/>
              <a:buSzTx/>
              <a:buFontTx/>
              <a:buNone/>
              <a:tabLst/>
              <a:defRPr/>
            </a:pPr>
            <a:r>
              <a:rPr kumimoji="0" lang="es-es" sz="1050" b="0" i="0" u="none" strike="noStrike" kern="1200" cap="none" spc="0" normalizeH="0" baseline="0" noProof="0">
                <a:ln w="3175">
                  <a:noFill/>
                </a:ln>
                <a:solidFill>
                  <a:srgbClr val="000000"/>
                </a:solidFill>
                <a:effectLst/>
                <a:uLnTx/>
                <a:uFillTx/>
                <a:latin typeface="Segoe UI"/>
                <a:ea typeface="+mn-ea"/>
                <a:cs typeface="Segoe UI" pitchFamily="34" charset="0"/>
              </a:rPr>
              <a:t>El agente ha identificado nuevos problemas de soporte y los ha derivado a otros agentes.</a:t>
            </a:r>
          </a:p>
        </p:txBody>
      </p:sp>
      <p:pic>
        <p:nvPicPr>
          <p:cNvPr id="1026" name="Picture 2">
            <a:extLst>
              <a:ext uri="{FF2B5EF4-FFF2-40B4-BE49-F238E27FC236}">
                <a16:creationId xmlns:a16="http://schemas.microsoft.com/office/drawing/2014/main" id="{FD4AD7E5-E3B5-C745-B304-ECCE756D487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36883" y="2149236"/>
            <a:ext cx="466725" cy="4381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7D6C2C7E-89B8-02FE-2CAA-B0A944BC8F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43909" y="2065116"/>
            <a:ext cx="482176" cy="49453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842E6DB9-4987-947E-A775-ECBF09A0D87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61217" y="4478274"/>
            <a:ext cx="493145" cy="50579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Un logotipo con un fondo negro  El contenido generado por IA puede ser incorrecto.">
            <a:extLst>
              <a:ext uri="{FF2B5EF4-FFF2-40B4-BE49-F238E27FC236}">
                <a16:creationId xmlns:a16="http://schemas.microsoft.com/office/drawing/2014/main" id="{7C60F618-C86F-8BD0-72C3-FDB54C3711C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667107" y="2383063"/>
            <a:ext cx="991344" cy="991344"/>
          </a:xfrm>
          <a:prstGeom prst="rect">
            <a:avLst/>
          </a:prstGeom>
        </p:spPr>
      </p:pic>
      <p:pic>
        <p:nvPicPr>
          <p:cNvPr id="5" name="Picture 8">
            <a:extLst>
              <a:ext uri="{FF2B5EF4-FFF2-40B4-BE49-F238E27FC236}">
                <a16:creationId xmlns:a16="http://schemas.microsoft.com/office/drawing/2014/main" id="{D4519D4B-CFF9-8DD5-C377-DCE92C3406A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61452" y="4478274"/>
            <a:ext cx="505152" cy="51810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tipo de Azure">
            <a:extLst>
              <a:ext uri="{FF2B5EF4-FFF2-40B4-BE49-F238E27FC236}">
                <a16:creationId xmlns:a16="http://schemas.microsoft.com/office/drawing/2014/main" id="{682CDDDC-E5A0-9A42-8467-F886B87DC772}"/>
              </a:ext>
            </a:extLst>
          </p:cNvPr>
          <p:cNvPicPr>
            <a:picLocks noChangeAspect="1"/>
          </p:cNvPicPr>
          <p:nvPr/>
        </p:nvPicPr>
        <p:blipFill>
          <a:blip r:embed="rId13"/>
          <a:stretch>
            <a:fillRect/>
          </a:stretch>
        </p:blipFill>
        <p:spPr>
          <a:xfrm>
            <a:off x="9949704" y="1957318"/>
            <a:ext cx="482176" cy="482176"/>
          </a:xfrm>
          <a:prstGeom prst="rect">
            <a:avLst/>
          </a:prstGeom>
          <a:ln w="7441" cap="flat">
            <a:noFill/>
            <a:prstDash val="solid"/>
            <a:miter/>
          </a:ln>
          <a:effectLst>
            <a:outerShdw blurRad="50800" dist="38100" dir="5400000" algn="t" rotWithShape="0">
              <a:prstClr val="black">
                <a:alpha val="40000"/>
              </a:prstClr>
            </a:outerShdw>
          </a:effectLst>
        </p:spPr>
      </p:pic>
      <p:pic>
        <p:nvPicPr>
          <p:cNvPr id="7" name="Picture 2">
            <a:extLst>
              <a:ext uri="{FF2B5EF4-FFF2-40B4-BE49-F238E27FC236}">
                <a16:creationId xmlns:a16="http://schemas.microsoft.com/office/drawing/2014/main" id="{DCDF3ECC-7E2A-B8FA-64CA-859020F90B7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60136" y="4622520"/>
            <a:ext cx="466725" cy="43815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BF6029D4-531D-25EF-EBAB-775BCB2ADC0A}"/>
              </a:ext>
            </a:extLst>
          </p:cNvPr>
          <p:cNvSpPr txBox="1">
            <a:spLocks/>
          </p:cNvSpPr>
          <p:nvPr/>
        </p:nvSpPr>
        <p:spPr>
          <a:xfrm>
            <a:off x="659219" y="365126"/>
            <a:ext cx="11025680" cy="1072072"/>
          </a:xfrm>
          <a:prstGeom prst="rect">
            <a:avLst/>
          </a:prstGeom>
        </p:spPr>
        <p:txBody>
          <a:bodyPr/>
          <a:lstStyle>
            <a:lvl1pPr algn="ctr" defTabSz="914400" rtl="0" eaLnBrk="1" latinLnBrk="0" hangingPunct="1">
              <a:lnSpc>
                <a:spcPct val="90000"/>
              </a:lnSpc>
              <a:spcBef>
                <a:spcPct val="0"/>
              </a:spcBef>
              <a:buNone/>
              <a:defRPr sz="4200" b="1" kern="1200">
                <a:solidFill>
                  <a:srgbClr val="091F2C"/>
                </a:solidFill>
                <a:latin typeface="Segoe UI" panose="020B0502040204020203" pitchFamily="34" charset="0"/>
                <a:ea typeface="+mj-ea"/>
                <a:cs typeface="Segoe UI" panose="020B0502040204020203"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4200" b="1" i="0" u="none" strike="noStrike" kern="1200" cap="none" spc="0" normalizeH="0" baseline="0" noProof="0">
                <a:ln>
                  <a:noFill/>
                </a:ln>
                <a:solidFill>
                  <a:srgbClr val="091F2C"/>
                </a:solidFill>
                <a:effectLst/>
                <a:uLnTx/>
                <a:uFillTx/>
                <a:latin typeface="Segoe UI" panose="020B0502040204020203" pitchFamily="34" charset="0"/>
                <a:ea typeface="+mj-ea"/>
                <a:cs typeface="Segoe UI" panose="020B0502040204020203" pitchFamily="34" charset="0"/>
              </a:rPr>
              <a:t>Espectro de agentes</a:t>
            </a:r>
          </a:p>
        </p:txBody>
      </p:sp>
    </p:spTree>
    <p:custDataLst>
      <p:tags r:id="rId1"/>
    </p:custDataLst>
    <p:extLst>
      <p:ext uri="{BB962C8B-B14F-4D97-AF65-F5344CB8AC3E}">
        <p14:creationId xmlns:p14="http://schemas.microsoft.com/office/powerpoint/2010/main" val="198729019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7E2A4-7678-40DB-560A-9D852A24C59A}"/>
            </a:ext>
          </a:extLst>
        </p:cNvPr>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C6B86E4D-EFDD-A098-C8D3-0F7088523C34}"/>
              </a:ext>
            </a:extLst>
          </p:cNvPr>
          <p:cNvSpPr/>
          <p:nvPr/>
        </p:nvSpPr>
        <p:spPr bwMode="auto">
          <a:xfrm>
            <a:off x="4536439" y="1186026"/>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s-es" sz="2000" b="0" i="0" u="none" strike="noStrike" kern="1200" cap="none" spc="0" normalizeH="0" baseline="0" noProof="0" dirty="0">
                <a:ln>
                  <a:noFill/>
                </a:ln>
                <a:effectLst/>
                <a:uLnTx/>
                <a:uFillTx/>
                <a:latin typeface="Segoe UI Semibold"/>
                <a:ea typeface="+mn-ea"/>
                <a:cs typeface="Segoe UI" pitchFamily="34" charset="0"/>
              </a:rPr>
              <a:t>Instrucciones del flujo </a:t>
            </a:r>
            <a:br>
              <a:rPr kumimoji="0" lang="es-es" sz="2000" b="0" i="0" u="none" strike="noStrike" kern="1200" cap="none" spc="0" normalizeH="0" baseline="0" noProof="0" dirty="0">
                <a:ln>
                  <a:noFill/>
                </a:ln>
                <a:effectLst/>
                <a:uLnTx/>
                <a:uFillTx/>
                <a:latin typeface="Segoe UI Semibold"/>
                <a:ea typeface="+mn-ea"/>
                <a:cs typeface="Segoe UI" pitchFamily="34" charset="0"/>
              </a:rPr>
            </a:br>
            <a:r>
              <a:rPr kumimoji="0" lang="es-es" sz="2000" b="0" i="0" u="none" strike="noStrike" kern="1200" cap="none" spc="0" normalizeH="0" baseline="0" noProof="0" dirty="0">
                <a:ln>
                  <a:noFill/>
                </a:ln>
                <a:effectLst/>
                <a:uLnTx/>
                <a:uFillTx/>
                <a:latin typeface="Segoe UI Semibold"/>
                <a:ea typeface="+mn-ea"/>
                <a:cs typeface="Segoe UI" pitchFamily="34" charset="0"/>
              </a:rPr>
              <a:t>de trabajo</a:t>
            </a:r>
          </a:p>
        </p:txBody>
      </p:sp>
      <p:sp>
        <p:nvSpPr>
          <p:cNvPr id="50" name="Rectangle: Rounded Corners 49">
            <a:extLst>
              <a:ext uri="{FF2B5EF4-FFF2-40B4-BE49-F238E27FC236}">
                <a16:creationId xmlns:a16="http://schemas.microsoft.com/office/drawing/2014/main" id="{26DAAEF5-51B9-3C0B-FA2C-592D36AEAD2D}"/>
              </a:ext>
            </a:extLst>
          </p:cNvPr>
          <p:cNvSpPr/>
          <p:nvPr/>
        </p:nvSpPr>
        <p:spPr bwMode="auto">
          <a:xfrm>
            <a:off x="4536439" y="2693297"/>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0" i="0" u="none" strike="noStrike" kern="1200" cap="none" spc="0" normalizeH="0" baseline="0" noProof="0">
                <a:ln>
                  <a:noFill/>
                </a:ln>
                <a:effectLst/>
                <a:uLnTx/>
                <a:uFillTx/>
                <a:latin typeface="Segoe UI Semibold"/>
                <a:ea typeface="+mn-ea"/>
                <a:cs typeface="Segoe UI" pitchFamily="34" charset="0"/>
              </a:rPr>
              <a:t>Desencadenadores</a:t>
            </a:r>
          </a:p>
        </p:txBody>
      </p:sp>
      <p:sp>
        <p:nvSpPr>
          <p:cNvPr id="51" name="Rectangle: Rounded Corners 50">
            <a:extLst>
              <a:ext uri="{FF2B5EF4-FFF2-40B4-BE49-F238E27FC236}">
                <a16:creationId xmlns:a16="http://schemas.microsoft.com/office/drawing/2014/main" id="{E9EBC02B-1545-803F-5CFC-7B34FA43B571}"/>
              </a:ext>
            </a:extLst>
          </p:cNvPr>
          <p:cNvSpPr/>
          <p:nvPr/>
        </p:nvSpPr>
        <p:spPr bwMode="auto">
          <a:xfrm>
            <a:off x="4536439" y="1925942"/>
            <a:ext cx="3424178" cy="612648"/>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0" i="0" u="none" strike="noStrike" kern="1200" cap="none" spc="0" normalizeH="0" baseline="0" noProof="0">
                <a:ln>
                  <a:noFill/>
                </a:ln>
                <a:effectLst/>
                <a:uLnTx/>
                <a:uFillTx/>
                <a:latin typeface="Segoe UI Semibold"/>
                <a:ea typeface="+mn-ea"/>
                <a:cs typeface="Segoe UI" pitchFamily="34" charset="0"/>
              </a:rPr>
              <a:t>Acciones</a:t>
            </a:r>
          </a:p>
        </p:txBody>
      </p:sp>
      <p:sp>
        <p:nvSpPr>
          <p:cNvPr id="52" name="Rectangle: Rounded Corners 51">
            <a:extLst>
              <a:ext uri="{FF2B5EF4-FFF2-40B4-BE49-F238E27FC236}">
                <a16:creationId xmlns:a16="http://schemas.microsoft.com/office/drawing/2014/main" id="{00250E05-ECEE-1D4C-862F-98F2A5FE402C}"/>
              </a:ext>
            </a:extLst>
          </p:cNvPr>
          <p:cNvSpPr/>
          <p:nvPr/>
        </p:nvSpPr>
        <p:spPr bwMode="auto">
          <a:xfrm>
            <a:off x="4536439" y="3596552"/>
            <a:ext cx="3424178" cy="612648"/>
          </a:xfrm>
          <a:prstGeom prst="roundRect">
            <a:avLst>
              <a:gd name="adj" fmla="val 16696"/>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0" i="0" u="none" strike="noStrike" kern="1200" cap="none" spc="0" normalizeH="0" baseline="0" noProof="0">
                <a:ln>
                  <a:noFill/>
                </a:ln>
                <a:effectLst/>
                <a:uLnTx/>
                <a:uFillTx/>
                <a:latin typeface="Segoe UI Semibold"/>
                <a:ea typeface="+mn-ea"/>
                <a:cs typeface="Segoe UI" pitchFamily="34" charset="0"/>
              </a:rPr>
              <a:t>Conocimientos</a:t>
            </a:r>
          </a:p>
        </p:txBody>
      </p:sp>
      <p:sp>
        <p:nvSpPr>
          <p:cNvPr id="53" name="Rectangle: Rounded Corners 52">
            <a:extLst>
              <a:ext uri="{FF2B5EF4-FFF2-40B4-BE49-F238E27FC236}">
                <a16:creationId xmlns:a16="http://schemas.microsoft.com/office/drawing/2014/main" id="{9043133B-AE8E-1B73-855D-51309533D06A}"/>
              </a:ext>
            </a:extLst>
          </p:cNvPr>
          <p:cNvSpPr/>
          <p:nvPr/>
        </p:nvSpPr>
        <p:spPr bwMode="auto">
          <a:xfrm>
            <a:off x="4536439" y="4402804"/>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0" i="0" u="none" strike="noStrike" kern="1200" cap="none" spc="0" normalizeH="0" baseline="0" noProof="0">
                <a:ln>
                  <a:noFill/>
                </a:ln>
                <a:effectLst/>
                <a:uLnTx/>
                <a:uFillTx/>
                <a:latin typeface="Segoe UI Semibold"/>
                <a:ea typeface="+mn-ea"/>
                <a:cs typeface="Segoe UI" pitchFamily="34" charset="0"/>
              </a:rPr>
              <a:t>Orquestador</a:t>
            </a:r>
          </a:p>
        </p:txBody>
      </p:sp>
      <p:sp>
        <p:nvSpPr>
          <p:cNvPr id="54" name="Rectangle: Rounded Corners 53">
            <a:extLst>
              <a:ext uri="{FF2B5EF4-FFF2-40B4-BE49-F238E27FC236}">
                <a16:creationId xmlns:a16="http://schemas.microsoft.com/office/drawing/2014/main" id="{66FCF56C-889D-F9E7-F3E6-A3DEE6589E44}"/>
              </a:ext>
            </a:extLst>
          </p:cNvPr>
          <p:cNvSpPr/>
          <p:nvPr/>
        </p:nvSpPr>
        <p:spPr bwMode="auto">
          <a:xfrm>
            <a:off x="4536439" y="5204941"/>
            <a:ext cx="3424178" cy="608533"/>
          </a:xfrm>
          <a:prstGeom prst="roundRect">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0" i="0" u="none" strike="noStrike" kern="1200" cap="none" spc="-40" normalizeH="0" baseline="0" noProof="0">
                <a:ln>
                  <a:noFill/>
                </a:ln>
                <a:effectLst/>
                <a:uLnTx/>
                <a:uFillTx/>
                <a:latin typeface="Segoe UI Semibold"/>
                <a:ea typeface="+mn-ea"/>
                <a:cs typeface="Segoe UI" pitchFamily="34" charset="0"/>
              </a:rPr>
              <a:t>Modelos</a:t>
            </a:r>
            <a:r>
              <a:rPr kumimoji="0" lang="es-es" sz="2000" b="0" i="0" u="none" strike="noStrike" kern="1200" cap="none" spc="-40" normalizeH="0" baseline="0" noProof="0">
                <a:ln>
                  <a:noFill/>
                </a:ln>
                <a:solidFill>
                  <a:srgbClr val="FFFFFF"/>
                </a:solidFill>
                <a:effectLst/>
                <a:uLnTx/>
                <a:uFillTx/>
                <a:latin typeface="Segoe UI Semibold"/>
                <a:ea typeface="+mn-ea"/>
                <a:cs typeface="Segoe UI" pitchFamily="34" charset="0"/>
              </a:rPr>
              <a:t> </a:t>
            </a:r>
            <a:r>
              <a:rPr kumimoji="0" lang="es-es" sz="2000" b="0" i="0" u="none" strike="noStrike" kern="1200" cap="none" spc="-40" normalizeH="0" baseline="0" noProof="0">
                <a:ln>
                  <a:noFill/>
                </a:ln>
                <a:effectLst/>
                <a:uLnTx/>
                <a:uFillTx/>
                <a:latin typeface="Segoe UI Semibold"/>
                <a:ea typeface="+mn-ea"/>
                <a:cs typeface="Segoe UI" pitchFamily="34" charset="0"/>
              </a:rPr>
              <a:t>fundamentales</a:t>
            </a:r>
          </a:p>
        </p:txBody>
      </p:sp>
      <p:sp>
        <p:nvSpPr>
          <p:cNvPr id="2" name="Title 1">
            <a:extLst>
              <a:ext uri="{FF2B5EF4-FFF2-40B4-BE49-F238E27FC236}">
                <a16:creationId xmlns:a16="http://schemas.microsoft.com/office/drawing/2014/main" id="{99207698-B431-7154-FC6C-0D323A2B07B1}"/>
              </a:ext>
            </a:extLst>
          </p:cNvPr>
          <p:cNvSpPr>
            <a:spLocks noGrp="1"/>
          </p:cNvSpPr>
          <p:nvPr>
            <p:ph type="title"/>
          </p:nvPr>
        </p:nvSpPr>
        <p:spPr>
          <a:xfrm>
            <a:off x="588263" y="2534776"/>
            <a:ext cx="3613268" cy="1107996"/>
          </a:xfrm>
        </p:spPr>
        <p:txBody>
          <a:bodyPr>
            <a:normAutofit/>
          </a:bodyPr>
          <a:lstStyle/>
          <a:p>
            <a:r>
              <a:rPr lang="es-es" sz="3000" dirty="0">
                <a:solidFill>
                  <a:schemeClr val="tx1"/>
                </a:solidFill>
                <a:cs typeface="Segoe UI"/>
              </a:rPr>
              <a:t>La estructura básica </a:t>
            </a:r>
            <a:br>
              <a:rPr lang="es-es" sz="3000" dirty="0">
                <a:solidFill>
                  <a:schemeClr val="tx1"/>
                </a:solidFill>
                <a:cs typeface="Segoe UI"/>
              </a:rPr>
            </a:br>
            <a:r>
              <a:rPr lang="es-es" sz="3000" dirty="0">
                <a:solidFill>
                  <a:schemeClr val="tx1"/>
                </a:solidFill>
                <a:cs typeface="Segoe UI"/>
              </a:rPr>
              <a:t>de un agente</a:t>
            </a:r>
            <a:endParaRPr lang="en-AU" sz="3000" dirty="0">
              <a:solidFill>
                <a:schemeClr val="tx1"/>
              </a:solidFill>
              <a:cs typeface="Segoe UI"/>
            </a:endParaRPr>
          </a:p>
        </p:txBody>
      </p:sp>
      <p:sp>
        <p:nvSpPr>
          <p:cNvPr id="3" name="Rectangle: Rounded Corners 19">
            <a:extLst>
              <a:ext uri="{FF2B5EF4-FFF2-40B4-BE49-F238E27FC236}">
                <a16:creationId xmlns:a16="http://schemas.microsoft.com/office/drawing/2014/main" id="{61C95489-C150-84D6-2C2D-1A8424E7FAB6}"/>
              </a:ext>
            </a:extLst>
          </p:cNvPr>
          <p:cNvSpPr/>
          <p:nvPr/>
        </p:nvSpPr>
        <p:spPr bwMode="auto">
          <a:xfrm>
            <a:off x="4218910" y="862584"/>
            <a:ext cx="4059237" cy="5285232"/>
          </a:xfrm>
          <a:prstGeom prst="roundRect">
            <a:avLst>
              <a:gd name="adj" fmla="val 6526"/>
            </a:avLst>
          </a:prstGeom>
          <a:ln w="19050" cap="rnd">
            <a:gradFill flip="none" rotWithShape="1">
              <a:gsLst>
                <a:gs pos="0">
                  <a:srgbClr val="C03BC4"/>
                </a:gs>
                <a:gs pos="80000">
                  <a:srgbClr val="0078D4"/>
                </a:gs>
              </a:gsLst>
              <a:path path="circle">
                <a:fillToRect l="100000" t="100000"/>
              </a:path>
              <a:tileRect r="-100000" b="-100000"/>
            </a:gradFill>
            <a:headEnd type="none" w="lg" len="sm"/>
            <a:tailEnd type="none" w="lg" len="sm"/>
          </a:ln>
          <a:effectLst>
            <a:outerShdw blurRad="63500" dist="63500" dir="2700000" algn="tl" rotWithShape="0">
              <a:srgbClr val="000000">
                <a:alpha val="5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cxnSp>
        <p:nvCxnSpPr>
          <p:cNvPr id="4" name="!!1">
            <a:extLst>
              <a:ext uri="{FF2B5EF4-FFF2-40B4-BE49-F238E27FC236}">
                <a16:creationId xmlns:a16="http://schemas.microsoft.com/office/drawing/2014/main" id="{38B63FD5-1DFD-7FF2-851C-3B17F6E55881}"/>
              </a:ext>
            </a:extLst>
          </p:cNvPr>
          <p:cNvCxnSpPr/>
          <p:nvPr/>
        </p:nvCxnSpPr>
        <p:spPr>
          <a:xfrm>
            <a:off x="5642808" y="1074420"/>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5" name="!!2">
            <a:extLst>
              <a:ext uri="{FF2B5EF4-FFF2-40B4-BE49-F238E27FC236}">
                <a16:creationId xmlns:a16="http://schemas.microsoft.com/office/drawing/2014/main" id="{4618DB38-1230-E230-3CE2-47781B7F25EE}"/>
              </a:ext>
            </a:extLst>
          </p:cNvPr>
          <p:cNvCxnSpPr/>
          <p:nvPr/>
        </p:nvCxnSpPr>
        <p:spPr>
          <a:xfrm>
            <a:off x="5642808" y="1883409"/>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6" name="!!3">
            <a:extLst>
              <a:ext uri="{FF2B5EF4-FFF2-40B4-BE49-F238E27FC236}">
                <a16:creationId xmlns:a16="http://schemas.microsoft.com/office/drawing/2014/main" id="{E872260E-8796-55A5-2EE4-4922798E38FA}"/>
              </a:ext>
            </a:extLst>
          </p:cNvPr>
          <p:cNvCxnSpPr/>
          <p:nvPr/>
        </p:nvCxnSpPr>
        <p:spPr>
          <a:xfrm>
            <a:off x="5642808" y="2692399"/>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7" name="!!4">
            <a:extLst>
              <a:ext uri="{FF2B5EF4-FFF2-40B4-BE49-F238E27FC236}">
                <a16:creationId xmlns:a16="http://schemas.microsoft.com/office/drawing/2014/main" id="{9D00DFE9-7DF3-3622-2FC5-D681270E58CD}"/>
              </a:ext>
            </a:extLst>
          </p:cNvPr>
          <p:cNvCxnSpPr/>
          <p:nvPr/>
        </p:nvCxnSpPr>
        <p:spPr>
          <a:xfrm>
            <a:off x="5642808" y="3501388"/>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 name="!!5">
            <a:extLst>
              <a:ext uri="{FF2B5EF4-FFF2-40B4-BE49-F238E27FC236}">
                <a16:creationId xmlns:a16="http://schemas.microsoft.com/office/drawing/2014/main" id="{48960C03-43D9-FC55-BFDA-7D1C64783E1D}"/>
              </a:ext>
            </a:extLst>
          </p:cNvPr>
          <p:cNvCxnSpPr/>
          <p:nvPr/>
        </p:nvCxnSpPr>
        <p:spPr>
          <a:xfrm>
            <a:off x="5642808" y="4310378"/>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9" name="!!6">
            <a:extLst>
              <a:ext uri="{FF2B5EF4-FFF2-40B4-BE49-F238E27FC236}">
                <a16:creationId xmlns:a16="http://schemas.microsoft.com/office/drawing/2014/main" id="{AEDD4B49-10F2-BB47-4BF5-166FC3994DF2}"/>
              </a:ext>
            </a:extLst>
          </p:cNvPr>
          <p:cNvCxnSpPr/>
          <p:nvPr/>
        </p:nvCxnSpPr>
        <p:spPr>
          <a:xfrm>
            <a:off x="5642808" y="5119367"/>
            <a:ext cx="1194062" cy="0"/>
          </a:xfrm>
          <a:prstGeom prst="line">
            <a:avLst/>
          </a:prstGeom>
          <a:ln w="12700" cap="rnd">
            <a:solidFill>
              <a:srgbClr val="3A4953">
                <a:alpha val="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4B368360-45A5-FF87-9A87-F1E1A7D4D828}"/>
              </a:ext>
            </a:extLst>
          </p:cNvPr>
          <p:cNvPicPr>
            <a:picLocks noChangeAspect="1"/>
          </p:cNvPicPr>
          <p:nvPr/>
        </p:nvPicPr>
        <p:blipFill>
          <a:blip r:embed="rId3"/>
          <a:stretch>
            <a:fillRect/>
          </a:stretch>
        </p:blipFill>
        <p:spPr>
          <a:xfrm>
            <a:off x="5266416" y="5862645"/>
            <a:ext cx="1946846" cy="570342"/>
          </a:xfrm>
          <a:prstGeom prst="rect">
            <a:avLst/>
          </a:prstGeom>
        </p:spPr>
      </p:pic>
      <p:cxnSp>
        <p:nvCxnSpPr>
          <p:cNvPr id="10" name="Straight Connector 9">
            <a:extLst>
              <a:ext uri="{FF2B5EF4-FFF2-40B4-BE49-F238E27FC236}">
                <a16:creationId xmlns:a16="http://schemas.microsoft.com/office/drawing/2014/main" id="{478F2EC4-72D1-9276-E30E-EB6232E4C006}"/>
              </a:ext>
            </a:extLst>
          </p:cNvPr>
          <p:cNvCxnSpPr>
            <a:cxnSpLocks/>
          </p:cNvCxnSpPr>
          <p:nvPr/>
        </p:nvCxnSpPr>
        <p:spPr>
          <a:xfrm>
            <a:off x="4581276" y="3501388"/>
            <a:ext cx="337934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74491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904F8E-0E1F-F98A-C063-2F4B2CF492F9}"/>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C820D290-8440-E62E-BB48-F87AFC29B8E8}"/>
              </a:ext>
            </a:extLst>
          </p:cNvPr>
          <p:cNvSpPr/>
          <p:nvPr/>
        </p:nvSpPr>
        <p:spPr bwMode="auto">
          <a:xfrm>
            <a:off x="575220" y="2519678"/>
            <a:ext cx="11049399" cy="523220"/>
          </a:xfrm>
          <a:prstGeom prst="roundRect">
            <a:avLst>
              <a:gd name="adj" fmla="val 50000"/>
            </a:avLst>
          </a:prstGeom>
          <a:gradFill>
            <a:gsLst>
              <a:gs pos="100000">
                <a:srgbClr val="286BD1"/>
              </a:gs>
              <a:gs pos="0">
                <a:srgbClr val="00B0F0"/>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UI Semibold"/>
              <a:ea typeface="+mn-ea"/>
              <a:cs typeface="+mn-cs"/>
            </a:endParaRPr>
          </a:p>
        </p:txBody>
      </p:sp>
      <p:sp>
        <p:nvSpPr>
          <p:cNvPr id="42" name="Oval 41">
            <a:extLst>
              <a:ext uri="{FF2B5EF4-FFF2-40B4-BE49-F238E27FC236}">
                <a16:creationId xmlns:a16="http://schemas.microsoft.com/office/drawing/2014/main" id="{10E85FDA-7BDC-409D-9A90-6C4CBEEC067D}"/>
              </a:ext>
            </a:extLst>
          </p:cNvPr>
          <p:cNvSpPr/>
          <p:nvPr/>
        </p:nvSpPr>
        <p:spPr bwMode="auto">
          <a:xfrm>
            <a:off x="9114169" y="2270081"/>
            <a:ext cx="991344" cy="991341"/>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6ADAAC6E-8095-DB18-FC67-1089C980F5AC}"/>
              </a:ext>
            </a:extLst>
          </p:cNvPr>
          <p:cNvSpPr/>
          <p:nvPr/>
        </p:nvSpPr>
        <p:spPr bwMode="auto">
          <a:xfrm>
            <a:off x="9211498" y="2367411"/>
            <a:ext cx="796686" cy="796680"/>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nvGrpSpPr>
          <p:cNvPr id="39" name="Group 38">
            <a:extLst>
              <a:ext uri="{FF2B5EF4-FFF2-40B4-BE49-F238E27FC236}">
                <a16:creationId xmlns:a16="http://schemas.microsoft.com/office/drawing/2014/main" id="{E4D4A9A7-CBEE-7C43-4CDD-CB0AD5DD669B}"/>
              </a:ext>
            </a:extLst>
          </p:cNvPr>
          <p:cNvGrpSpPr/>
          <p:nvPr/>
        </p:nvGrpSpPr>
        <p:grpSpPr>
          <a:xfrm>
            <a:off x="2039338" y="2285617"/>
            <a:ext cx="991346" cy="991341"/>
            <a:chOff x="3031083" y="2734209"/>
            <a:chExt cx="752625" cy="752623"/>
          </a:xfrm>
        </p:grpSpPr>
        <p:sp>
          <p:nvSpPr>
            <p:cNvPr id="40" name="Oval 39">
              <a:extLst>
                <a:ext uri="{FF2B5EF4-FFF2-40B4-BE49-F238E27FC236}">
                  <a16:creationId xmlns:a16="http://schemas.microsoft.com/office/drawing/2014/main" id="{221CE249-9599-A8BE-BD1F-56F3F2A54F8C}"/>
                </a:ext>
              </a:extLst>
            </p:cNvPr>
            <p:cNvSpPr/>
            <p:nvPr/>
          </p:nvSpPr>
          <p:spPr bwMode="auto">
            <a:xfrm>
              <a:off x="3031083"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01D04F06-6036-1709-8AB2-775893BC4002}"/>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sp>
        <p:nvSpPr>
          <p:cNvPr id="9" name="TextBox 8">
            <a:extLst>
              <a:ext uri="{FF2B5EF4-FFF2-40B4-BE49-F238E27FC236}">
                <a16:creationId xmlns:a16="http://schemas.microsoft.com/office/drawing/2014/main" id="{7B5265C4-9E0A-5460-A371-02C90C558A1C}"/>
              </a:ext>
            </a:extLst>
          </p:cNvPr>
          <p:cNvSpPr txBox="1"/>
          <p:nvPr/>
        </p:nvSpPr>
        <p:spPr>
          <a:xfrm>
            <a:off x="754914" y="2693054"/>
            <a:ext cx="1536655"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FFFFFF"/>
                </a:solidFill>
                <a:effectLst/>
                <a:uLnTx/>
                <a:uFillTx/>
                <a:latin typeface="Segoe UI Semibold"/>
                <a:ea typeface="+mn-ea"/>
                <a:cs typeface="+mn-cs"/>
              </a:rPr>
              <a:t>Sin código</a:t>
            </a:r>
          </a:p>
        </p:txBody>
      </p:sp>
      <p:sp>
        <p:nvSpPr>
          <p:cNvPr id="10" name="TextBox 9">
            <a:extLst>
              <a:ext uri="{FF2B5EF4-FFF2-40B4-BE49-F238E27FC236}">
                <a16:creationId xmlns:a16="http://schemas.microsoft.com/office/drawing/2014/main" id="{88D1ED77-FA55-F594-E1A3-2D029B606015}"/>
              </a:ext>
            </a:extLst>
          </p:cNvPr>
          <p:cNvSpPr txBox="1"/>
          <p:nvPr/>
        </p:nvSpPr>
        <p:spPr>
          <a:xfrm>
            <a:off x="9840267" y="2693054"/>
            <a:ext cx="1596820" cy="184666"/>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20" normalizeH="0" noProof="0" dirty="0">
                <a:ln>
                  <a:noFill/>
                </a:ln>
                <a:solidFill>
                  <a:srgbClr val="FFFFFF"/>
                </a:solidFill>
                <a:effectLst/>
                <a:uLnTx/>
                <a:uFillTx/>
                <a:latin typeface="Segoe UI Semibold"/>
                <a:ea typeface="+mn-ea"/>
                <a:cs typeface="+mn-cs"/>
              </a:rPr>
              <a:t>Código profesional</a:t>
            </a:r>
          </a:p>
        </p:txBody>
      </p:sp>
      <p:pic>
        <p:nvPicPr>
          <p:cNvPr id="11" name="Picture 10" descr="Logotipo de Azure">
            <a:extLst>
              <a:ext uri="{FF2B5EF4-FFF2-40B4-BE49-F238E27FC236}">
                <a16:creationId xmlns:a16="http://schemas.microsoft.com/office/drawing/2014/main" id="{4D528AFB-8377-5D90-4622-036573456F58}"/>
              </a:ext>
            </a:extLst>
          </p:cNvPr>
          <p:cNvPicPr>
            <a:picLocks noChangeAspect="1"/>
          </p:cNvPicPr>
          <p:nvPr/>
        </p:nvPicPr>
        <p:blipFill>
          <a:blip r:embed="rId3"/>
          <a:stretch>
            <a:fillRect/>
          </a:stretch>
        </p:blipFill>
        <p:spPr>
          <a:xfrm>
            <a:off x="9358090" y="2526752"/>
            <a:ext cx="482176" cy="482176"/>
          </a:xfrm>
          <a:prstGeom prst="rect">
            <a:avLst/>
          </a:prstGeom>
          <a:ln w="7441" cap="flat">
            <a:noFill/>
            <a:prstDash val="solid"/>
            <a:miter/>
          </a:ln>
          <a:effectLst>
            <a:outerShdw blurRad="50800" dist="38100" dir="5400000" algn="t" rotWithShape="0">
              <a:prstClr val="black">
                <a:alpha val="40000"/>
              </a:prstClr>
            </a:outerShdw>
          </a:effectLst>
        </p:spPr>
      </p:pic>
      <p:pic>
        <p:nvPicPr>
          <p:cNvPr id="12" name="Picture 11">
            <a:extLst>
              <a:ext uri="{FF2B5EF4-FFF2-40B4-BE49-F238E27FC236}">
                <a16:creationId xmlns:a16="http://schemas.microsoft.com/office/drawing/2014/main" id="{ADB5EC0F-ED3D-1CF7-9D80-CA83121BCFCD}"/>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t="2923" b="2923"/>
          <a:stretch/>
        </p:blipFill>
        <p:spPr>
          <a:xfrm>
            <a:off x="2256794" y="2526326"/>
            <a:ext cx="538849" cy="507350"/>
          </a:xfrm>
          <a:prstGeom prst="rect">
            <a:avLst/>
          </a:prstGeom>
          <a:ln w="7441" cap="flat">
            <a:noFill/>
            <a:prstDash val="solid"/>
            <a:miter/>
          </a:ln>
          <a:effectLst>
            <a:outerShdw blurRad="50800" dist="38100" dir="5400000" algn="t" rotWithShape="0">
              <a:prstClr val="black">
                <a:alpha val="40000"/>
              </a:prstClr>
            </a:outerShdw>
          </a:effectLst>
        </p:spPr>
      </p:pic>
      <p:grpSp>
        <p:nvGrpSpPr>
          <p:cNvPr id="13" name="Group 12">
            <a:extLst>
              <a:ext uri="{FF2B5EF4-FFF2-40B4-BE49-F238E27FC236}">
                <a16:creationId xmlns:a16="http://schemas.microsoft.com/office/drawing/2014/main" id="{12E1F5EE-0AF3-1E65-0D12-E258F909C44A}"/>
              </a:ext>
            </a:extLst>
          </p:cNvPr>
          <p:cNvGrpSpPr/>
          <p:nvPr/>
        </p:nvGrpSpPr>
        <p:grpSpPr>
          <a:xfrm>
            <a:off x="5605957" y="2301199"/>
            <a:ext cx="991344" cy="991341"/>
            <a:chOff x="5600328" y="2260733"/>
            <a:chExt cx="991344" cy="991341"/>
          </a:xfrm>
        </p:grpSpPr>
        <p:grpSp>
          <p:nvGrpSpPr>
            <p:cNvPr id="166" name="Group 165">
              <a:extLst>
                <a:ext uri="{FF2B5EF4-FFF2-40B4-BE49-F238E27FC236}">
                  <a16:creationId xmlns:a16="http://schemas.microsoft.com/office/drawing/2014/main" id="{993BF4EF-4F88-3A62-B330-54D2CF540A2E}"/>
                </a:ext>
              </a:extLst>
            </p:cNvPr>
            <p:cNvGrpSpPr/>
            <p:nvPr/>
          </p:nvGrpSpPr>
          <p:grpSpPr>
            <a:xfrm>
              <a:off x="5600328" y="2260733"/>
              <a:ext cx="991344" cy="991341"/>
              <a:chOff x="3031090" y="2734209"/>
              <a:chExt cx="752625" cy="752623"/>
            </a:xfrm>
          </p:grpSpPr>
          <p:sp>
            <p:nvSpPr>
              <p:cNvPr id="168" name="Oval 167">
                <a:extLst>
                  <a:ext uri="{FF2B5EF4-FFF2-40B4-BE49-F238E27FC236}">
                    <a16:creationId xmlns:a16="http://schemas.microsoft.com/office/drawing/2014/main" id="{EF218D1B-7048-2FA4-D859-5AD8DBC6E7D3}"/>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C6E6805F-DADE-B5E8-FF4C-21ACF12FF9A1}"/>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167" name="Graphic 166">
              <a:extLst>
                <a:ext uri="{FF2B5EF4-FFF2-40B4-BE49-F238E27FC236}">
                  <a16:creationId xmlns:a16="http://schemas.microsoft.com/office/drawing/2014/main" id="{A01F6A9C-B48A-6F1B-9399-3BA05FCFC1CF}"/>
                </a:ext>
                <a:ext uri="{C183D7F6-B498-43B3-948B-1728B52AA6E4}">
                  <adec:decorative xmlns:adec="http://schemas.microsoft.com/office/drawing/2017/decorative" val="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35399" y="2488972"/>
              <a:ext cx="521199" cy="521199"/>
            </a:xfrm>
            <a:prstGeom prst="rect">
              <a:avLst/>
            </a:prstGeom>
            <a:effectLst>
              <a:outerShdw blurRad="50800" dist="38100" dir="5400000" algn="t" rotWithShape="0">
                <a:prstClr val="black">
                  <a:alpha val="40000"/>
                </a:prstClr>
              </a:outerShdw>
            </a:effectLst>
          </p:spPr>
        </p:pic>
      </p:grpSp>
      <p:sp>
        <p:nvSpPr>
          <p:cNvPr id="27" name="Rectangle: Rounded Corners 26">
            <a:extLst>
              <a:ext uri="{FF2B5EF4-FFF2-40B4-BE49-F238E27FC236}">
                <a16:creationId xmlns:a16="http://schemas.microsoft.com/office/drawing/2014/main" id="{85A6D24D-BBBC-6C15-2A83-79D14366D22D}"/>
              </a:ext>
            </a:extLst>
          </p:cNvPr>
          <p:cNvSpPr/>
          <p:nvPr/>
        </p:nvSpPr>
        <p:spPr bwMode="auto">
          <a:xfrm>
            <a:off x="1280377" y="3447288"/>
            <a:ext cx="2505527" cy="329724"/>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rPr>
              <a:t>Para usuarios finales</a:t>
            </a:r>
          </a:p>
        </p:txBody>
      </p:sp>
      <p:sp>
        <p:nvSpPr>
          <p:cNvPr id="29" name="TextBox 28">
            <a:extLst>
              <a:ext uri="{FF2B5EF4-FFF2-40B4-BE49-F238E27FC236}">
                <a16:creationId xmlns:a16="http://schemas.microsoft.com/office/drawing/2014/main" id="{FD20ABA9-FCA3-B6FB-589B-6FBFFB8C1A89}"/>
              </a:ext>
            </a:extLst>
          </p:cNvPr>
          <p:cNvSpPr txBox="1"/>
          <p:nvPr/>
        </p:nvSpPr>
        <p:spPr>
          <a:xfrm>
            <a:off x="1302833" y="5805956"/>
            <a:ext cx="2397868" cy="353943"/>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7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Generador de agentes</a:t>
            </a:r>
          </a:p>
        </p:txBody>
      </p:sp>
      <p:pic>
        <p:nvPicPr>
          <p:cNvPr id="30" name="Picture 29" descr="Una captura de pantalla de un ordenador  Descripción generada automáticamente">
            <a:extLst>
              <a:ext uri="{FF2B5EF4-FFF2-40B4-BE49-F238E27FC236}">
                <a16:creationId xmlns:a16="http://schemas.microsoft.com/office/drawing/2014/main" id="{6F2DB1C6-08B3-40E8-C4DE-A6F95F3304A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8038" y="3745507"/>
            <a:ext cx="3450204" cy="2145126"/>
          </a:xfrm>
          <a:prstGeom prst="rect">
            <a:avLst/>
          </a:prstGeom>
        </p:spPr>
      </p:pic>
      <p:sp>
        <p:nvSpPr>
          <p:cNvPr id="23" name="Rectangle: Rounded Corners 22">
            <a:extLst>
              <a:ext uri="{FF2B5EF4-FFF2-40B4-BE49-F238E27FC236}">
                <a16:creationId xmlns:a16="http://schemas.microsoft.com/office/drawing/2014/main" id="{BF7EDDC1-7CA5-7EE0-837F-439677D5C284}"/>
              </a:ext>
            </a:extLst>
          </p:cNvPr>
          <p:cNvSpPr/>
          <p:nvPr/>
        </p:nvSpPr>
        <p:spPr bwMode="auto">
          <a:xfrm>
            <a:off x="8355247" y="3441915"/>
            <a:ext cx="2505527" cy="329724"/>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Segoe UI Semibold"/>
                <a:ea typeface="+mn-ea"/>
                <a:cs typeface="Segoe UI" pitchFamily="34" charset="0"/>
              </a:rPr>
              <a:t>Para desarrolladores</a:t>
            </a:r>
          </a:p>
        </p:txBody>
      </p:sp>
      <p:sp>
        <p:nvSpPr>
          <p:cNvPr id="25" name="TextBox 24">
            <a:extLst>
              <a:ext uri="{FF2B5EF4-FFF2-40B4-BE49-F238E27FC236}">
                <a16:creationId xmlns:a16="http://schemas.microsoft.com/office/drawing/2014/main" id="{2E9D3F36-B5DF-0AF6-5BD1-6527ED2F092B}"/>
              </a:ext>
            </a:extLst>
          </p:cNvPr>
          <p:cNvSpPr txBox="1"/>
          <p:nvPr/>
        </p:nvSpPr>
        <p:spPr>
          <a:xfrm>
            <a:off x="7900392" y="5800393"/>
            <a:ext cx="3415235"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7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VS Code, Copilot Studio, Fundición de IA de Azure</a:t>
            </a:r>
          </a:p>
        </p:txBody>
      </p:sp>
      <p:pic>
        <p:nvPicPr>
          <p:cNvPr id="26" name="Picture 25">
            <a:extLst>
              <a:ext uri="{FF2B5EF4-FFF2-40B4-BE49-F238E27FC236}">
                <a16:creationId xmlns:a16="http://schemas.microsoft.com/office/drawing/2014/main" id="{3605FBA4-2939-64A0-F615-83CD5A76B93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219067" y="3941868"/>
            <a:ext cx="2777886" cy="1723380"/>
          </a:xfrm>
          <a:prstGeom prst="rect">
            <a:avLst/>
          </a:prstGeom>
        </p:spPr>
      </p:pic>
      <p:sp>
        <p:nvSpPr>
          <p:cNvPr id="21" name="TextBox 20">
            <a:extLst>
              <a:ext uri="{FF2B5EF4-FFF2-40B4-BE49-F238E27FC236}">
                <a16:creationId xmlns:a16="http://schemas.microsoft.com/office/drawing/2014/main" id="{4DAFF6FC-92D9-45D7-156A-9B252990650F}"/>
              </a:ext>
            </a:extLst>
          </p:cNvPr>
          <p:cNvSpPr txBox="1"/>
          <p:nvPr/>
        </p:nvSpPr>
        <p:spPr>
          <a:xfrm>
            <a:off x="5193002" y="5800393"/>
            <a:ext cx="1801762" cy="35394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Studio </a:t>
            </a:r>
          </a:p>
        </p:txBody>
      </p:sp>
      <p:pic>
        <p:nvPicPr>
          <p:cNvPr id="22" name="Picture 21" descr="Una captura de pantalla que muestra la experiencia dentro del producto de Copilot Studio.">
            <a:extLst>
              <a:ext uri="{FF2B5EF4-FFF2-40B4-BE49-F238E27FC236}">
                <a16:creationId xmlns:a16="http://schemas.microsoft.com/office/drawing/2014/main" id="{2E509080-5FF1-5213-8118-131771B80855}"/>
              </a:ext>
              <a:ext uri="{C183D7F6-B498-43B3-948B-1728B52AA6E4}">
                <adec:decorative xmlns:adec="http://schemas.microsoft.com/office/drawing/2017/decorative" val="0"/>
              </a:ext>
            </a:extLst>
          </p:cNvPr>
          <p:cNvPicPr>
            <a:picLocks/>
          </p:cNvPicPr>
          <p:nvPr/>
        </p:nvPicPr>
        <p:blipFill rotWithShape="1">
          <a:blip r:embed="rId8">
            <a:extLst>
              <a:ext uri="{28A0092B-C50C-407E-A947-70E740481C1C}">
                <a14:useLocalDpi xmlns:a14="http://schemas.microsoft.com/office/drawing/2010/main" val="0"/>
              </a:ext>
            </a:extLst>
          </a:blip>
          <a:stretch/>
        </p:blipFill>
        <p:spPr>
          <a:xfrm>
            <a:off x="4873217" y="4130651"/>
            <a:ext cx="2441332" cy="1363712"/>
          </a:xfrm>
          <a:prstGeom prst="roundRect">
            <a:avLst>
              <a:gd name="adj" fmla="val 2856"/>
            </a:avLst>
          </a:prstGeom>
          <a:noFill/>
          <a:effectLst>
            <a:outerShdw blurRad="279400" algn="ctr" rotWithShape="0">
              <a:prstClr val="black">
                <a:alpha val="20000"/>
              </a:prstClr>
            </a:outerShdw>
          </a:effectLst>
        </p:spPr>
      </p:pic>
      <p:sp>
        <p:nvSpPr>
          <p:cNvPr id="20" name="Rectangle: Rounded Corners 19">
            <a:extLst>
              <a:ext uri="{FF2B5EF4-FFF2-40B4-BE49-F238E27FC236}">
                <a16:creationId xmlns:a16="http://schemas.microsoft.com/office/drawing/2014/main" id="{288A7118-7D52-A5BB-681C-B5F3BD42804B}"/>
              </a:ext>
            </a:extLst>
          </p:cNvPr>
          <p:cNvSpPr/>
          <p:nvPr/>
        </p:nvSpPr>
        <p:spPr bwMode="auto">
          <a:xfrm>
            <a:off x="5034786" y="3444572"/>
            <a:ext cx="2122428" cy="326966"/>
          </a:xfrm>
          <a:prstGeom prst="roundRect">
            <a:avLst>
              <a:gd name="adj" fmla="val 50000"/>
            </a:avLst>
          </a:prstGeom>
          <a:solidFill>
            <a:srgbClr val="0078D4"/>
          </a:solidFill>
          <a:ln>
            <a:noFill/>
            <a:headEnd type="none" w="med" len="med"/>
            <a:tailEnd type="none" w="med" len="med"/>
          </a:ln>
          <a:effectLst>
            <a:outerShdw blurRad="76200" sx="102000" sy="1020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Segoe UI Semibold"/>
                <a:ea typeface="+mn-ea"/>
                <a:cs typeface="Segoe UI" pitchFamily="34" charset="0"/>
              </a:rPr>
              <a:t>Para creadores</a:t>
            </a:r>
          </a:p>
        </p:txBody>
      </p:sp>
      <p:sp>
        <p:nvSpPr>
          <p:cNvPr id="3" name="Title 35">
            <a:extLst>
              <a:ext uri="{FF2B5EF4-FFF2-40B4-BE49-F238E27FC236}">
                <a16:creationId xmlns:a16="http://schemas.microsoft.com/office/drawing/2014/main" id="{43106AF3-78FC-3D6F-8F48-9D03F9EAA8D9}"/>
              </a:ext>
            </a:extLst>
          </p:cNvPr>
          <p:cNvSpPr txBox="1">
            <a:spLocks/>
          </p:cNvSpPr>
          <p:nvPr/>
        </p:nvSpPr>
        <p:spPr>
          <a:xfrm>
            <a:off x="882459" y="536115"/>
            <a:ext cx="11017250" cy="1163395"/>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tab pos="1490663" algn="l"/>
              </a:tabLst>
              <a:defRPr/>
            </a:pPr>
            <a:r>
              <a:rPr kumimoji="0" lang="es-es" sz="4200" b="0" i="0" u="none" strike="noStrike" kern="1200" cap="none" spc="-70" normalizeH="0" baseline="0" noProof="0" dirty="0">
                <a:ln>
                  <a:noFill/>
                </a:ln>
                <a:solidFill>
                  <a:prstClr val="black"/>
                </a:solidFill>
                <a:effectLst/>
                <a:uLnTx/>
                <a:uFillTx/>
                <a:latin typeface="Segoe UI Semibold"/>
                <a:ea typeface="+mn-ea"/>
                <a:cs typeface="Segoe UI" pitchFamily="34" charset="0"/>
              </a:rPr>
              <a:t>Diversas herramientas para la creación </a:t>
            </a:r>
            <a:br>
              <a:rPr kumimoji="0" lang="es-es" sz="4200" b="0" i="0" u="none" strike="noStrike" kern="1200" cap="none" spc="-70" normalizeH="0" baseline="0" noProof="0" dirty="0">
                <a:ln>
                  <a:noFill/>
                </a:ln>
                <a:solidFill>
                  <a:prstClr val="black"/>
                </a:solidFill>
                <a:effectLst/>
                <a:uLnTx/>
                <a:uFillTx/>
                <a:latin typeface="Segoe UI Semibold"/>
                <a:ea typeface="+mn-ea"/>
                <a:cs typeface="Segoe UI" pitchFamily="34" charset="0"/>
              </a:rPr>
            </a:br>
            <a:r>
              <a:rPr kumimoji="0" lang="es-es" sz="4200" b="0" i="0" u="none" strike="noStrike" kern="1200" cap="none" spc="-70" normalizeH="0" baseline="0" noProof="0" dirty="0">
                <a:ln>
                  <a:noFill/>
                </a:ln>
                <a:solidFill>
                  <a:prstClr val="black"/>
                </a:solidFill>
                <a:effectLst/>
                <a:uLnTx/>
                <a:uFillTx/>
                <a:latin typeface="Segoe UI Semibold"/>
                <a:ea typeface="+mn-ea"/>
                <a:cs typeface="Segoe UI" pitchFamily="34" charset="0"/>
              </a:rPr>
              <a:t>de agentes</a:t>
            </a:r>
            <a:endParaRPr kumimoji="0" lang="en-US" sz="4000" b="1" i="0" u="none" strike="noStrike" kern="1200" cap="none" spc="-80" normalizeH="0" baseline="0" noProof="0" dirty="0">
              <a:ln>
                <a:noFill/>
              </a:ln>
              <a:gradFill flip="none" rotWithShape="1">
                <a:gsLst>
                  <a:gs pos="66000">
                    <a:srgbClr val="0078D4"/>
                  </a:gs>
                  <a:gs pos="93000">
                    <a:srgbClr val="C03BC4"/>
                  </a:gs>
                  <a:gs pos="100000">
                    <a:srgbClr val="FF5C39"/>
                  </a:gs>
                </a:gsLst>
                <a:lin ang="2700000" scaled="0"/>
                <a:tileRect/>
              </a:gradFill>
              <a:effectLst/>
              <a:uLnTx/>
              <a:uFillTx/>
              <a:latin typeface="Segoe Sans Display Semibold" pitchFamily="2" charset="0"/>
              <a:ea typeface="+mn-ea"/>
              <a:cs typeface="Segoe Sans Display Semibold" pitchFamily="2" charset="0"/>
            </a:endParaRPr>
          </a:p>
        </p:txBody>
      </p:sp>
      <p:sp>
        <p:nvSpPr>
          <p:cNvPr id="2" name="Rectangle 1">
            <a:extLst>
              <a:ext uri="{FF2B5EF4-FFF2-40B4-BE49-F238E27FC236}">
                <a16:creationId xmlns:a16="http://schemas.microsoft.com/office/drawing/2014/main" id="{FB1EB669-B65D-6A96-F856-4EEAE17765D2}"/>
              </a:ext>
            </a:extLst>
          </p:cNvPr>
          <p:cNvSpPr/>
          <p:nvPr/>
        </p:nvSpPr>
        <p:spPr bwMode="auto">
          <a:xfrm>
            <a:off x="993531" y="3877408"/>
            <a:ext cx="3112477" cy="1922985"/>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70000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196DA3-079A-DF81-1D1D-38494EAAFDC7}"/>
            </a:ext>
          </a:extLst>
        </p:cNvPr>
        <p:cNvGrpSpPr/>
        <p:nvPr/>
      </p:nvGrpSpPr>
      <p:grpSpPr>
        <a:xfrm>
          <a:off x="0" y="0"/>
          <a:ext cx="0" cy="0"/>
          <a:chOff x="0" y="0"/>
          <a:chExt cx="0" cy="0"/>
        </a:xfrm>
      </p:grpSpPr>
      <p:sp>
        <p:nvSpPr>
          <p:cNvPr id="118" name="Rectangle: Rounded Corners 117">
            <a:extLst>
              <a:ext uri="{FF2B5EF4-FFF2-40B4-BE49-F238E27FC236}">
                <a16:creationId xmlns:a16="http://schemas.microsoft.com/office/drawing/2014/main" id="{98620DDF-9C73-D162-283F-F4A35B7AADFD}"/>
              </a:ext>
              <a:ext uri="{C183D7F6-B498-43B3-948B-1728B52AA6E4}">
                <adec:decorative xmlns:adec="http://schemas.microsoft.com/office/drawing/2017/decorative" val="1"/>
              </a:ext>
            </a:extLst>
          </p:cNvPr>
          <p:cNvSpPr/>
          <p:nvPr/>
        </p:nvSpPr>
        <p:spPr bwMode="auto">
          <a:xfrm>
            <a:off x="289242" y="1518307"/>
            <a:ext cx="11613515" cy="4954336"/>
          </a:xfrm>
          <a:prstGeom prst="roundRect">
            <a:avLst>
              <a:gd name="adj" fmla="val 3686"/>
            </a:avLst>
          </a:prstGeom>
          <a:solidFill>
            <a:schemeClr val="bg1"/>
          </a:solidFill>
          <a:ln w="6350">
            <a:noFill/>
            <a:headEnd type="none" w="med" len="med"/>
            <a:tailEnd type="none" w="med" len="med"/>
          </a:ln>
          <a:effectLst>
            <a:outerShdw blurRad="127000" sx="102000" sy="1020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9" name="TextBox 78">
            <a:extLst>
              <a:ext uri="{FF2B5EF4-FFF2-40B4-BE49-F238E27FC236}">
                <a16:creationId xmlns:a16="http://schemas.microsoft.com/office/drawing/2014/main" id="{2D010693-536C-156B-EBAF-14B85ECBD152}"/>
              </a:ext>
            </a:extLst>
          </p:cNvPr>
          <p:cNvSpPr txBox="1"/>
          <p:nvPr/>
        </p:nvSpPr>
        <p:spPr>
          <a:xfrm>
            <a:off x="4326849" y="1700803"/>
            <a:ext cx="3538300" cy="4459820"/>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97" name="TextBox 96">
            <a:extLst>
              <a:ext uri="{FF2B5EF4-FFF2-40B4-BE49-F238E27FC236}">
                <a16:creationId xmlns:a16="http://schemas.microsoft.com/office/drawing/2014/main" id="{622CE8EF-C76A-4B30-ED01-1B3106808947}"/>
              </a:ext>
            </a:extLst>
          </p:cNvPr>
          <p:cNvSpPr txBox="1"/>
          <p:nvPr/>
        </p:nvSpPr>
        <p:spPr>
          <a:xfrm>
            <a:off x="8054931" y="1700803"/>
            <a:ext cx="3538300" cy="4459820"/>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434F4D2A-7ECE-2A1B-E349-0AC6064EAD0A}"/>
              </a:ext>
            </a:extLst>
          </p:cNvPr>
          <p:cNvSpPr>
            <a:spLocks noGrp="1"/>
          </p:cNvSpPr>
          <p:nvPr>
            <p:ph type="title"/>
          </p:nvPr>
        </p:nvSpPr>
        <p:spPr>
          <a:xfrm>
            <a:off x="588263" y="223095"/>
            <a:ext cx="11018520" cy="553998"/>
          </a:xfrm>
        </p:spPr>
        <p:txBody>
          <a:bodyPr/>
          <a:lstStyle/>
          <a:p>
            <a:r>
              <a:rPr lang="es-es" dirty="0">
                <a:cs typeface="Segoe UI"/>
              </a:rPr>
              <a:t>Elige tu camino</a:t>
            </a:r>
            <a:endParaRPr lang="en-US" dirty="0"/>
          </a:p>
        </p:txBody>
      </p:sp>
      <p:sp>
        <p:nvSpPr>
          <p:cNvPr id="3" name="Title 13">
            <a:extLst>
              <a:ext uri="{FF2B5EF4-FFF2-40B4-BE49-F238E27FC236}">
                <a16:creationId xmlns:a16="http://schemas.microsoft.com/office/drawing/2014/main" id="{1F890480-9F27-D21C-B48E-2DE1FABD395C}"/>
              </a:ext>
            </a:extLst>
          </p:cNvPr>
          <p:cNvSpPr txBox="1">
            <a:spLocks/>
          </p:cNvSpPr>
          <p:nvPr/>
        </p:nvSpPr>
        <p:spPr>
          <a:xfrm>
            <a:off x="588263" y="833371"/>
            <a:ext cx="11018520" cy="4985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0078D4"/>
                </a:solidFill>
                <a:effectLst/>
                <a:uLnTx/>
                <a:uFillTx/>
                <a:latin typeface="Segoe Sans Display Semibold" pitchFamily="2" charset="0"/>
                <a:ea typeface="+mj-lt"/>
                <a:cs typeface="Segoe Sans Display Semibold" pitchFamily="2" charset="0"/>
              </a:rPr>
              <a:t>Independientemente de que seas principiante o profesional, los agentes potencian </a:t>
            </a:r>
            <a:r>
              <a:rPr kumimoji="0" lang="es-es" sz="1800" b="1" i="0" u="none" strike="noStrike" kern="1200" cap="none" spc="0" normalizeH="0" baseline="0" noProof="0" dirty="0" err="1">
                <a:ln>
                  <a:noFill/>
                </a:ln>
                <a:solidFill>
                  <a:srgbClr val="0078D4"/>
                </a:solidFill>
                <a:effectLst/>
                <a:uLnTx/>
                <a:uFillTx/>
                <a:latin typeface="Segoe Sans Display Semibold" pitchFamily="2" charset="0"/>
                <a:ea typeface="+mj-lt"/>
                <a:cs typeface="Segoe Sans Display Semibold" pitchFamily="2" charset="0"/>
              </a:rPr>
              <a:t>Copilot</a:t>
            </a:r>
            <a:r>
              <a:rPr kumimoji="0" lang="es-es" sz="1800" b="1" i="0" u="none" strike="noStrike" kern="1200" cap="none" spc="0" normalizeH="0" baseline="0" noProof="0" dirty="0">
                <a:ln>
                  <a:noFill/>
                </a:ln>
                <a:solidFill>
                  <a:srgbClr val="0078D4"/>
                </a:solidFill>
                <a:effectLst/>
                <a:uLnTx/>
                <a:uFillTx/>
                <a:latin typeface="Segoe Sans Display Semibold" pitchFamily="2" charset="0"/>
                <a:ea typeface="+mj-lt"/>
                <a:cs typeface="Segoe Sans Display Semibold" pitchFamily="2" charset="0"/>
              </a:rPr>
              <a:t> para adaptarlo mejor a las necesidades de tu negocio </a:t>
            </a:r>
            <a:endParaRPr kumimoji="0" lang="en-US" sz="3600" b="1" i="0" u="none" strike="noStrike" kern="1200" cap="none" spc="-50" normalizeH="0" baseline="0" noProof="0" dirty="0">
              <a:ln w="3175">
                <a:noFill/>
              </a:ln>
              <a:solidFill>
                <a:srgbClr val="0078D4"/>
              </a:solidFill>
              <a:effectLst/>
              <a:uLnTx/>
              <a:uFillTx/>
              <a:latin typeface="Segoe Sans Display Semibold" pitchFamily="2" charset="0"/>
              <a:ea typeface="+mj-lt"/>
              <a:cs typeface="Segoe Sans Display Semibold" pitchFamily="2" charset="0"/>
            </a:endParaRPr>
          </a:p>
        </p:txBody>
      </p:sp>
      <p:sp>
        <p:nvSpPr>
          <p:cNvPr id="12" name="TextBox 11">
            <a:extLst>
              <a:ext uri="{FF2B5EF4-FFF2-40B4-BE49-F238E27FC236}">
                <a16:creationId xmlns:a16="http://schemas.microsoft.com/office/drawing/2014/main" id="{F10F3EB8-A948-3C79-FBEC-5F52F0E62B91}"/>
              </a:ext>
            </a:extLst>
          </p:cNvPr>
          <p:cNvSpPr txBox="1"/>
          <p:nvPr/>
        </p:nvSpPr>
        <p:spPr>
          <a:xfrm>
            <a:off x="598767" y="1700803"/>
            <a:ext cx="3538300" cy="4459820"/>
          </a:xfrm>
          <a:prstGeom prst="roundRect">
            <a:avLst>
              <a:gd name="adj" fmla="val 5592"/>
            </a:avLst>
          </a:prstGeom>
          <a:solidFill>
            <a:schemeClr val="bg1"/>
          </a:solidFill>
          <a:ln w="6350">
            <a:solidFill>
              <a:srgbClr val="EAEAEA"/>
            </a:solidFill>
            <a:headEnd type="none" w="med" len="med"/>
            <a:tailEnd type="none" w="med" len="med"/>
          </a:ln>
          <a:effectLst>
            <a:outerShdw blurRad="25400" algn="ctr"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defPPr>
              <a:defRPr lang="en-US"/>
            </a:defPPr>
            <a:lvl1pPr algn="ctr">
              <a:defRPr kern="0">
                <a:solidFill>
                  <a:schemeClr val="tx1"/>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16" name="Rectangle: Rounded Corners 15">
            <a:extLst>
              <a:ext uri="{FF2B5EF4-FFF2-40B4-BE49-F238E27FC236}">
                <a16:creationId xmlns:a16="http://schemas.microsoft.com/office/drawing/2014/main" id="{1EBC3626-68BF-5CEE-B515-702A29B3D1E9}"/>
              </a:ext>
            </a:extLst>
          </p:cNvPr>
          <p:cNvSpPr/>
          <p:nvPr/>
        </p:nvSpPr>
        <p:spPr bwMode="auto">
          <a:xfrm>
            <a:off x="859978" y="1936694"/>
            <a:ext cx="3015879" cy="547901"/>
          </a:xfrm>
          <a:prstGeom prst="roundRect">
            <a:avLst>
              <a:gd name="adj" fmla="val 50000"/>
            </a:avLst>
          </a:prstGeom>
          <a:gradFill flip="none" rotWithShape="1">
            <a:gsLst>
              <a:gs pos="4000">
                <a:srgbClr val="0078D4"/>
              </a:gs>
              <a:gs pos="100000">
                <a:srgbClr val="C03BC4"/>
              </a:gs>
            </a:gsLst>
            <a:lin ang="2700000" scaled="1"/>
            <a:tileRect/>
          </a:gra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FFFFFF"/>
                </a:solidFill>
                <a:effectLst/>
                <a:uLnTx/>
                <a:uFillTx/>
                <a:latin typeface="Segoe UI Semibold"/>
                <a:ea typeface="+mn-ea"/>
                <a:cs typeface="Segoe Sans Text Semibold" pitchFamily="2" charset="0"/>
              </a:rPr>
              <a:t>Comienza con un agente ya creado</a:t>
            </a:r>
          </a:p>
        </p:txBody>
      </p:sp>
      <p:sp>
        <p:nvSpPr>
          <p:cNvPr id="33" name="TextBox 32">
            <a:extLst>
              <a:ext uri="{FF2B5EF4-FFF2-40B4-BE49-F238E27FC236}">
                <a16:creationId xmlns:a16="http://schemas.microsoft.com/office/drawing/2014/main" id="{3D6FE610-67BF-619A-F343-FB8A841A99A1}"/>
              </a:ext>
            </a:extLst>
          </p:cNvPr>
          <p:cNvSpPr txBox="1"/>
          <p:nvPr/>
        </p:nvSpPr>
        <p:spPr>
          <a:xfrm>
            <a:off x="859978" y="4201405"/>
            <a:ext cx="3015879"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000000"/>
                </a:solidFill>
                <a:effectLst/>
                <a:uLnTx/>
                <a:uFillTx/>
                <a:latin typeface="Segoe Sans Display Semibold" pitchFamily="2" charset="0"/>
                <a:ea typeface="+mn-ea"/>
                <a:cs typeface="Segoe Sans Display Semibold" pitchFamily="2" charset="0"/>
              </a:rPr>
              <a:t>¿Buscas un impacto inmediato?</a:t>
            </a:r>
            <a:br>
              <a:rPr dirty="0"/>
            </a:br>
            <a:endParaRPr kumimoji="0" lang="en-US" sz="1200" b="1" i="0" u="none" strike="noStrike" kern="1200" cap="none" spc="0" normalizeH="0" baseline="0" noProof="0" dirty="0">
              <a:ln>
                <a:noFill/>
              </a:ln>
              <a:solidFill>
                <a:srgbClr val="000000"/>
              </a:solidFill>
              <a:effectLst/>
              <a:uLnTx/>
              <a:uFillTx/>
              <a:latin typeface="Segoe Sans Display Semibold" pitchFamily="2" charset="0"/>
              <a:ea typeface="+mn-ea"/>
              <a:cs typeface="Segoe Sans Display Semibold"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Elige entre diversos agentes precreados diseñados para automatizar tareas empresariales comunes en la Tienda </a:t>
            </a:r>
            <a:br>
              <a:rPr kumimoji="0" lang="es-es" sz="12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br>
            <a:r>
              <a:rPr kumimoji="0" lang="es-es" sz="12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de agentes o en Copilot Studio.</a:t>
            </a:r>
          </a:p>
        </p:txBody>
      </p:sp>
      <p:sp>
        <p:nvSpPr>
          <p:cNvPr id="76" name="Rectangle: Rounded Corners 75">
            <a:extLst>
              <a:ext uri="{FF2B5EF4-FFF2-40B4-BE49-F238E27FC236}">
                <a16:creationId xmlns:a16="http://schemas.microsoft.com/office/drawing/2014/main" id="{D9AEF354-7E1D-6405-F1C9-361E10818CF4}"/>
              </a:ext>
            </a:extLst>
          </p:cNvPr>
          <p:cNvSpPr/>
          <p:nvPr/>
        </p:nvSpPr>
        <p:spPr bwMode="auto">
          <a:xfrm>
            <a:off x="859978" y="5619126"/>
            <a:ext cx="3015879" cy="367934"/>
          </a:xfrm>
          <a:prstGeom prst="roundRect">
            <a:avLst>
              <a:gd name="adj" fmla="val 50000"/>
            </a:avLst>
          </a:prstGeom>
          <a:solidFill>
            <a:schemeClr val="bg1">
              <a:lumMod val="95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8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t>Consulta más en la Tienda de agentes. Copilot Chat </a:t>
            </a:r>
            <a:br>
              <a:rPr kumimoji="0" lang="es-es" sz="8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br>
            <a:r>
              <a:rPr kumimoji="0" lang="es-es" sz="8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t>y Copilot Studio </a:t>
            </a:r>
          </a:p>
        </p:txBody>
      </p:sp>
      <p:sp>
        <p:nvSpPr>
          <p:cNvPr id="80" name="Rectangle: Rounded Corners 79">
            <a:extLst>
              <a:ext uri="{FF2B5EF4-FFF2-40B4-BE49-F238E27FC236}">
                <a16:creationId xmlns:a16="http://schemas.microsoft.com/office/drawing/2014/main" id="{98066FDF-BF3A-8784-36BF-CD2DA4FDD67C}"/>
              </a:ext>
            </a:extLst>
          </p:cNvPr>
          <p:cNvSpPr/>
          <p:nvPr/>
        </p:nvSpPr>
        <p:spPr bwMode="auto">
          <a:xfrm>
            <a:off x="4588060" y="1936694"/>
            <a:ext cx="3015879" cy="547901"/>
          </a:xfrm>
          <a:prstGeom prst="roundRect">
            <a:avLst>
              <a:gd name="adj" fmla="val 50000"/>
            </a:avLst>
          </a:prstGeom>
          <a:gradFill flip="none" rotWithShape="1">
            <a:gsLst>
              <a:gs pos="4000">
                <a:srgbClr val="0078D4"/>
              </a:gs>
              <a:gs pos="100000">
                <a:srgbClr val="C03BC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FFFFFF"/>
                </a:solidFill>
                <a:effectLst/>
                <a:uLnTx/>
                <a:uFillTx/>
                <a:latin typeface="Segoe UI Semibold"/>
                <a:ea typeface="Segoe UI" pitchFamily="34" charset="0"/>
                <a:cs typeface="Segoe UI"/>
              </a:rPr>
              <a:t>Crea un agente desde cero o a partir </a:t>
            </a:r>
            <a:br>
              <a:rPr kumimoji="0" lang="es-es" sz="1200" b="0" i="0" u="none" strike="noStrike" kern="1200" cap="none" spc="0" normalizeH="0" baseline="0" noProof="0" dirty="0">
                <a:ln>
                  <a:noFill/>
                </a:ln>
                <a:solidFill>
                  <a:srgbClr val="FFFFFF"/>
                </a:solidFill>
                <a:effectLst/>
                <a:uLnTx/>
                <a:uFillTx/>
                <a:latin typeface="Segoe UI Semibold"/>
                <a:ea typeface="Segoe UI" pitchFamily="34" charset="0"/>
                <a:cs typeface="Segoe UI"/>
              </a:rPr>
            </a:br>
            <a:r>
              <a:rPr kumimoji="0" lang="es-es" sz="1200" b="0" i="0" u="none" strike="noStrike" kern="1200" cap="none" spc="0" normalizeH="0" baseline="0" noProof="0" dirty="0">
                <a:ln>
                  <a:noFill/>
                </a:ln>
                <a:solidFill>
                  <a:srgbClr val="FFFFFF"/>
                </a:solidFill>
                <a:effectLst/>
                <a:uLnTx/>
                <a:uFillTx/>
                <a:latin typeface="Segoe UI Semibold"/>
                <a:ea typeface="Segoe UI" pitchFamily="34" charset="0"/>
                <a:cs typeface="Segoe UI"/>
              </a:rPr>
              <a:t>de una plantilla personalizable</a:t>
            </a:r>
            <a:endParaRPr kumimoji="0" lang="en-US" sz="12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p:txBody>
      </p:sp>
      <p:sp>
        <p:nvSpPr>
          <p:cNvPr id="98" name="Rectangle: Rounded Corners 97">
            <a:extLst>
              <a:ext uri="{FF2B5EF4-FFF2-40B4-BE49-F238E27FC236}">
                <a16:creationId xmlns:a16="http://schemas.microsoft.com/office/drawing/2014/main" id="{5A58A936-34CE-2AED-1B9D-03E6AE768435}"/>
              </a:ext>
            </a:extLst>
          </p:cNvPr>
          <p:cNvSpPr/>
          <p:nvPr/>
        </p:nvSpPr>
        <p:spPr bwMode="auto">
          <a:xfrm>
            <a:off x="8316142" y="1936694"/>
            <a:ext cx="3015879" cy="547901"/>
          </a:xfrm>
          <a:prstGeom prst="roundRect">
            <a:avLst>
              <a:gd name="adj" fmla="val 50000"/>
            </a:avLst>
          </a:prstGeom>
          <a:gradFill flip="none" rotWithShape="1">
            <a:gsLst>
              <a:gs pos="4000">
                <a:srgbClr val="0078D4"/>
              </a:gs>
              <a:gs pos="100000">
                <a:srgbClr val="C03BC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a:ln>
                  <a:noFill/>
                </a:ln>
                <a:solidFill>
                  <a:srgbClr val="FFFFFF"/>
                </a:solidFill>
                <a:effectLst/>
                <a:uLnTx/>
                <a:uFillTx/>
                <a:latin typeface="Segoe UI Semibold"/>
                <a:ea typeface="Segoe UI" pitchFamily="34" charset="0"/>
                <a:cs typeface="Segoe UI"/>
              </a:rPr>
              <a:t>Trae tu propio agente</a:t>
            </a:r>
            <a:endParaRPr kumimoji="0" lang="en-US" sz="12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56" name="TextBox 55">
            <a:extLst>
              <a:ext uri="{FF2B5EF4-FFF2-40B4-BE49-F238E27FC236}">
                <a16:creationId xmlns:a16="http://schemas.microsoft.com/office/drawing/2014/main" id="{7AB35ABC-7ECA-12C3-D727-04DCD71CF8EB}"/>
              </a:ext>
            </a:extLst>
          </p:cNvPr>
          <p:cNvSpPr txBox="1"/>
          <p:nvPr/>
        </p:nvSpPr>
        <p:spPr>
          <a:xfrm>
            <a:off x="4588060" y="4201405"/>
            <a:ext cx="3015879" cy="127727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000000"/>
                </a:solidFill>
                <a:effectLst/>
                <a:uLnTx/>
                <a:uFillTx/>
                <a:latin typeface="Segoe Sans Display Semibold" pitchFamily="2" charset="0"/>
                <a:ea typeface="+mn-ea"/>
                <a:cs typeface="Segoe Sans Display Semibold" pitchFamily="2" charset="0"/>
              </a:rPr>
              <a:t>¿Tienes una visión específica?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Crea rápidamente tu agente mediante lenguaje natural en </a:t>
            </a:r>
            <a:r>
              <a:rPr lang="es-es" sz="1200" dirty="0">
                <a:solidFill>
                  <a:srgbClr val="000000"/>
                </a:solidFill>
                <a:latin typeface="Segoe Sans Display" pitchFamily="2" charset="0"/>
                <a:cs typeface="Segoe Sans Display" pitchFamily="2" charset="0"/>
              </a:rPr>
              <a:t>Generador de agentes </a:t>
            </a:r>
            <a:br>
              <a:rPr lang="es-es" sz="1200" dirty="0">
                <a:solidFill>
                  <a:srgbClr val="000000"/>
                </a:solidFill>
                <a:latin typeface="Segoe Sans Display" pitchFamily="2" charset="0"/>
                <a:cs typeface="Segoe Sans Display" pitchFamily="2" charset="0"/>
              </a:rPr>
            </a:br>
            <a:r>
              <a:rPr lang="es-es" sz="1200" dirty="0">
                <a:solidFill>
                  <a:srgbClr val="000000"/>
                </a:solidFill>
                <a:latin typeface="Segoe Sans Display" pitchFamily="2" charset="0"/>
                <a:cs typeface="Segoe Sans Display" pitchFamily="2" charset="0"/>
              </a:rPr>
              <a:t>o </a:t>
            </a:r>
            <a:r>
              <a:rPr kumimoji="0" lang="es-es" sz="12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mediante </a:t>
            </a:r>
            <a:r>
              <a:rPr kumimoji="0" lang="es-es" sz="1200" b="0" i="0" u="none" strike="noStrike" kern="1200" cap="none" spc="0" normalizeH="0" baseline="0" noProof="0" dirty="0" err="1">
                <a:ln>
                  <a:noFill/>
                </a:ln>
                <a:solidFill>
                  <a:srgbClr val="000000"/>
                </a:solidFill>
                <a:effectLst/>
                <a:uLnTx/>
                <a:uFillTx/>
                <a:latin typeface="Segoe Sans Display" pitchFamily="2" charset="0"/>
                <a:ea typeface="+mn-ea"/>
                <a:cs typeface="Segoe Sans Display" pitchFamily="2" charset="0"/>
              </a:rPr>
              <a:t>Copilot</a:t>
            </a:r>
            <a:r>
              <a:rPr kumimoji="0" lang="es-es" sz="12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 Chat. Comienza más rápido con una plantilla personalizable adaptada a tu negocio.</a:t>
            </a:r>
          </a:p>
        </p:txBody>
      </p:sp>
      <p:grpSp>
        <p:nvGrpSpPr>
          <p:cNvPr id="57" name="Group 56">
            <a:extLst>
              <a:ext uri="{FF2B5EF4-FFF2-40B4-BE49-F238E27FC236}">
                <a16:creationId xmlns:a16="http://schemas.microsoft.com/office/drawing/2014/main" id="{0D62C7CD-03B7-E5B2-7533-099F9099EDF9}"/>
              </a:ext>
            </a:extLst>
          </p:cNvPr>
          <p:cNvGrpSpPr/>
          <p:nvPr/>
        </p:nvGrpSpPr>
        <p:grpSpPr>
          <a:xfrm>
            <a:off x="4588058" y="2891000"/>
            <a:ext cx="3015879" cy="1000680"/>
            <a:chOff x="859979" y="3356603"/>
            <a:chExt cx="3015879" cy="1000680"/>
          </a:xfrm>
        </p:grpSpPr>
        <p:grpSp>
          <p:nvGrpSpPr>
            <p:cNvPr id="58" name="Group 57">
              <a:extLst>
                <a:ext uri="{FF2B5EF4-FFF2-40B4-BE49-F238E27FC236}">
                  <a16:creationId xmlns:a16="http://schemas.microsoft.com/office/drawing/2014/main" id="{38E62581-D7B0-BD10-68F3-925E5521B388}"/>
                </a:ext>
              </a:extLst>
            </p:cNvPr>
            <p:cNvGrpSpPr/>
            <p:nvPr/>
          </p:nvGrpSpPr>
          <p:grpSpPr>
            <a:xfrm>
              <a:off x="859979" y="3356604"/>
              <a:ext cx="914401" cy="1000679"/>
              <a:chOff x="3361364" y="3552085"/>
              <a:chExt cx="914401" cy="1000679"/>
            </a:xfrm>
          </p:grpSpPr>
          <p:sp>
            <p:nvSpPr>
              <p:cNvPr id="94" name="Rectangle: Rounded Corners 110">
                <a:extLst>
                  <a:ext uri="{FF2B5EF4-FFF2-40B4-BE49-F238E27FC236}">
                    <a16:creationId xmlns:a16="http://schemas.microsoft.com/office/drawing/2014/main" id="{46C6D99C-941D-A152-76C0-25A55AF07DCA}"/>
                  </a:ext>
                </a:extLst>
              </p:cNvPr>
              <p:cNvSpPr/>
              <p:nvPr/>
            </p:nvSpPr>
            <p:spPr bwMode="auto">
              <a:xfrm>
                <a:off x="3361364" y="355208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34DB3E5E-A905-D4D4-DCA3-D2D9BCD85600}"/>
                  </a:ext>
                </a:extLst>
              </p:cNvPr>
              <p:cNvSpPr txBox="1"/>
              <p:nvPr/>
            </p:nvSpPr>
            <p:spPr>
              <a:xfrm>
                <a:off x="3361365" y="4189341"/>
                <a:ext cx="914400" cy="261610"/>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5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Información </a:t>
                </a:r>
                <a:br>
                  <a:rPr kumimoji="0" lang="es-es" sz="85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br>
                <a:r>
                  <a:rPr kumimoji="0" lang="es-es" sz="85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del </a:t>
                </a:r>
                <a:r>
                  <a:rPr lang="es-es" sz="850" dirty="0">
                    <a:solidFill>
                      <a:srgbClr val="000000"/>
                    </a:solidFill>
                    <a:latin typeface="Segoe Sans Display" pitchFamily="2" charset="0"/>
                    <a:cs typeface="Segoe Sans Display" pitchFamily="2" charset="0"/>
                  </a:rPr>
                  <a:t>cliente </a:t>
                </a:r>
                <a:endParaRPr kumimoji="0" lang="en-US" sz="85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endParaRPr>
              </a:p>
            </p:txBody>
          </p:sp>
        </p:grpSp>
        <p:grpSp>
          <p:nvGrpSpPr>
            <p:cNvPr id="59" name="Group 58">
              <a:extLst>
                <a:ext uri="{FF2B5EF4-FFF2-40B4-BE49-F238E27FC236}">
                  <a16:creationId xmlns:a16="http://schemas.microsoft.com/office/drawing/2014/main" id="{4B8DA7CA-C9A3-3446-973A-2BC4C04543EF}"/>
                </a:ext>
              </a:extLst>
            </p:cNvPr>
            <p:cNvGrpSpPr/>
            <p:nvPr/>
          </p:nvGrpSpPr>
          <p:grpSpPr>
            <a:xfrm>
              <a:off x="2961457" y="3356603"/>
              <a:ext cx="914401" cy="1000679"/>
              <a:chOff x="4417825" y="4677538"/>
              <a:chExt cx="914401" cy="1000679"/>
            </a:xfrm>
          </p:grpSpPr>
          <p:sp>
            <p:nvSpPr>
              <p:cNvPr id="78" name="Rectangle: Rounded Corners 107">
                <a:extLst>
                  <a:ext uri="{FF2B5EF4-FFF2-40B4-BE49-F238E27FC236}">
                    <a16:creationId xmlns:a16="http://schemas.microsoft.com/office/drawing/2014/main" id="{60AAF3B9-5730-DD58-48F4-9E91EB5CAABD}"/>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1" name="TextBox 90">
                <a:extLst>
                  <a:ext uri="{FF2B5EF4-FFF2-40B4-BE49-F238E27FC236}">
                    <a16:creationId xmlns:a16="http://schemas.microsoft.com/office/drawing/2014/main" id="{22ECAD59-5247-C8BB-1B7C-D58F3E23FD0E}"/>
                  </a:ext>
                </a:extLst>
              </p:cNvPr>
              <p:cNvSpPr txBox="1"/>
              <p:nvPr/>
            </p:nvSpPr>
            <p:spPr>
              <a:xfrm>
                <a:off x="4417826" y="5314794"/>
                <a:ext cx="914400" cy="261610"/>
              </a:xfrm>
              <a:prstGeom prst="rect">
                <a:avLst/>
              </a:prstGeom>
              <a:noFill/>
            </p:spPr>
            <p:txBody>
              <a:bodyPr wrap="square" lIns="0" tIns="0" rIns="0" bIns="0" rtlCol="0" anchor="ctr">
                <a:spAutoFit/>
              </a:bodyPr>
              <a:lstStyle/>
              <a:p>
                <a:pPr lvl="0" algn="ctr" defTabSz="914400">
                  <a:defRPr/>
                </a:pPr>
                <a:r>
                  <a:rPr kumimoji="0" lang="es-es" sz="85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Tutor </a:t>
                </a:r>
                <a:r>
                  <a:rPr lang="es-es" sz="850" dirty="0">
                    <a:solidFill>
                      <a:srgbClr val="000000"/>
                    </a:solidFill>
                    <a:latin typeface="Segoe Sans Display" pitchFamily="2" charset="0"/>
                    <a:cs typeface="Segoe Sans Display" pitchFamily="2" charset="0"/>
                  </a:rPr>
                  <a:t>de cuestionarios</a:t>
                </a:r>
                <a:endParaRPr kumimoji="0" lang="en-US" sz="85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endParaRPr>
              </a:p>
            </p:txBody>
          </p:sp>
        </p:grpSp>
        <p:grpSp>
          <p:nvGrpSpPr>
            <p:cNvPr id="60" name="Group 59">
              <a:extLst>
                <a:ext uri="{FF2B5EF4-FFF2-40B4-BE49-F238E27FC236}">
                  <a16:creationId xmlns:a16="http://schemas.microsoft.com/office/drawing/2014/main" id="{27AB4113-65A8-B3E0-DF31-482659CFBEB6}"/>
                </a:ext>
              </a:extLst>
            </p:cNvPr>
            <p:cNvGrpSpPr/>
            <p:nvPr/>
          </p:nvGrpSpPr>
          <p:grpSpPr>
            <a:xfrm>
              <a:off x="1910718" y="3356603"/>
              <a:ext cx="914401" cy="1000679"/>
              <a:chOff x="4417825" y="4677538"/>
              <a:chExt cx="914401" cy="1000679"/>
            </a:xfrm>
          </p:grpSpPr>
          <p:sp>
            <p:nvSpPr>
              <p:cNvPr id="61" name="Rectangle: Rounded Corners 104">
                <a:extLst>
                  <a:ext uri="{FF2B5EF4-FFF2-40B4-BE49-F238E27FC236}">
                    <a16:creationId xmlns:a16="http://schemas.microsoft.com/office/drawing/2014/main" id="{06E1B0B8-9F74-7077-E03F-B794AB25A7A5}"/>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TextBox 76">
                <a:extLst>
                  <a:ext uri="{FF2B5EF4-FFF2-40B4-BE49-F238E27FC236}">
                    <a16:creationId xmlns:a16="http://schemas.microsoft.com/office/drawing/2014/main" id="{2487219C-4593-68DF-46E0-B52E03AE4246}"/>
                  </a:ext>
                </a:extLst>
              </p:cNvPr>
              <p:cNvSpPr txBox="1"/>
              <p:nvPr/>
            </p:nvSpPr>
            <p:spPr>
              <a:xfrm>
                <a:off x="4417826" y="5314794"/>
                <a:ext cx="914400" cy="261610"/>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Preguntas de</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850">
                    <a:solidFill>
                      <a:srgbClr val="000000"/>
                    </a:solidFill>
                    <a:latin typeface="Segoe Sans Display" pitchFamily="2" charset="0"/>
                    <a:cs typeface="Segoe Sans Display" pitchFamily="2" charset="0"/>
                  </a:rPr>
                  <a:t>entrevista</a:t>
                </a:r>
                <a:endParaRPr kumimoji="0" lang="en-U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grpSp>
      </p:grpSp>
      <p:sp>
        <p:nvSpPr>
          <p:cNvPr id="115" name="Rectangle: Rounded Corners 100">
            <a:extLst>
              <a:ext uri="{FF2B5EF4-FFF2-40B4-BE49-F238E27FC236}">
                <a16:creationId xmlns:a16="http://schemas.microsoft.com/office/drawing/2014/main" id="{9858003D-089F-67D3-2F46-105DE80FF141}"/>
              </a:ext>
            </a:extLst>
          </p:cNvPr>
          <p:cNvSpPr/>
          <p:nvPr/>
        </p:nvSpPr>
        <p:spPr bwMode="auto">
          <a:xfrm>
            <a:off x="4588060" y="5619126"/>
            <a:ext cx="3015879" cy="367934"/>
          </a:xfrm>
          <a:prstGeom prst="roundRect">
            <a:avLst>
              <a:gd name="adj" fmla="val 50000"/>
            </a:avLst>
          </a:prstGeom>
          <a:solidFill>
            <a:schemeClr val="bg1">
              <a:lumMod val="95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Consulta más en Copilot Chat y Copilot Studio</a:t>
            </a:r>
          </a:p>
        </p:txBody>
      </p:sp>
      <p:sp>
        <p:nvSpPr>
          <p:cNvPr id="116" name="TextBox 115">
            <a:extLst>
              <a:ext uri="{FF2B5EF4-FFF2-40B4-BE49-F238E27FC236}">
                <a16:creationId xmlns:a16="http://schemas.microsoft.com/office/drawing/2014/main" id="{10EE6655-DA0D-2F3A-B8F6-7F79748C099F}"/>
              </a:ext>
            </a:extLst>
          </p:cNvPr>
          <p:cNvSpPr txBox="1"/>
          <p:nvPr/>
        </p:nvSpPr>
        <p:spPr>
          <a:xfrm>
            <a:off x="8316142" y="4201405"/>
            <a:ext cx="3015879" cy="129266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000000"/>
                </a:solidFill>
                <a:effectLst/>
                <a:uLnTx/>
                <a:uFillTx/>
                <a:latin typeface="Segoe Sans Display Semibold" pitchFamily="2" charset="0"/>
                <a:ea typeface="+mn-ea"/>
                <a:cs typeface="Segoe Sans Display Semibold" pitchFamily="2" charset="0"/>
              </a:rPr>
              <a:t>¿Quieres crear sobre lo que ya tiene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Integra agentes existentes en Copilot Studio para aprovechar los beneficios de una plataforma empresarial totalmente administrada, que cumple con las normas </a:t>
            </a:r>
            <a:br>
              <a:rPr kumimoji="0" lang="es-es" sz="12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br>
            <a:r>
              <a:rPr kumimoji="0" lang="es-es" sz="120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y es extensible. </a:t>
            </a:r>
          </a:p>
        </p:txBody>
      </p:sp>
      <p:grpSp>
        <p:nvGrpSpPr>
          <p:cNvPr id="117" name="Group 116">
            <a:extLst>
              <a:ext uri="{FF2B5EF4-FFF2-40B4-BE49-F238E27FC236}">
                <a16:creationId xmlns:a16="http://schemas.microsoft.com/office/drawing/2014/main" id="{9FA095AF-0C6F-1864-A6E3-28B399A1B0E6}"/>
              </a:ext>
            </a:extLst>
          </p:cNvPr>
          <p:cNvGrpSpPr/>
          <p:nvPr/>
        </p:nvGrpSpPr>
        <p:grpSpPr>
          <a:xfrm>
            <a:off x="8316142" y="2891000"/>
            <a:ext cx="3015879" cy="1000680"/>
            <a:chOff x="859979" y="3356603"/>
            <a:chExt cx="3015879" cy="1000680"/>
          </a:xfrm>
        </p:grpSpPr>
        <p:grpSp>
          <p:nvGrpSpPr>
            <p:cNvPr id="119" name="Group 118">
              <a:extLst>
                <a:ext uri="{FF2B5EF4-FFF2-40B4-BE49-F238E27FC236}">
                  <a16:creationId xmlns:a16="http://schemas.microsoft.com/office/drawing/2014/main" id="{B1CB4308-A26A-F9DD-A1A5-AB6A3FC83D54}"/>
                </a:ext>
              </a:extLst>
            </p:cNvPr>
            <p:cNvGrpSpPr/>
            <p:nvPr/>
          </p:nvGrpSpPr>
          <p:grpSpPr>
            <a:xfrm>
              <a:off x="859979" y="3356604"/>
              <a:ext cx="914401" cy="1000679"/>
              <a:chOff x="3361364" y="3552085"/>
              <a:chExt cx="914401" cy="1000679"/>
            </a:xfrm>
          </p:grpSpPr>
          <p:sp>
            <p:nvSpPr>
              <p:cNvPr id="126" name="Rectangle: Rounded Corners 92">
                <a:extLst>
                  <a:ext uri="{FF2B5EF4-FFF2-40B4-BE49-F238E27FC236}">
                    <a16:creationId xmlns:a16="http://schemas.microsoft.com/office/drawing/2014/main" id="{D9CC9A0A-8AF6-1C01-48C8-E6FC242BC0D0}"/>
                  </a:ext>
                </a:extLst>
              </p:cNvPr>
              <p:cNvSpPr/>
              <p:nvPr/>
            </p:nvSpPr>
            <p:spPr bwMode="auto">
              <a:xfrm>
                <a:off x="3361364" y="355208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7" name="TextBox 126">
                <a:extLst>
                  <a:ext uri="{FF2B5EF4-FFF2-40B4-BE49-F238E27FC236}">
                    <a16:creationId xmlns:a16="http://schemas.microsoft.com/office/drawing/2014/main" id="{4AB53B29-7EE7-5818-CAEC-E30DC22FB098}"/>
                  </a:ext>
                </a:extLst>
              </p:cNvPr>
              <p:cNvSpPr txBox="1"/>
              <p:nvPr/>
            </p:nvSpPr>
            <p:spPr>
              <a:xfrm>
                <a:off x="3361365" y="4224177"/>
                <a:ext cx="914400" cy="261610"/>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5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SDK de agentes </a:t>
                </a:r>
                <a:br>
                  <a:rPr kumimoji="0" lang="es-es" sz="85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br>
                <a:r>
                  <a:rPr kumimoji="0" lang="es-es" sz="85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de M365</a:t>
                </a:r>
              </a:p>
            </p:txBody>
          </p:sp>
        </p:grpSp>
        <p:grpSp>
          <p:nvGrpSpPr>
            <p:cNvPr id="120" name="Group 119">
              <a:extLst>
                <a:ext uri="{FF2B5EF4-FFF2-40B4-BE49-F238E27FC236}">
                  <a16:creationId xmlns:a16="http://schemas.microsoft.com/office/drawing/2014/main" id="{3B424186-2201-0CBA-0B66-FEA601877D32}"/>
                </a:ext>
              </a:extLst>
            </p:cNvPr>
            <p:cNvGrpSpPr/>
            <p:nvPr/>
          </p:nvGrpSpPr>
          <p:grpSpPr>
            <a:xfrm>
              <a:off x="2961457" y="3356603"/>
              <a:ext cx="914401" cy="1000679"/>
              <a:chOff x="4417825" y="4677538"/>
              <a:chExt cx="914401" cy="1000679"/>
            </a:xfrm>
          </p:grpSpPr>
          <p:sp>
            <p:nvSpPr>
              <p:cNvPr id="124" name="Rectangle: Rounded Corners 89">
                <a:extLst>
                  <a:ext uri="{FF2B5EF4-FFF2-40B4-BE49-F238E27FC236}">
                    <a16:creationId xmlns:a16="http://schemas.microsoft.com/office/drawing/2014/main" id="{54532572-2927-5A1B-A7D4-209412A61026}"/>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5" name="TextBox 124">
                <a:extLst>
                  <a:ext uri="{FF2B5EF4-FFF2-40B4-BE49-F238E27FC236}">
                    <a16:creationId xmlns:a16="http://schemas.microsoft.com/office/drawing/2014/main" id="{A0A1D60D-E104-3879-CF16-DC62925B0334}"/>
                  </a:ext>
                </a:extLst>
              </p:cNvPr>
              <p:cNvSpPr txBox="1"/>
              <p:nvPr/>
            </p:nvSpPr>
            <p:spPr>
              <a:xfrm>
                <a:off x="4417826" y="5380196"/>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5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Visual Studio</a:t>
                </a:r>
              </a:p>
            </p:txBody>
          </p:sp>
        </p:grpSp>
        <p:grpSp>
          <p:nvGrpSpPr>
            <p:cNvPr id="121" name="Group 120">
              <a:extLst>
                <a:ext uri="{FF2B5EF4-FFF2-40B4-BE49-F238E27FC236}">
                  <a16:creationId xmlns:a16="http://schemas.microsoft.com/office/drawing/2014/main" id="{CB275346-BE05-11F6-9C69-836F7AF6076F}"/>
                </a:ext>
              </a:extLst>
            </p:cNvPr>
            <p:cNvGrpSpPr/>
            <p:nvPr/>
          </p:nvGrpSpPr>
          <p:grpSpPr>
            <a:xfrm>
              <a:off x="1910718" y="3356603"/>
              <a:ext cx="914401" cy="1000679"/>
              <a:chOff x="4417825" y="4677538"/>
              <a:chExt cx="914401" cy="1000679"/>
            </a:xfrm>
          </p:grpSpPr>
          <p:sp>
            <p:nvSpPr>
              <p:cNvPr id="122" name="Rectangle: Rounded Corners 86">
                <a:extLst>
                  <a:ext uri="{FF2B5EF4-FFF2-40B4-BE49-F238E27FC236}">
                    <a16:creationId xmlns:a16="http://schemas.microsoft.com/office/drawing/2014/main" id="{3ABDC248-04E2-D8C1-6536-94DDED67F674}"/>
                  </a:ext>
                </a:extLst>
              </p:cNvPr>
              <p:cNvSpPr/>
              <p:nvPr/>
            </p:nvSpPr>
            <p:spPr bwMode="auto">
              <a:xfrm>
                <a:off x="4417825" y="4677538"/>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463A96AC-E92D-A2D2-F000-7DD1A4B350AB}"/>
                  </a:ext>
                </a:extLst>
              </p:cNvPr>
              <p:cNvSpPr txBox="1"/>
              <p:nvPr/>
            </p:nvSpPr>
            <p:spPr>
              <a:xfrm>
                <a:off x="4417826" y="5349630"/>
                <a:ext cx="914400" cy="261610"/>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5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Fundición de </a:t>
                </a:r>
                <a:br>
                  <a:rPr kumimoji="0" lang="es-es" sz="85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br>
                <a:r>
                  <a:rPr kumimoji="0" lang="es-es" sz="850" b="0" i="0" u="none" strike="noStrike" kern="1200" cap="none" spc="0" normalizeH="0" baseline="0" noProof="0" dirty="0">
                    <a:ln>
                      <a:noFill/>
                    </a:ln>
                    <a:solidFill>
                      <a:srgbClr val="000000"/>
                    </a:solidFill>
                    <a:effectLst/>
                    <a:uLnTx/>
                    <a:uFillTx/>
                    <a:latin typeface="Segoe Sans Display" pitchFamily="2" charset="0"/>
                    <a:ea typeface="+mn-ea"/>
                    <a:cs typeface="Segoe Sans Display" pitchFamily="2" charset="0"/>
                  </a:rPr>
                  <a:t>IA de Azure</a:t>
                </a:r>
              </a:p>
            </p:txBody>
          </p:sp>
        </p:grpSp>
      </p:grpSp>
      <p:sp>
        <p:nvSpPr>
          <p:cNvPr id="128" name="Rectangle: Rounded Corners 82">
            <a:extLst>
              <a:ext uri="{FF2B5EF4-FFF2-40B4-BE49-F238E27FC236}">
                <a16:creationId xmlns:a16="http://schemas.microsoft.com/office/drawing/2014/main" id="{C7E0B0FB-5938-47B7-5AE9-36A52537FFC6}"/>
              </a:ext>
            </a:extLst>
          </p:cNvPr>
          <p:cNvSpPr/>
          <p:nvPr/>
        </p:nvSpPr>
        <p:spPr bwMode="auto">
          <a:xfrm>
            <a:off x="8316142" y="5619126"/>
            <a:ext cx="3015879" cy="367934"/>
          </a:xfrm>
          <a:prstGeom prst="roundRect">
            <a:avLst>
              <a:gd name="adj" fmla="val 50000"/>
            </a:avLst>
          </a:prstGeom>
          <a:solidFill>
            <a:schemeClr val="bg1">
              <a:lumMod val="95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Consulta con el SDK de agentes de M365, Fundición de IA de Azure o donde desarrollas tus agentes</a:t>
            </a:r>
          </a:p>
        </p:txBody>
      </p:sp>
      <p:pic>
        <p:nvPicPr>
          <p:cNvPr id="129" name="Picture 128">
            <a:extLst>
              <a:ext uri="{FF2B5EF4-FFF2-40B4-BE49-F238E27FC236}">
                <a16:creationId xmlns:a16="http://schemas.microsoft.com/office/drawing/2014/main" id="{E1B2E7C9-F3A8-7D6F-5472-D8E6852BE38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66736" y="3087501"/>
            <a:ext cx="654078" cy="408797"/>
          </a:xfrm>
          <a:prstGeom prst="rect">
            <a:avLst/>
          </a:prstGeom>
        </p:spPr>
      </p:pic>
      <p:pic>
        <p:nvPicPr>
          <p:cNvPr id="130" name="!! business central">
            <a:extLst>
              <a:ext uri="{FF2B5EF4-FFF2-40B4-BE49-F238E27FC236}">
                <a16:creationId xmlns:a16="http://schemas.microsoft.com/office/drawing/2014/main" id="{0ACAC55D-058A-8ECA-F32A-8E02910BCA9E}"/>
              </a:ext>
              <a:ext uri="{C183D7F6-B498-43B3-948B-1728B52AA6E4}">
                <adec:decorative xmlns:adec="http://schemas.microsoft.com/office/drawing/2017/decorative" val="1"/>
              </a:ext>
            </a:extLst>
          </p:cNvPr>
          <p:cNvPicPr>
            <a:picLocks noChangeAspect="1"/>
          </p:cNvPicPr>
          <p:nvPr/>
        </p:nvPicPr>
        <p:blipFill>
          <a:blip r:embed="rId4"/>
          <a:srcRect l="2503" r="2503"/>
          <a:stretch/>
        </p:blipFill>
        <p:spPr>
          <a:xfrm>
            <a:off x="9613478" y="3064858"/>
            <a:ext cx="463370" cy="463398"/>
          </a:xfrm>
          <a:prstGeom prst="rect">
            <a:avLst/>
          </a:prstGeom>
        </p:spPr>
      </p:pic>
      <p:pic>
        <p:nvPicPr>
          <p:cNvPr id="131" name="Picture 2" descr="Logotipo y símbolo de Copilot, significado, historia, PNG, marca">
            <a:extLst>
              <a:ext uri="{FF2B5EF4-FFF2-40B4-BE49-F238E27FC236}">
                <a16:creationId xmlns:a16="http://schemas.microsoft.com/office/drawing/2014/main" id="{A933BF46-17D3-5728-D66B-2499264500A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9049" r="19049"/>
          <a:stretch/>
        </p:blipFill>
        <p:spPr bwMode="auto">
          <a:xfrm>
            <a:off x="8582588" y="3122601"/>
            <a:ext cx="405390" cy="36838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7A336003-572C-C775-A788-28BBA3B3D016}"/>
              </a:ext>
            </a:extLst>
          </p:cNvPr>
          <p:cNvSpPr/>
          <p:nvPr/>
        </p:nvSpPr>
        <p:spPr bwMode="auto">
          <a:xfrm>
            <a:off x="855978" y="2888706"/>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C6D9D3DF-F413-570B-8265-47F895FE2F4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80860" y="2983674"/>
            <a:ext cx="464639" cy="464639"/>
          </a:xfrm>
          <a:prstGeom prst="rect">
            <a:avLst/>
          </a:prstGeom>
        </p:spPr>
      </p:pic>
      <p:sp>
        <p:nvSpPr>
          <p:cNvPr id="6" name="TextBox 5">
            <a:extLst>
              <a:ext uri="{FF2B5EF4-FFF2-40B4-BE49-F238E27FC236}">
                <a16:creationId xmlns:a16="http://schemas.microsoft.com/office/drawing/2014/main" id="{17BE496F-FB2B-3300-BCC0-FAD6A8368380}"/>
              </a:ext>
            </a:extLst>
          </p:cNvPr>
          <p:cNvSpPr txBox="1"/>
          <p:nvPr/>
        </p:nvSpPr>
        <p:spPr>
          <a:xfrm>
            <a:off x="855979" y="3591364"/>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50" b="0" i="0" u="none" strike="noStrike" kern="1200" cap="none" spc="0" normalizeH="0" baseline="0" noProof="0">
                <a:ln>
                  <a:noFill/>
                </a:ln>
                <a:solidFill>
                  <a:srgbClr val="000000"/>
                </a:solidFill>
                <a:effectLst/>
                <a:uLnTx/>
                <a:uFillTx/>
                <a:latin typeface="Segoe UI"/>
                <a:ea typeface="+mn-ea"/>
                <a:cs typeface="+mn-cs"/>
              </a:rPr>
              <a:t>Investigador</a:t>
            </a:r>
          </a:p>
        </p:txBody>
      </p:sp>
      <p:sp>
        <p:nvSpPr>
          <p:cNvPr id="7" name="Rectangle: Rounded Corners 6">
            <a:extLst>
              <a:ext uri="{FF2B5EF4-FFF2-40B4-BE49-F238E27FC236}">
                <a16:creationId xmlns:a16="http://schemas.microsoft.com/office/drawing/2014/main" id="{6B01BC8C-317A-72B1-DAFB-45C85B153CB8}"/>
              </a:ext>
            </a:extLst>
          </p:cNvPr>
          <p:cNvSpPr/>
          <p:nvPr/>
        </p:nvSpPr>
        <p:spPr bwMode="auto">
          <a:xfrm>
            <a:off x="2957456" y="288870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4DE908C0-6244-BB07-66D1-3683758E7BF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182338" y="2983673"/>
            <a:ext cx="464639" cy="464639"/>
          </a:xfrm>
          <a:prstGeom prst="rect">
            <a:avLst/>
          </a:prstGeom>
        </p:spPr>
      </p:pic>
      <p:sp>
        <p:nvSpPr>
          <p:cNvPr id="9" name="TextBox 8">
            <a:extLst>
              <a:ext uri="{FF2B5EF4-FFF2-40B4-BE49-F238E27FC236}">
                <a16:creationId xmlns:a16="http://schemas.microsoft.com/office/drawing/2014/main" id="{B1447A87-12D9-46B1-B01F-E25929D11468}"/>
              </a:ext>
            </a:extLst>
          </p:cNvPr>
          <p:cNvSpPr txBox="1"/>
          <p:nvPr/>
        </p:nvSpPr>
        <p:spPr>
          <a:xfrm>
            <a:off x="2957457" y="3591363"/>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50" b="0" i="0" u="none" strike="noStrike" kern="1200" cap="none" spc="0" normalizeH="0" baseline="0" noProof="0">
                <a:ln>
                  <a:noFill/>
                </a:ln>
                <a:solidFill>
                  <a:srgbClr val="000000"/>
                </a:solidFill>
                <a:effectLst/>
                <a:uLnTx/>
                <a:uFillTx/>
                <a:latin typeface="Segoe UI"/>
                <a:ea typeface="+mn-ea"/>
                <a:cs typeface="+mn-cs"/>
              </a:rPr>
              <a:t>Agente de reuniones</a:t>
            </a:r>
          </a:p>
        </p:txBody>
      </p:sp>
      <p:sp>
        <p:nvSpPr>
          <p:cNvPr id="10" name="Rectangle: Rounded Corners 9">
            <a:extLst>
              <a:ext uri="{FF2B5EF4-FFF2-40B4-BE49-F238E27FC236}">
                <a16:creationId xmlns:a16="http://schemas.microsoft.com/office/drawing/2014/main" id="{9574421C-535F-8EB4-1209-8A303CF17457}"/>
              </a:ext>
            </a:extLst>
          </p:cNvPr>
          <p:cNvSpPr/>
          <p:nvPr/>
        </p:nvSpPr>
        <p:spPr bwMode="auto">
          <a:xfrm>
            <a:off x="1906717" y="2888705"/>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3190DF76-02B1-2A66-32D6-F2C4D88304D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132115" y="2984190"/>
            <a:ext cx="463606" cy="463606"/>
          </a:xfrm>
          <a:prstGeom prst="rect">
            <a:avLst/>
          </a:prstGeom>
        </p:spPr>
      </p:pic>
      <p:sp>
        <p:nvSpPr>
          <p:cNvPr id="13" name="TextBox 12">
            <a:extLst>
              <a:ext uri="{FF2B5EF4-FFF2-40B4-BE49-F238E27FC236}">
                <a16:creationId xmlns:a16="http://schemas.microsoft.com/office/drawing/2014/main" id="{6757B784-A97D-5CCF-7549-96424842320F}"/>
              </a:ext>
            </a:extLst>
          </p:cNvPr>
          <p:cNvSpPr txBox="1"/>
          <p:nvPr/>
        </p:nvSpPr>
        <p:spPr>
          <a:xfrm>
            <a:off x="1906718" y="3591363"/>
            <a:ext cx="914400" cy="13080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50" b="0" i="0" u="none" strike="noStrike" kern="1200" cap="none" spc="0" normalizeH="0" baseline="0" noProof="0">
                <a:ln>
                  <a:noFill/>
                </a:ln>
                <a:solidFill>
                  <a:srgbClr val="000000"/>
                </a:solidFill>
                <a:effectLst/>
                <a:uLnTx/>
                <a:uFillTx/>
                <a:latin typeface="Segoe UI"/>
                <a:ea typeface="+mn-ea"/>
                <a:cs typeface="+mn-cs"/>
              </a:rPr>
              <a:t>Analista</a:t>
            </a:r>
          </a:p>
        </p:txBody>
      </p:sp>
      <p:cxnSp>
        <p:nvCxnSpPr>
          <p:cNvPr id="15" name="Straight Arrow Connector 14">
            <a:extLst>
              <a:ext uri="{FF2B5EF4-FFF2-40B4-BE49-F238E27FC236}">
                <a16:creationId xmlns:a16="http://schemas.microsoft.com/office/drawing/2014/main" id="{D8DD6931-E351-8A9D-99F7-EEF8DE2E1450}"/>
              </a:ext>
            </a:extLst>
          </p:cNvPr>
          <p:cNvCxnSpPr/>
          <p:nvPr/>
        </p:nvCxnSpPr>
        <p:spPr>
          <a:xfrm>
            <a:off x="426720" y="6601096"/>
            <a:ext cx="11338560" cy="0"/>
          </a:xfrm>
          <a:prstGeom prst="straightConnector1">
            <a:avLst/>
          </a:prstGeom>
          <a:ln w="19050">
            <a:headEnd type="triangle"/>
            <a:tailEnd type="triangle"/>
          </a:ln>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id="{F169E777-E38B-DBAD-8B79-96073FE769E7}"/>
              </a:ext>
            </a:extLst>
          </p:cNvPr>
          <p:cNvSpPr txBox="1"/>
          <p:nvPr/>
        </p:nvSpPr>
        <p:spPr>
          <a:xfrm>
            <a:off x="10330530" y="6635356"/>
            <a:ext cx="1356369"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000000"/>
                </a:solidFill>
                <a:effectLst/>
                <a:uLnTx/>
                <a:uFillTx/>
                <a:latin typeface="Segoe UI"/>
                <a:ea typeface="+mn-ea"/>
                <a:cs typeface="+mn-cs"/>
              </a:rPr>
              <a:t>Profesional de agentes</a:t>
            </a:r>
          </a:p>
        </p:txBody>
      </p:sp>
      <p:sp>
        <p:nvSpPr>
          <p:cNvPr id="21" name="TextBox 20">
            <a:extLst>
              <a:ext uri="{FF2B5EF4-FFF2-40B4-BE49-F238E27FC236}">
                <a16:creationId xmlns:a16="http://schemas.microsoft.com/office/drawing/2014/main" id="{700FC5CD-FF51-15C6-5D23-115829A5FF6E}"/>
              </a:ext>
            </a:extLst>
          </p:cNvPr>
          <p:cNvSpPr txBox="1"/>
          <p:nvPr/>
        </p:nvSpPr>
        <p:spPr>
          <a:xfrm>
            <a:off x="424904" y="6602556"/>
            <a:ext cx="951050"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000000"/>
                </a:solidFill>
                <a:effectLst/>
                <a:uLnTx/>
                <a:uFillTx/>
                <a:latin typeface="Segoe UI"/>
                <a:ea typeface="+mn-ea"/>
                <a:cs typeface="+mn-cs"/>
              </a:rPr>
              <a:t>Principiante </a:t>
            </a:r>
          </a:p>
        </p:txBody>
      </p:sp>
      <p:pic>
        <p:nvPicPr>
          <p:cNvPr id="14" name="Picture 13">
            <a:extLst>
              <a:ext uri="{FF2B5EF4-FFF2-40B4-BE49-F238E27FC236}">
                <a16:creationId xmlns:a16="http://schemas.microsoft.com/office/drawing/2014/main" id="{84807CF3-0508-CBB0-EB31-A652FA0EAB4E}"/>
              </a:ext>
            </a:extLst>
          </p:cNvPr>
          <p:cNvPicPr>
            <a:picLocks noChangeAspect="1"/>
          </p:cNvPicPr>
          <p:nvPr/>
        </p:nvPicPr>
        <p:blipFill>
          <a:blip r:embed="rId9">
            <a:clrChange>
              <a:clrFrom>
                <a:srgbClr val="FDFDFD"/>
              </a:clrFrom>
              <a:clrTo>
                <a:srgbClr val="FDFDFD">
                  <a:alpha val="0"/>
                </a:srgbClr>
              </a:clrTo>
            </a:clrChange>
          </a:blip>
          <a:stretch>
            <a:fillRect/>
          </a:stretch>
        </p:blipFill>
        <p:spPr>
          <a:xfrm>
            <a:off x="4586392" y="2888193"/>
            <a:ext cx="847971" cy="712296"/>
          </a:xfrm>
          <a:prstGeom prst="rect">
            <a:avLst/>
          </a:prstGeom>
        </p:spPr>
      </p:pic>
      <p:pic>
        <p:nvPicPr>
          <p:cNvPr id="18" name="Picture 17">
            <a:extLst>
              <a:ext uri="{FF2B5EF4-FFF2-40B4-BE49-F238E27FC236}">
                <a16:creationId xmlns:a16="http://schemas.microsoft.com/office/drawing/2014/main" id="{723133EE-A126-A499-F741-FBC2E86C1A27}"/>
              </a:ext>
            </a:extLst>
          </p:cNvPr>
          <p:cNvPicPr>
            <a:picLocks noChangeAspect="1"/>
          </p:cNvPicPr>
          <p:nvPr/>
        </p:nvPicPr>
        <p:blipFill>
          <a:blip r:embed="rId10">
            <a:clrChange>
              <a:clrFrom>
                <a:srgbClr val="FDFDFD"/>
              </a:clrFrom>
              <a:clrTo>
                <a:srgbClr val="FDFDFD">
                  <a:alpha val="0"/>
                </a:srgbClr>
              </a:clrTo>
            </a:clrChange>
          </a:blip>
          <a:stretch>
            <a:fillRect/>
          </a:stretch>
        </p:blipFill>
        <p:spPr>
          <a:xfrm>
            <a:off x="5680960" y="2850515"/>
            <a:ext cx="790697" cy="669052"/>
          </a:xfrm>
          <a:prstGeom prst="rect">
            <a:avLst/>
          </a:prstGeom>
        </p:spPr>
      </p:pic>
      <p:pic>
        <p:nvPicPr>
          <p:cNvPr id="19" name="Picture 18">
            <a:extLst>
              <a:ext uri="{FF2B5EF4-FFF2-40B4-BE49-F238E27FC236}">
                <a16:creationId xmlns:a16="http://schemas.microsoft.com/office/drawing/2014/main" id="{D0EB891E-38B6-8B44-CF26-A0594F4DEA99}"/>
              </a:ext>
            </a:extLst>
          </p:cNvPr>
          <p:cNvPicPr>
            <a:picLocks noChangeAspect="1"/>
          </p:cNvPicPr>
          <p:nvPr/>
        </p:nvPicPr>
        <p:blipFill>
          <a:blip r:embed="rId11">
            <a:clrChange>
              <a:clrFrom>
                <a:srgbClr val="FDFDFD"/>
              </a:clrFrom>
              <a:clrTo>
                <a:srgbClr val="FDFDFD">
                  <a:alpha val="0"/>
                </a:srgbClr>
              </a:clrTo>
            </a:clrChange>
          </a:blip>
          <a:stretch>
            <a:fillRect/>
          </a:stretch>
        </p:blipFill>
        <p:spPr>
          <a:xfrm>
            <a:off x="6787875" y="2868148"/>
            <a:ext cx="717721" cy="717721"/>
          </a:xfrm>
          <a:prstGeom prst="rect">
            <a:avLst/>
          </a:prstGeom>
        </p:spPr>
      </p:pic>
    </p:spTree>
    <p:extLst>
      <p:ext uri="{BB962C8B-B14F-4D97-AF65-F5344CB8AC3E}">
        <p14:creationId xmlns:p14="http://schemas.microsoft.com/office/powerpoint/2010/main" val="253795766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CDF9C-2643-CCDD-355E-9EBEF26A53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56C5C0-3900-2EE7-D5FB-AC420390856C}"/>
              </a:ext>
            </a:extLst>
          </p:cNvPr>
          <p:cNvSpPr>
            <a:spLocks noGrp="1"/>
          </p:cNvSpPr>
          <p:nvPr>
            <p:ph type="title"/>
          </p:nvPr>
        </p:nvSpPr>
        <p:spPr>
          <a:xfrm>
            <a:off x="571500" y="2792795"/>
            <a:ext cx="4179404" cy="1754326"/>
          </a:xfrm>
          <a:prstGeom prst="rect">
            <a:avLst/>
          </a:prstGeom>
        </p:spPr>
        <p:txBody>
          <a:bodyPr/>
          <a:lstStyle/>
          <a:p>
            <a:r>
              <a:rPr lang="es-es" spc="0" dirty="0"/>
              <a:t>Agentes creados disponibles </a:t>
            </a:r>
            <a:r>
              <a:rPr lang="es-es" spc="0"/>
              <a:t>en M365 </a:t>
            </a:r>
            <a:r>
              <a:rPr lang="es-es" spc="0" dirty="0" err="1"/>
              <a:t>Copilot</a:t>
            </a:r>
            <a:endParaRPr lang="es-es" spc="0" dirty="0"/>
          </a:p>
        </p:txBody>
      </p:sp>
    </p:spTree>
    <p:extLst>
      <p:ext uri="{BB962C8B-B14F-4D97-AF65-F5344CB8AC3E}">
        <p14:creationId xmlns:p14="http://schemas.microsoft.com/office/powerpoint/2010/main" val="12832706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AAA62-39A3-A389-8C2A-F52AB59A2A19}"/>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72011EB9-65F6-0FE0-799A-58BB31DD9580}"/>
              </a:ext>
              <a:ext uri="{C183D7F6-B498-43B3-948B-1728B52AA6E4}">
                <adec:decorative xmlns:adec="http://schemas.microsoft.com/office/drawing/2017/decorative" val="1"/>
              </a:ext>
            </a:extLst>
          </p:cNvPr>
          <p:cNvPicPr>
            <a:picLocks/>
          </p:cNvPicPr>
          <p:nvPr/>
        </p:nvPicPr>
        <p:blipFill>
          <a:blip r:embed="rId3">
            <a:extLst>
              <a:ext uri="{28A0092B-C50C-407E-A947-70E740481C1C}">
                <a14:useLocalDpi xmlns:a14="http://schemas.microsoft.com/office/drawing/2010/main" val="0"/>
              </a:ext>
            </a:extLst>
          </a:blip>
          <a:srcRect/>
          <a:stretch/>
        </p:blipFill>
        <p:spPr>
          <a:xfrm>
            <a:off x="0" y="0"/>
            <a:ext cx="4801612"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a:solidFill>
            <a:srgbClr val="FFF9F3"/>
          </a:solidFill>
        </p:spPr>
      </p:pic>
      <p:sp>
        <p:nvSpPr>
          <p:cNvPr id="16" name="Freeform: Shape 15">
            <a:extLst>
              <a:ext uri="{FF2B5EF4-FFF2-40B4-BE49-F238E27FC236}">
                <a16:creationId xmlns:a16="http://schemas.microsoft.com/office/drawing/2014/main" id="{CA4E89D2-69A0-6660-960F-D838E59661AC}"/>
              </a:ext>
              <a:ext uri="{C183D7F6-B498-43B3-948B-1728B52AA6E4}">
                <adec:decorative xmlns:adec="http://schemas.microsoft.com/office/drawing/2017/decorative" val="1"/>
              </a:ext>
            </a:extLst>
          </p:cNvPr>
          <p:cNvSpPr>
            <a:spLocks/>
          </p:cNvSpPr>
          <p:nvPr/>
        </p:nvSpPr>
        <p:spPr bwMode="auto">
          <a:xfrm>
            <a:off x="-1" y="0"/>
            <a:ext cx="4801611"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7" name="Rectangle 16">
            <a:extLst>
              <a:ext uri="{FF2B5EF4-FFF2-40B4-BE49-F238E27FC236}">
                <a16:creationId xmlns:a16="http://schemas.microsoft.com/office/drawing/2014/main" id="{FD61923B-F21F-7EFC-88F7-587F349537EF}"/>
              </a:ext>
              <a:ext uri="{C183D7F6-B498-43B3-948B-1728B52AA6E4}">
                <adec:decorative xmlns:adec="http://schemas.microsoft.com/office/drawing/2017/decorative" val="1"/>
              </a:ext>
            </a:extLst>
          </p:cNvPr>
          <p:cNvSpPr>
            <a:spLocks/>
          </p:cNvSpPr>
          <p:nvPr/>
        </p:nvSpPr>
        <p:spPr bwMode="auto">
          <a:xfrm>
            <a:off x="0" y="1771679"/>
            <a:ext cx="4801609" cy="3896300"/>
          </a:xfrm>
          <a:prstGeom prst="rect">
            <a:avLst/>
          </a:prstGeom>
          <a:solidFill>
            <a:schemeClr val="bg1">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20" name="Picture 19">
            <a:extLst>
              <a:ext uri="{FF2B5EF4-FFF2-40B4-BE49-F238E27FC236}">
                <a16:creationId xmlns:a16="http://schemas.microsoft.com/office/drawing/2014/main" id="{720535E9-5467-4D98-D91F-57FA80F4018A}"/>
              </a:ext>
              <a:ext uri="{C183D7F6-B498-43B3-948B-1728B52AA6E4}">
                <adec:decorative xmlns:adec="http://schemas.microsoft.com/office/drawing/2017/decorative" val="1"/>
              </a:ext>
            </a:extLst>
          </p:cNvPr>
          <p:cNvPicPr>
            <a:picLocks noChangeAspect="1"/>
          </p:cNvPicPr>
          <p:nvPr/>
        </p:nvPicPr>
        <p:blipFill>
          <a:blip r:embed="rId4"/>
          <a:srcRect b="48531"/>
          <a:stretch>
            <a:fillRect/>
          </a:stretch>
        </p:blipFill>
        <p:spPr>
          <a:xfrm rot="5400000" flipH="1">
            <a:off x="1353561"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23" name="Rectangle: Rounded Corners 22">
            <a:extLst>
              <a:ext uri="{FF2B5EF4-FFF2-40B4-BE49-F238E27FC236}">
                <a16:creationId xmlns:a16="http://schemas.microsoft.com/office/drawing/2014/main" id="{3EFBEA86-81CD-15BE-D890-8E162053D27A}"/>
              </a:ext>
              <a:ext uri="{C183D7F6-B498-43B3-948B-1728B52AA6E4}">
                <adec:decorative xmlns:adec="http://schemas.microsoft.com/office/drawing/2017/decorative" val="1"/>
              </a:ext>
            </a:extLst>
          </p:cNvPr>
          <p:cNvSpPr>
            <a:spLocks/>
          </p:cNvSpPr>
          <p:nvPr/>
        </p:nvSpPr>
        <p:spPr bwMode="auto">
          <a:xfrm>
            <a:off x="4994680" y="1190020"/>
            <a:ext cx="6613725" cy="4477960"/>
          </a:xfrm>
          <a:prstGeom prst="roundRect">
            <a:avLst>
              <a:gd name="adj" fmla="val 2642"/>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Title 12">
            <a:extLst>
              <a:ext uri="{FF2B5EF4-FFF2-40B4-BE49-F238E27FC236}">
                <a16:creationId xmlns:a16="http://schemas.microsoft.com/office/drawing/2014/main" id="{E01FB0C5-2245-6C69-6470-662DA12B4E9B}"/>
              </a:ext>
            </a:extLst>
          </p:cNvPr>
          <p:cNvSpPr>
            <a:spLocks noGrp="1"/>
          </p:cNvSpPr>
          <p:nvPr>
            <p:ph type="title"/>
          </p:nvPr>
        </p:nvSpPr>
        <p:spPr>
          <a:xfrm>
            <a:off x="571500" y="986994"/>
            <a:ext cx="3933824" cy="492443"/>
          </a:xfrm>
        </p:spPr>
        <p:txBody>
          <a:bodyPr/>
          <a:lstStyle/>
          <a:p>
            <a:pPr>
              <a:spcAft>
                <a:spcPts val="600"/>
              </a:spcAft>
            </a:pPr>
            <a:r>
              <a:rPr lang="es-es" sz="3200" dirty="0" err="1">
                <a:gradFill>
                  <a:gsLst>
                    <a:gs pos="2874">
                      <a:schemeClr val="accent1"/>
                    </a:gs>
                    <a:gs pos="71000">
                      <a:schemeClr val="accent4"/>
                    </a:gs>
                    <a:gs pos="100000">
                      <a:schemeClr val="accent2"/>
                    </a:gs>
                  </a:gsLst>
                  <a:lin ang="0" scaled="1"/>
                </a:gradFill>
                <a:ea typeface="+mj-ea"/>
                <a:cs typeface="+mj-cs"/>
              </a:rPr>
              <a:t>Researcher</a:t>
            </a:r>
            <a:endParaRPr lang="es-es" sz="3200" dirty="0">
              <a:gradFill>
                <a:gsLst>
                  <a:gs pos="2874">
                    <a:schemeClr val="accent1"/>
                  </a:gs>
                  <a:gs pos="71000">
                    <a:schemeClr val="accent4"/>
                  </a:gs>
                  <a:gs pos="100000">
                    <a:schemeClr val="accent2"/>
                  </a:gs>
                </a:gsLst>
                <a:lin ang="0" scaled="1"/>
              </a:gradFill>
              <a:ea typeface="+mj-ea"/>
              <a:cs typeface="+mj-cs"/>
            </a:endParaRPr>
          </a:p>
        </p:txBody>
      </p:sp>
      <p:sp>
        <p:nvSpPr>
          <p:cNvPr id="4" name="Text Placeholder 12_1">
            <a:extLst>
              <a:ext uri="{FF2B5EF4-FFF2-40B4-BE49-F238E27FC236}">
                <a16:creationId xmlns:a16="http://schemas.microsoft.com/office/drawing/2014/main" id="{0ACBB799-AA3D-77F7-33DD-29BE62C646AD}"/>
              </a:ext>
            </a:extLst>
          </p:cNvPr>
          <p:cNvSpPr txBox="1">
            <a:spLocks/>
          </p:cNvSpPr>
          <p:nvPr/>
        </p:nvSpPr>
        <p:spPr>
          <a:xfrm>
            <a:off x="571499" y="723854"/>
            <a:ext cx="1230667" cy="215444"/>
          </a:xfrm>
          <a:prstGeom prst="rect">
            <a:avLst/>
          </a:prstGeom>
        </p:spPr>
        <p:txBody>
          <a:bodyPr vert="horz" wrap="square" lIns="0" tIns="0" rIns="0" bIns="0" rtlCol="0" anchor="b">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s-es" sz="1400" b="0" i="0" u="none" strike="noStrike" kern="1200" cap="none" spc="0" normalizeH="0" baseline="0" noProof="0" dirty="0">
                <a:ln>
                  <a:noFill/>
                </a:ln>
                <a:solidFill>
                  <a:srgbClr val="091F2C"/>
                </a:solidFill>
                <a:effectLst/>
                <a:uLnTx/>
                <a:uFillTx/>
                <a:latin typeface="Segoe Sans Display Semibold"/>
                <a:ea typeface="+mn-ea"/>
                <a:cs typeface="Segoe Sans Display" pitchFamily="2" charset="0"/>
              </a:rPr>
              <a:t>M365 </a:t>
            </a:r>
            <a:r>
              <a:rPr kumimoji="0" lang="es-es" sz="1400" b="0" i="0" u="none" strike="noStrike" kern="1200" cap="none" spc="0" normalizeH="0" baseline="0" noProof="0" dirty="0" err="1">
                <a:ln>
                  <a:noFill/>
                </a:ln>
                <a:solidFill>
                  <a:srgbClr val="091F2C"/>
                </a:solidFill>
                <a:effectLst/>
                <a:uLnTx/>
                <a:uFillTx/>
                <a:latin typeface="Segoe Sans Display Semibold"/>
                <a:ea typeface="+mn-ea"/>
                <a:cs typeface="Segoe Sans Display" pitchFamily="2" charset="0"/>
              </a:rPr>
              <a:t>Copilot</a:t>
            </a:r>
            <a:r>
              <a:rPr kumimoji="0" lang="es-es" sz="1400" b="0" i="0" u="none" strike="noStrike" kern="1200" cap="none" spc="0" normalizeH="0" baseline="0" noProof="0" dirty="0">
                <a:ln>
                  <a:noFill/>
                </a:ln>
                <a:solidFill>
                  <a:srgbClr val="091F2C"/>
                </a:solidFill>
                <a:effectLst/>
                <a:uLnTx/>
                <a:uFillTx/>
                <a:latin typeface="Segoe Sans Display Semibold"/>
                <a:ea typeface="+mn-ea"/>
                <a:cs typeface="Segoe Sans Display" pitchFamily="2" charset="0"/>
              </a:rPr>
              <a:t> </a:t>
            </a:r>
          </a:p>
        </p:txBody>
      </p:sp>
      <p:sp>
        <p:nvSpPr>
          <p:cNvPr id="18" name="TextBox 17">
            <a:extLst>
              <a:ext uri="{FF2B5EF4-FFF2-40B4-BE49-F238E27FC236}">
                <a16:creationId xmlns:a16="http://schemas.microsoft.com/office/drawing/2014/main" id="{790D913D-E90B-2711-00BF-82D9CE9B7B64}"/>
              </a:ext>
            </a:extLst>
          </p:cNvPr>
          <p:cNvSpPr txBox="1">
            <a:spLocks/>
          </p:cNvSpPr>
          <p:nvPr/>
        </p:nvSpPr>
        <p:spPr>
          <a:xfrm>
            <a:off x="313315" y="1864652"/>
            <a:ext cx="4192009" cy="3650326"/>
          </a:xfrm>
          <a:prstGeom prst="rect">
            <a:avLst/>
          </a:prstGeom>
          <a:noFill/>
        </p:spPr>
        <p:txBody>
          <a:bodyPr vert="horz" wrap="square" lIns="0" tIns="0" rIns="0" bIns="0" rtlCol="0">
            <a:noAutofit/>
          </a:bodyPr>
          <a:lstStyle/>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s-es" sz="1400" b="0" i="0" u="none" strike="noStrike" kern="1200" cap="none" spc="0" normalizeH="0" baseline="0" noProof="0" dirty="0">
                <a:ln>
                  <a:noFill/>
                </a:ln>
                <a:solidFill>
                  <a:srgbClr val="C03BC4"/>
                </a:solidFill>
                <a:effectLst/>
                <a:uLnTx/>
                <a:uFillTx/>
                <a:latin typeface="Segoe Sans Display Semibold"/>
                <a:ea typeface="+mn-ea"/>
                <a:cs typeface="+mn-cs"/>
              </a:rPr>
              <a:t>El agente </a:t>
            </a:r>
            <a:r>
              <a:rPr kumimoji="0" lang="es-es" sz="1400" b="0" i="0" u="none" strike="noStrike" kern="1200" cap="none" spc="0" normalizeH="0" baseline="0" noProof="0" dirty="0" err="1">
                <a:ln>
                  <a:noFill/>
                </a:ln>
                <a:solidFill>
                  <a:srgbClr val="C03BC4"/>
                </a:solidFill>
                <a:effectLst/>
                <a:uLnTx/>
                <a:uFillTx/>
                <a:latin typeface="Segoe Sans Display Semibold"/>
                <a:ea typeface="+mn-ea"/>
                <a:cs typeface="+mn-cs"/>
              </a:rPr>
              <a:t>Researcher</a:t>
            </a:r>
            <a:r>
              <a:rPr kumimoji="0" lang="es-es" sz="1400" b="0" i="0" u="none" strike="noStrike" kern="1200" cap="none" spc="0" normalizeH="0" baseline="0" noProof="0" dirty="0">
                <a:ln>
                  <a:noFill/>
                </a:ln>
                <a:solidFill>
                  <a:srgbClr val="C03BC4"/>
                </a:solidFill>
                <a:effectLst/>
                <a:uLnTx/>
                <a:uFillTx/>
                <a:latin typeface="Segoe Sans Display Semibold"/>
                <a:ea typeface="+mn-ea"/>
                <a:cs typeface="+mn-cs"/>
              </a:rPr>
              <a:t> </a:t>
            </a:r>
            <a:r>
              <a:rPr kumimoji="0" lang="es-es" sz="1400" b="0" i="0" u="none" strike="noStrike" kern="1200" cap="none" spc="0" normalizeH="0" baseline="0" noProof="0" dirty="0">
                <a:ln>
                  <a:noFill/>
                </a:ln>
                <a:solidFill>
                  <a:srgbClr val="091F2C"/>
                </a:solidFill>
                <a:effectLst/>
                <a:uLnTx/>
                <a:uFillTx/>
                <a:latin typeface="Segoe Sans Display"/>
                <a:ea typeface="+mn-ea"/>
                <a:cs typeface="+mn-cs"/>
              </a:rPr>
              <a:t>potencia la capacidad de investigación y análisis estratégico de las organizaciones</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s-es" sz="1400" b="0" i="0" u="none" strike="noStrike" kern="1200" cap="none" spc="0" normalizeH="0" baseline="0" noProof="0" dirty="0">
                <a:ln>
                  <a:noFill/>
                </a:ln>
                <a:solidFill>
                  <a:srgbClr val="091F2C"/>
                </a:solidFill>
                <a:effectLst/>
                <a:uLnTx/>
                <a:uFillTx/>
                <a:latin typeface="Segoe Sans Display"/>
                <a:ea typeface="+mn-ea"/>
                <a:cs typeface="+mn-cs"/>
              </a:rPr>
              <a:t>Combina los modelos de razonamiento </a:t>
            </a:r>
            <a:br>
              <a:rPr kumimoji="0" lang="es-es" sz="1400" b="0" i="0" u="none" strike="noStrike" kern="1200" cap="none" spc="0" normalizeH="0" baseline="0" noProof="0" dirty="0">
                <a:ln>
                  <a:noFill/>
                </a:ln>
                <a:solidFill>
                  <a:srgbClr val="091F2C"/>
                </a:solidFill>
                <a:effectLst/>
                <a:uLnTx/>
                <a:uFillTx/>
                <a:latin typeface="Segoe Sans Display"/>
                <a:ea typeface="+mn-ea"/>
                <a:cs typeface="+mn-cs"/>
              </a:rPr>
            </a:br>
            <a:r>
              <a:rPr kumimoji="0" lang="es-es" sz="1400" b="0" i="0" u="none" strike="noStrike" kern="1200" cap="none" spc="0" normalizeH="0" baseline="0" noProof="0" dirty="0">
                <a:ln>
                  <a:noFill/>
                </a:ln>
                <a:solidFill>
                  <a:srgbClr val="091F2C"/>
                </a:solidFill>
                <a:effectLst/>
                <a:uLnTx/>
                <a:uFillTx/>
                <a:latin typeface="Segoe Sans Display"/>
                <a:ea typeface="+mn-ea"/>
                <a:cs typeface="+mn-cs"/>
              </a:rPr>
              <a:t>profundo más avanzados con fundamentos </a:t>
            </a:r>
            <a:br>
              <a:rPr kumimoji="0" lang="es-es" sz="1400" b="0" i="0" u="none" strike="noStrike" kern="1200" cap="none" spc="0" normalizeH="0" baseline="0" noProof="0" dirty="0">
                <a:ln>
                  <a:noFill/>
                </a:ln>
                <a:solidFill>
                  <a:srgbClr val="091F2C"/>
                </a:solidFill>
                <a:effectLst/>
                <a:uLnTx/>
                <a:uFillTx/>
                <a:latin typeface="Segoe Sans Display"/>
                <a:ea typeface="+mn-ea"/>
                <a:cs typeface="+mn-cs"/>
              </a:rPr>
            </a:br>
            <a:r>
              <a:rPr kumimoji="0" lang="es-es" sz="1400" b="0" i="0" u="none" strike="noStrike" kern="1200" cap="none" spc="0" normalizeH="0" baseline="0" noProof="0" dirty="0">
                <a:ln>
                  <a:noFill/>
                </a:ln>
                <a:solidFill>
                  <a:srgbClr val="091F2C"/>
                </a:solidFill>
                <a:effectLst/>
                <a:uLnTx/>
                <a:uFillTx/>
                <a:latin typeface="Segoe Sans Display"/>
                <a:ea typeface="+mn-ea"/>
                <a:cs typeface="+mn-cs"/>
              </a:rPr>
              <a:t>web y laborales de </a:t>
            </a:r>
            <a:r>
              <a:rPr kumimoji="0" lang="es-es" sz="1400" b="0" i="0" u="none" strike="noStrike" kern="1200" cap="none" spc="0" normalizeH="0" baseline="0" noProof="0" dirty="0" err="1">
                <a:ln>
                  <a:noFill/>
                </a:ln>
                <a:solidFill>
                  <a:srgbClr val="091F2C"/>
                </a:solidFill>
                <a:effectLst/>
                <a:uLnTx/>
                <a:uFillTx/>
                <a:latin typeface="Segoe Sans Display"/>
                <a:ea typeface="+mn-ea"/>
                <a:cs typeface="+mn-cs"/>
              </a:rPr>
              <a:t>Copilot</a:t>
            </a:r>
            <a:r>
              <a:rPr kumimoji="0" lang="es-es" sz="1400" b="0" i="0" u="none" strike="noStrike" kern="1200" cap="none" spc="0" normalizeH="0" baseline="0" noProof="0" dirty="0">
                <a:ln>
                  <a:noFill/>
                </a:ln>
                <a:solidFill>
                  <a:srgbClr val="091F2C"/>
                </a:solidFill>
                <a:effectLst/>
                <a:uLnTx/>
                <a:uFillTx/>
                <a:latin typeface="Segoe Sans Display"/>
                <a:ea typeface="+mn-ea"/>
                <a:cs typeface="+mn-cs"/>
              </a:rPr>
              <a:t> Chat, así como </a:t>
            </a:r>
            <a:br>
              <a:rPr kumimoji="0" lang="es-es" sz="1400" b="0" i="0" u="none" strike="noStrike" kern="1200" cap="none" spc="0" normalizeH="0" baseline="0" noProof="0" dirty="0">
                <a:ln>
                  <a:noFill/>
                </a:ln>
                <a:solidFill>
                  <a:srgbClr val="091F2C"/>
                </a:solidFill>
                <a:effectLst/>
                <a:uLnTx/>
                <a:uFillTx/>
                <a:latin typeface="Segoe Sans Display"/>
                <a:ea typeface="+mn-ea"/>
                <a:cs typeface="+mn-cs"/>
              </a:rPr>
            </a:br>
            <a:r>
              <a:rPr kumimoji="0" lang="es-es" sz="1400" b="0" i="0" u="none" strike="noStrike" kern="1200" cap="none" spc="0" normalizeH="0" baseline="0" noProof="0" dirty="0">
                <a:ln>
                  <a:noFill/>
                </a:ln>
                <a:solidFill>
                  <a:srgbClr val="091F2C"/>
                </a:solidFill>
                <a:effectLst/>
                <a:uLnTx/>
                <a:uFillTx/>
                <a:latin typeface="Segoe Sans Display"/>
                <a:ea typeface="+mn-ea"/>
                <a:cs typeface="+mn-cs"/>
              </a:rPr>
              <a:t>con su ecosistema de agentes</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s-ES" sz="1400" b="0" i="0" u="none" strike="noStrike" kern="1200" cap="none" spc="-10" normalizeH="0" noProof="0" dirty="0">
                <a:ln>
                  <a:noFill/>
                </a:ln>
                <a:solidFill>
                  <a:srgbClr val="C03BC4"/>
                </a:solidFill>
                <a:effectLst/>
                <a:uLnTx/>
                <a:uFillTx/>
                <a:latin typeface="Segoe Sans Display Semibold"/>
                <a:ea typeface="+mn-ea"/>
                <a:cs typeface="+mn-cs"/>
              </a:rPr>
              <a:t>Ofrece respuestas bien</a:t>
            </a:r>
            <a:r>
              <a:rPr kumimoji="0" lang="es-es" sz="1400" b="0" i="0" u="none" strike="noStrike" kern="1200" cap="none" spc="-10" normalizeH="0" noProof="0" dirty="0">
                <a:ln>
                  <a:noFill/>
                </a:ln>
                <a:solidFill>
                  <a:srgbClr val="091F2C"/>
                </a:solidFill>
                <a:effectLst/>
                <a:uLnTx/>
                <a:uFillTx/>
                <a:latin typeface="Segoe Sans Display"/>
                <a:ea typeface="+mn-ea"/>
                <a:cs typeface="+mn-cs"/>
              </a:rPr>
              <a:t> fundamentadas a preguntas complejas con los datos más relevantes.​</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s-es" sz="1400" b="0" i="0" u="none" strike="noStrike" kern="1200" cap="none" spc="0" normalizeH="0" baseline="0" noProof="0" dirty="0">
                <a:ln>
                  <a:noFill/>
                </a:ln>
                <a:solidFill>
                  <a:srgbClr val="091F2C"/>
                </a:solidFill>
                <a:effectLst/>
                <a:uLnTx/>
                <a:uFillTx/>
                <a:latin typeface="Segoe Sans Display"/>
                <a:ea typeface="+mn-ea"/>
                <a:cs typeface="+mn-cs"/>
              </a:rPr>
              <a:t>Proporciona a los usuarios </a:t>
            </a:r>
            <a:r>
              <a:rPr kumimoji="0" lang="es-es" sz="1400" b="0" i="0" u="none" strike="noStrike" kern="1200" cap="none" spc="0" normalizeH="0" baseline="0" noProof="0" dirty="0">
                <a:ln>
                  <a:noFill/>
                </a:ln>
                <a:solidFill>
                  <a:srgbClr val="C03BC4"/>
                </a:solidFill>
                <a:effectLst/>
                <a:uLnTx/>
                <a:uFillTx/>
                <a:latin typeface="Segoe Sans Display Semibold"/>
                <a:ea typeface="+mn-ea"/>
                <a:cs typeface="+mn-cs"/>
              </a:rPr>
              <a:t>un socio de pensamiento </a:t>
            </a:r>
            <a:r>
              <a:rPr kumimoji="0" lang="es-es" sz="1400" b="0" i="0" u="none" strike="noStrike" kern="1200" cap="none" spc="0" normalizeH="0" baseline="0" noProof="0" dirty="0">
                <a:ln>
                  <a:noFill/>
                </a:ln>
                <a:solidFill>
                  <a:srgbClr val="091F2C"/>
                </a:solidFill>
                <a:effectLst/>
                <a:uLnTx/>
                <a:uFillTx/>
                <a:latin typeface="Segoe Sans Display"/>
                <a:ea typeface="+mn-ea"/>
                <a:cs typeface="+mn-cs"/>
              </a:rPr>
              <a:t>que puede hacer razonamientos avanzados adaptados a su contexto único</a:t>
            </a:r>
          </a:p>
          <a:p>
            <a:pPr marL="209550" marR="0" lvl="0" indent="-209550" algn="l" defTabSz="914400" rtl="0" eaLnBrk="1" fontAlgn="auto" latinLnBrk="0" hangingPunct="1">
              <a:lnSpc>
                <a:spcPct val="100000"/>
              </a:lnSpc>
              <a:spcBef>
                <a:spcPts val="0"/>
              </a:spcBef>
              <a:spcAft>
                <a:spcPts val="800"/>
              </a:spcAft>
              <a:buClr>
                <a:srgbClr val="091F2C"/>
              </a:buClr>
              <a:buSzTx/>
              <a:buFont typeface="Arial" panose="020B0604020202020204" pitchFamily="34" charset="0"/>
              <a:buChar char="•"/>
              <a:tabLst/>
              <a:defRPr/>
            </a:pPr>
            <a:r>
              <a:rPr kumimoji="0" lang="es-es" sz="1400" b="0" i="0" u="none" strike="noStrike" kern="1200" cap="none" spc="0" normalizeH="0" baseline="0" noProof="0" dirty="0">
                <a:ln>
                  <a:noFill/>
                </a:ln>
                <a:solidFill>
                  <a:srgbClr val="091F2C"/>
                </a:solidFill>
                <a:effectLst/>
                <a:uLnTx/>
                <a:uFillTx/>
                <a:latin typeface="Segoe Sans Display"/>
                <a:ea typeface="+mn-ea"/>
                <a:cs typeface="+mn-cs"/>
              </a:rPr>
              <a:t>Incluye </a:t>
            </a:r>
            <a:r>
              <a:rPr kumimoji="0" lang="es-es" sz="1400" b="0" i="0" u="none" strike="noStrike" kern="1200" cap="none" spc="0" normalizeH="0" baseline="0" noProof="0" dirty="0">
                <a:ln>
                  <a:noFill/>
                </a:ln>
                <a:solidFill>
                  <a:srgbClr val="C03BC4"/>
                </a:solidFill>
                <a:effectLst/>
                <a:uLnTx/>
                <a:uFillTx/>
                <a:latin typeface="Segoe Sans Display Semibold"/>
                <a:ea typeface="+mn-ea"/>
                <a:cs typeface="+mn-cs"/>
              </a:rPr>
              <a:t>citas y referencias a las fuentes originales, </a:t>
            </a:r>
            <a:br>
              <a:rPr kumimoji="0" lang="es-es" sz="1400" b="0" i="0" u="none" strike="noStrike" kern="1200" cap="none" spc="0" normalizeH="0" baseline="0" noProof="0" dirty="0">
                <a:ln>
                  <a:noFill/>
                </a:ln>
                <a:solidFill>
                  <a:srgbClr val="C03BC4"/>
                </a:solidFill>
                <a:effectLst/>
                <a:uLnTx/>
                <a:uFillTx/>
                <a:latin typeface="Segoe Sans Display Semibold"/>
                <a:ea typeface="+mn-ea"/>
                <a:cs typeface="+mn-cs"/>
              </a:rPr>
            </a:br>
            <a:r>
              <a:rPr kumimoji="0" lang="es-es" sz="1400" b="0" i="0" u="none" strike="noStrike" kern="1200" cap="none" spc="0" normalizeH="0" baseline="0" noProof="0" dirty="0">
                <a:ln>
                  <a:noFill/>
                </a:ln>
                <a:solidFill>
                  <a:srgbClr val="091F2C"/>
                </a:solidFill>
                <a:effectLst/>
                <a:uLnTx/>
                <a:uFillTx/>
                <a:latin typeface="Segoe Sans Display"/>
                <a:ea typeface="+mn-ea"/>
                <a:cs typeface="+mn-cs"/>
              </a:rPr>
              <a:t>para que el usuario pueda verificar la información y confiar en que cada conclusión está bien fundamentada</a:t>
            </a:r>
            <a:endParaRPr kumimoji="0" lang="en-US" sz="1400" b="0" i="0" u="none" strike="noStrike" kern="1200" cap="none" spc="0" normalizeH="0" baseline="0" noProof="0" dirty="0">
              <a:ln>
                <a:noFill/>
              </a:ln>
              <a:solidFill>
                <a:srgbClr val="091F2C"/>
              </a:solidFill>
              <a:effectLst/>
              <a:uLnTx/>
              <a:uFillTx/>
              <a:latin typeface="Segoe Sans Display Semibold"/>
              <a:ea typeface="+mn-ea"/>
              <a:cs typeface="+mn-cs"/>
            </a:endParaRPr>
          </a:p>
        </p:txBody>
      </p:sp>
      <p:sp>
        <p:nvSpPr>
          <p:cNvPr id="19" name="Rectangle: Rounded Corners 18">
            <a:extLst>
              <a:ext uri="{FF2B5EF4-FFF2-40B4-BE49-F238E27FC236}">
                <a16:creationId xmlns:a16="http://schemas.microsoft.com/office/drawing/2014/main" id="{673E758E-0B1D-D7F5-622E-D4F0BD71A12E}"/>
              </a:ext>
              <a:ext uri="{C183D7F6-B498-43B3-948B-1728B52AA6E4}">
                <adec:decorative xmlns:adec="http://schemas.microsoft.com/office/drawing/2017/decorative" val="0"/>
              </a:ext>
            </a:extLst>
          </p:cNvPr>
          <p:cNvSpPr>
            <a:spLocks/>
          </p:cNvSpPr>
          <p:nvPr/>
        </p:nvSpPr>
        <p:spPr>
          <a:xfrm>
            <a:off x="571500" y="5850859"/>
            <a:ext cx="2241369" cy="403226"/>
          </a:xfrm>
          <a:prstGeom prst="roundRect">
            <a:avLst>
              <a:gd name="adj" fmla="val 50000"/>
            </a:avLst>
          </a:prstGeom>
          <a:gradFill flip="none" rotWithShape="1">
            <a:gsLst>
              <a:gs pos="0">
                <a:schemeClr val="accent3"/>
              </a:gs>
              <a:gs pos="31000">
                <a:srgbClr val="D361FF"/>
              </a:gs>
              <a:gs pos="100000">
                <a:schemeClr val="accent1"/>
              </a:gs>
              <a:gs pos="67000">
                <a:srgbClr val="2CB1F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FFFFFF"/>
                </a:solidFill>
                <a:effectLst/>
                <a:uLnTx/>
                <a:uFillTx/>
                <a:latin typeface="Segoe Sans Display Semibold"/>
                <a:ea typeface="+mn-ea"/>
                <a:cs typeface="+mn-cs"/>
              </a:rPr>
              <a:t> </a:t>
            </a:r>
            <a:r>
              <a:rPr kumimoji="0" lang="es-es" sz="1200" b="0" i="0" u="none" strike="noStrike" kern="1200" cap="none" spc="0" normalizeH="0" baseline="0" noProof="0" dirty="0">
                <a:ln>
                  <a:noFill/>
                </a:ln>
                <a:solidFill>
                  <a:srgbClr val="FFFFFF"/>
                </a:solidFill>
                <a:effectLst/>
                <a:uLnTx/>
                <a:uFillTx/>
                <a:latin typeface="Segoe Sans Display"/>
                <a:ea typeface="+mn-ea"/>
                <a:cs typeface="+mn-cs"/>
              </a:rPr>
              <a:t>Disponible de forma general </a:t>
            </a:r>
          </a:p>
        </p:txBody>
      </p:sp>
      <p:pic>
        <p:nvPicPr>
          <p:cNvPr id="10" name="Picture Placeholder 10" descr="Una captura de pantalla que muestra la interfaz de una aplicación de investigación con una barra lateral para la navegación y una sección principal que exhibe la pestaña &quot;Investigador&quot; con una barra de búsqueda y sugerencias de indicaciones para tareas como prepararse para reuniones y crear informes.">
            <a:extLst>
              <a:ext uri="{FF2B5EF4-FFF2-40B4-BE49-F238E27FC236}">
                <a16:creationId xmlns:a16="http://schemas.microsoft.com/office/drawing/2014/main" id="{9D59E74E-E5C9-FB2D-21F3-FDCEDB8AFD06}"/>
              </a:ext>
            </a:extLst>
          </p:cNvPr>
          <p:cNvPicPr>
            <a:picLocks/>
          </p:cNvPicPr>
          <p:nvPr/>
        </p:nvPicPr>
        <p:blipFill rotWithShape="1">
          <a:blip r:embed="rId5">
            <a:extLst>
              <a:ext uri="{28A0092B-C50C-407E-A947-70E740481C1C}">
                <a14:useLocalDpi xmlns:a14="http://schemas.microsoft.com/office/drawing/2010/main" val="0"/>
              </a:ext>
            </a:extLst>
          </a:blip>
          <a:stretch/>
        </p:blipFill>
        <p:spPr>
          <a:xfrm>
            <a:off x="5145131" y="1656022"/>
            <a:ext cx="6303926" cy="3545958"/>
          </a:xfrm>
          <a:prstGeom prst="roundRect">
            <a:avLst>
              <a:gd name="adj" fmla="val 1881"/>
            </a:avLst>
          </a:prstGeom>
          <a:solidFill>
            <a:srgbClr val="F3F3F3"/>
          </a:solidFill>
          <a:ln w="6350">
            <a:solidFill>
              <a:schemeClr val="accent3">
                <a:lumMod val="40000"/>
                <a:lumOff val="60000"/>
              </a:schemeClr>
            </a:solidFill>
          </a:ln>
          <a:effectLst>
            <a:outerShdw blurRad="127000" dist="38100" dir="2700000" algn="tl" rotWithShape="0">
              <a:prstClr val="black">
                <a:alpha val="5000"/>
              </a:prstClr>
            </a:outerShdw>
          </a:effectLst>
        </p:spPr>
      </p:pic>
    </p:spTree>
    <p:extLst>
      <p:ext uri="{BB962C8B-B14F-4D97-AF65-F5344CB8AC3E}">
        <p14:creationId xmlns:p14="http://schemas.microsoft.com/office/powerpoint/2010/main" val="19652082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ACC9C-386A-3C48-510A-94F0BE327105}"/>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B09DB889-1048-D2D3-64CD-7CA2EF1BE593}"/>
              </a:ext>
              <a:ext uri="{C183D7F6-B498-43B3-948B-1728B52AA6E4}">
                <adec:decorative xmlns:adec="http://schemas.microsoft.com/office/drawing/2017/decorative" val="1"/>
              </a:ext>
            </a:extLst>
          </p:cNvPr>
          <p:cNvPicPr>
            <a:picLocks/>
          </p:cNvPicPr>
          <p:nvPr/>
        </p:nvPicPr>
        <p:blipFill>
          <a:blip r:embed="rId3">
            <a:extLst>
              <a:ext uri="{28A0092B-C50C-407E-A947-70E740481C1C}">
                <a14:useLocalDpi xmlns:a14="http://schemas.microsoft.com/office/drawing/2010/main" val="0"/>
              </a:ext>
            </a:extLst>
          </a:blip>
          <a:srcRect/>
          <a:stretch/>
        </p:blipFill>
        <p:spPr>
          <a:xfrm>
            <a:off x="0" y="0"/>
            <a:ext cx="4801612"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p:spPr>
      </p:pic>
      <p:sp>
        <p:nvSpPr>
          <p:cNvPr id="17" name="Rectangle 16">
            <a:extLst>
              <a:ext uri="{FF2B5EF4-FFF2-40B4-BE49-F238E27FC236}">
                <a16:creationId xmlns:a16="http://schemas.microsoft.com/office/drawing/2014/main" id="{43D58ECC-F623-C532-49A3-38B5D23229D4}"/>
              </a:ext>
              <a:ext uri="{C183D7F6-B498-43B3-948B-1728B52AA6E4}">
                <adec:decorative xmlns:adec="http://schemas.microsoft.com/office/drawing/2017/decorative" val="1"/>
              </a:ext>
            </a:extLst>
          </p:cNvPr>
          <p:cNvSpPr>
            <a:spLocks/>
          </p:cNvSpPr>
          <p:nvPr/>
        </p:nvSpPr>
        <p:spPr bwMode="auto">
          <a:xfrm>
            <a:off x="0" y="1771679"/>
            <a:ext cx="4801609" cy="3896300"/>
          </a:xfrm>
          <a:prstGeom prst="rect">
            <a:avLst/>
          </a:prstGeom>
          <a:solidFill>
            <a:schemeClr val="bg1">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22" name="Picture 21">
            <a:extLst>
              <a:ext uri="{FF2B5EF4-FFF2-40B4-BE49-F238E27FC236}">
                <a16:creationId xmlns:a16="http://schemas.microsoft.com/office/drawing/2014/main" id="{A06AB3DB-6DDF-689F-2A0D-DA6ABD5A2296}"/>
              </a:ext>
              <a:ext uri="{C183D7F6-B498-43B3-948B-1728B52AA6E4}">
                <adec:decorative xmlns:adec="http://schemas.microsoft.com/office/drawing/2017/decorative" val="1"/>
              </a:ext>
            </a:extLst>
          </p:cNvPr>
          <p:cNvPicPr>
            <a:picLocks noChangeAspect="1"/>
          </p:cNvPicPr>
          <p:nvPr/>
        </p:nvPicPr>
        <p:blipFill>
          <a:blip r:embed="rId4"/>
          <a:srcRect b="48531"/>
          <a:stretch>
            <a:fillRect/>
          </a:stretch>
        </p:blipFill>
        <p:spPr>
          <a:xfrm rot="5400000" flipH="1">
            <a:off x="1353561"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23" name="Rectangle: Rounded Corners 22">
            <a:extLst>
              <a:ext uri="{FF2B5EF4-FFF2-40B4-BE49-F238E27FC236}">
                <a16:creationId xmlns:a16="http://schemas.microsoft.com/office/drawing/2014/main" id="{01C4ED2C-EE5B-24F1-A5B1-010B514204FA}"/>
              </a:ext>
              <a:ext uri="{C183D7F6-B498-43B3-948B-1728B52AA6E4}">
                <adec:decorative xmlns:adec="http://schemas.microsoft.com/office/drawing/2017/decorative" val="1"/>
              </a:ext>
            </a:extLst>
          </p:cNvPr>
          <p:cNvSpPr>
            <a:spLocks/>
          </p:cNvSpPr>
          <p:nvPr/>
        </p:nvSpPr>
        <p:spPr bwMode="auto">
          <a:xfrm>
            <a:off x="4994680" y="1190020"/>
            <a:ext cx="6613725" cy="4477960"/>
          </a:xfrm>
          <a:prstGeom prst="roundRect">
            <a:avLst>
              <a:gd name="adj" fmla="val 2642"/>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Title 12">
            <a:extLst>
              <a:ext uri="{FF2B5EF4-FFF2-40B4-BE49-F238E27FC236}">
                <a16:creationId xmlns:a16="http://schemas.microsoft.com/office/drawing/2014/main" id="{0586A48C-616E-034A-02E2-F53F3E131940}"/>
              </a:ext>
            </a:extLst>
          </p:cNvPr>
          <p:cNvSpPr>
            <a:spLocks noGrp="1"/>
          </p:cNvSpPr>
          <p:nvPr>
            <p:ph type="title"/>
          </p:nvPr>
        </p:nvSpPr>
        <p:spPr>
          <a:xfrm>
            <a:off x="571500" y="986994"/>
            <a:ext cx="3933824" cy="492443"/>
          </a:xfrm>
        </p:spPr>
        <p:txBody>
          <a:bodyPr/>
          <a:lstStyle/>
          <a:p>
            <a:pPr>
              <a:spcAft>
                <a:spcPts val="600"/>
              </a:spcAft>
            </a:pPr>
            <a:r>
              <a:rPr lang="es-es" sz="3200" dirty="0" err="1">
                <a:gradFill>
                  <a:gsLst>
                    <a:gs pos="2874">
                      <a:schemeClr val="accent1"/>
                    </a:gs>
                    <a:gs pos="71000">
                      <a:schemeClr val="accent4"/>
                    </a:gs>
                    <a:gs pos="100000">
                      <a:schemeClr val="accent2"/>
                    </a:gs>
                  </a:gsLst>
                  <a:lin ang="0" scaled="1"/>
                </a:gradFill>
                <a:ea typeface="+mj-ea"/>
                <a:cs typeface="+mj-cs"/>
              </a:rPr>
              <a:t>Analyst</a:t>
            </a:r>
            <a:endParaRPr lang="es-es" sz="3200" dirty="0">
              <a:gradFill>
                <a:gsLst>
                  <a:gs pos="2874">
                    <a:schemeClr val="accent1"/>
                  </a:gs>
                  <a:gs pos="71000">
                    <a:schemeClr val="accent4"/>
                  </a:gs>
                  <a:gs pos="100000">
                    <a:schemeClr val="accent2"/>
                  </a:gs>
                </a:gsLst>
                <a:lin ang="0" scaled="1"/>
              </a:gradFill>
              <a:ea typeface="+mj-ea"/>
              <a:cs typeface="+mj-cs"/>
            </a:endParaRPr>
          </a:p>
        </p:txBody>
      </p:sp>
      <p:sp>
        <p:nvSpPr>
          <p:cNvPr id="25" name="Text Placeholder 12">
            <a:extLst>
              <a:ext uri="{FF2B5EF4-FFF2-40B4-BE49-F238E27FC236}">
                <a16:creationId xmlns:a16="http://schemas.microsoft.com/office/drawing/2014/main" id="{3CA48A3E-E625-EDFB-823E-01FB01100817}"/>
              </a:ext>
            </a:extLst>
          </p:cNvPr>
          <p:cNvSpPr>
            <a:spLocks noGrp="1"/>
          </p:cNvSpPr>
          <p:nvPr>
            <p:ph type="body" sz="quarter" idx="11"/>
          </p:nvPr>
        </p:nvSpPr>
        <p:spPr>
          <a:xfrm>
            <a:off x="571500" y="723854"/>
            <a:ext cx="1037528" cy="215444"/>
          </a:xfrm>
        </p:spPr>
        <p:txBody>
          <a:bodyPr wrap="none" anchor="b">
            <a:spAutoFit/>
          </a:bodyPr>
          <a:lstStyle/>
          <a:p>
            <a:r>
              <a:rPr lang="es-es" sz="1400" cap="none">
                <a:latin typeface="+mj-lt"/>
                <a:ea typeface="+mj-ea"/>
                <a:cs typeface="+mj-cs"/>
              </a:rPr>
              <a:t>Copilot Chat</a:t>
            </a:r>
          </a:p>
        </p:txBody>
      </p:sp>
      <p:sp>
        <p:nvSpPr>
          <p:cNvPr id="18" name="TextBox 17">
            <a:extLst>
              <a:ext uri="{FF2B5EF4-FFF2-40B4-BE49-F238E27FC236}">
                <a16:creationId xmlns:a16="http://schemas.microsoft.com/office/drawing/2014/main" id="{F4327493-856B-8E0D-71EF-DC750A61683B}"/>
              </a:ext>
            </a:extLst>
          </p:cNvPr>
          <p:cNvSpPr txBox="1">
            <a:spLocks/>
          </p:cNvSpPr>
          <p:nvPr/>
        </p:nvSpPr>
        <p:spPr>
          <a:xfrm>
            <a:off x="571501" y="1894790"/>
            <a:ext cx="4115810" cy="3597139"/>
          </a:xfrm>
          <a:prstGeom prst="rect">
            <a:avLst/>
          </a:prstGeom>
          <a:noFill/>
        </p:spPr>
        <p:txBody>
          <a:bodyPr vert="horz" wrap="square" lIns="0" tIns="0" rIns="0" bIns="0" rtlCol="0">
            <a:spAutoFit/>
          </a:bodyPr>
          <a:lstStyle/>
          <a:p>
            <a:pPr marL="209550" marR="0" lvl="0" indent="-209550" algn="l" defTabSz="914400" rtl="0" eaLnBrk="1" fontAlgn="auto" latinLnBrk="0" hangingPunct="1">
              <a:lnSpc>
                <a:spcPct val="95000"/>
              </a:lnSpc>
              <a:spcBef>
                <a:spcPts val="0"/>
              </a:spcBef>
              <a:spcAft>
                <a:spcPts val="800"/>
              </a:spcAft>
              <a:buClr>
                <a:srgbClr val="091F2C"/>
              </a:buClr>
              <a:buSzTx/>
              <a:buFont typeface="Arial" panose="020B0604020202020204" pitchFamily="34" charset="0"/>
              <a:buChar char="•"/>
              <a:tabLst/>
              <a:defRPr/>
            </a:pPr>
            <a:r>
              <a:rPr kumimoji="0" lang="es-es" sz="1500" b="0" i="0" u="none" strike="noStrike" kern="1200" cap="none" spc="0" normalizeH="0" baseline="0" noProof="0" dirty="0" err="1">
                <a:ln>
                  <a:noFill/>
                </a:ln>
                <a:solidFill>
                  <a:srgbClr val="C03BC4"/>
                </a:solidFill>
                <a:effectLst/>
                <a:uLnTx/>
                <a:uFillTx/>
                <a:latin typeface="Segoe Sans Display Semibold"/>
                <a:ea typeface="+mn-ea"/>
                <a:cs typeface="+mn-cs"/>
              </a:rPr>
              <a:t>Analyst</a:t>
            </a:r>
            <a:r>
              <a:rPr kumimoji="0" lang="es-es" sz="1500" b="0" i="0" u="none" strike="noStrike" kern="1200" cap="none" spc="0" normalizeH="0" baseline="0" noProof="0" dirty="0">
                <a:ln>
                  <a:noFill/>
                </a:ln>
                <a:solidFill>
                  <a:srgbClr val="091F2C"/>
                </a:solidFill>
                <a:effectLst/>
                <a:uLnTx/>
                <a:uFillTx/>
                <a:latin typeface="Segoe Sans Display"/>
                <a:ea typeface="+mn-ea"/>
                <a:cs typeface="+mn-cs"/>
              </a:rPr>
              <a:t> piensa como un científico de datos experto, así que puedes </a:t>
            </a:r>
            <a:r>
              <a:rPr kumimoji="0" lang="es-es" sz="1500" b="0" i="0" u="none" strike="noStrike" kern="1200" cap="none" spc="0" normalizeH="0" baseline="0" noProof="0" dirty="0">
                <a:ln>
                  <a:noFill/>
                </a:ln>
                <a:solidFill>
                  <a:srgbClr val="C03BC4"/>
                </a:solidFill>
                <a:effectLst/>
                <a:uLnTx/>
                <a:uFillTx/>
                <a:latin typeface="Segoe Sans Display Semibold"/>
                <a:ea typeface="+mn-ea"/>
                <a:cs typeface="+mn-cs"/>
              </a:rPr>
              <a:t>pasar de datos sin procesar a información en minutos</a:t>
            </a:r>
            <a:r>
              <a:rPr kumimoji="0" lang="es-es" sz="1500" b="0" i="0" u="none" strike="noStrike" kern="1200" cap="none" spc="0" normalizeH="0" baseline="0" noProof="0" dirty="0">
                <a:ln>
                  <a:noFill/>
                </a:ln>
                <a:solidFill>
                  <a:srgbClr val="C03BC4"/>
                </a:solidFill>
                <a:effectLst/>
                <a:uLnTx/>
                <a:uFillTx/>
                <a:latin typeface="Segoe Sans Display"/>
                <a:ea typeface="+mn-ea"/>
                <a:cs typeface="+mn-cs"/>
              </a:rPr>
              <a:t>.</a:t>
            </a:r>
            <a:r>
              <a:rPr kumimoji="0" lang="es-es" sz="1500" b="0" i="0" u="none" strike="noStrike" kern="1200" cap="none" spc="0" normalizeH="0" baseline="0" noProof="0" dirty="0">
                <a:ln>
                  <a:noFill/>
                </a:ln>
                <a:solidFill>
                  <a:srgbClr val="C03BC4"/>
                </a:solidFill>
                <a:effectLst/>
                <a:uLnTx/>
                <a:uFillTx/>
                <a:latin typeface="Segoe Sans Display Semibold"/>
                <a:ea typeface="+mn-ea"/>
                <a:cs typeface="+mn-cs"/>
              </a:rPr>
              <a:t> ​</a:t>
            </a:r>
          </a:p>
          <a:p>
            <a:pPr marL="209550" marR="0" lvl="0" indent="-209550" algn="l" defTabSz="914400" rtl="0" eaLnBrk="1" fontAlgn="auto" latinLnBrk="0" hangingPunct="1">
              <a:lnSpc>
                <a:spcPct val="95000"/>
              </a:lnSpc>
              <a:spcBef>
                <a:spcPts val="0"/>
              </a:spcBef>
              <a:spcAft>
                <a:spcPts val="800"/>
              </a:spcAft>
              <a:buClr>
                <a:srgbClr val="091F2C"/>
              </a:buClr>
              <a:buSzTx/>
              <a:buFont typeface="Arial" panose="020B0604020202020204" pitchFamily="34" charset="0"/>
              <a:buChar char="•"/>
              <a:tabLst/>
              <a:defRPr/>
            </a:pPr>
            <a:r>
              <a:rPr kumimoji="0" lang="es-es" sz="1500" b="0" i="0" u="none" strike="noStrike" kern="1200" cap="none" spc="0" normalizeH="0" baseline="0" noProof="0" dirty="0">
                <a:ln>
                  <a:noFill/>
                </a:ln>
                <a:solidFill>
                  <a:srgbClr val="091F2C"/>
                </a:solidFill>
                <a:effectLst/>
                <a:uLnTx/>
                <a:uFillTx/>
                <a:latin typeface="Segoe Sans Display"/>
                <a:ea typeface="+mn-ea"/>
                <a:cs typeface="+mn-cs"/>
              </a:rPr>
              <a:t>Se ha creado sobre los modelos de razonamiento más avanzados de </a:t>
            </a:r>
            <a:r>
              <a:rPr kumimoji="0" lang="es-es" sz="1500" b="0" i="0" u="none" strike="noStrike" kern="1200" cap="none" spc="0" normalizeH="0" baseline="0" noProof="0" dirty="0" err="1">
                <a:ln>
                  <a:noFill/>
                </a:ln>
                <a:solidFill>
                  <a:srgbClr val="091F2C"/>
                </a:solidFill>
                <a:effectLst/>
                <a:uLnTx/>
                <a:uFillTx/>
                <a:latin typeface="Segoe Sans Display"/>
                <a:ea typeface="+mn-ea"/>
                <a:cs typeface="+mn-cs"/>
              </a:rPr>
              <a:t>OpenAI</a:t>
            </a:r>
            <a:r>
              <a:rPr kumimoji="0" lang="es-es" sz="1500" b="0" i="0" u="none" strike="noStrike" kern="1200" cap="none" spc="0" normalizeH="0" baseline="0" noProof="0" dirty="0">
                <a:ln>
                  <a:noFill/>
                </a:ln>
                <a:solidFill>
                  <a:srgbClr val="091F2C"/>
                </a:solidFill>
                <a:effectLst/>
                <a:uLnTx/>
                <a:uFillTx/>
                <a:latin typeface="Segoe Sans Display"/>
                <a:ea typeface="+mn-ea"/>
                <a:cs typeface="+mn-cs"/>
              </a:rPr>
              <a:t> (serie o) y se ha optimizado para hacer análisis de datos avanzados en el trabajo</a:t>
            </a:r>
          </a:p>
          <a:p>
            <a:pPr marL="209550" marR="0" lvl="0" indent="-209550" algn="l" defTabSz="914400" rtl="0" eaLnBrk="1" fontAlgn="auto" latinLnBrk="0" hangingPunct="1">
              <a:lnSpc>
                <a:spcPct val="95000"/>
              </a:lnSpc>
              <a:spcBef>
                <a:spcPts val="0"/>
              </a:spcBef>
              <a:spcAft>
                <a:spcPts val="800"/>
              </a:spcAft>
              <a:buClr>
                <a:srgbClr val="091F2C"/>
              </a:buClr>
              <a:buSzTx/>
              <a:buFont typeface="Arial" panose="020B0604020202020204" pitchFamily="34" charset="0"/>
              <a:buChar char="•"/>
              <a:tabLst/>
              <a:defRPr/>
            </a:pPr>
            <a:r>
              <a:rPr kumimoji="0" lang="es-es" sz="1500" b="0" i="0" u="none" strike="noStrike" kern="1200" cap="none" spc="0" normalizeH="0" baseline="0" noProof="0" dirty="0" err="1">
                <a:ln>
                  <a:noFill/>
                </a:ln>
                <a:solidFill>
                  <a:srgbClr val="091F2C"/>
                </a:solidFill>
                <a:effectLst/>
                <a:uLnTx/>
                <a:uFillTx/>
                <a:latin typeface="Segoe Sans Display"/>
                <a:ea typeface="+mn-ea"/>
                <a:cs typeface="+mn-cs"/>
              </a:rPr>
              <a:t>Analyst</a:t>
            </a:r>
            <a:r>
              <a:rPr kumimoji="0" lang="es-es" sz="1500" b="0" i="0" u="none" strike="noStrike" kern="1200" cap="none" spc="0" normalizeH="0" baseline="0" noProof="0" dirty="0">
                <a:ln>
                  <a:noFill/>
                </a:ln>
                <a:solidFill>
                  <a:srgbClr val="091F2C"/>
                </a:solidFill>
                <a:effectLst/>
                <a:uLnTx/>
                <a:uFillTx/>
                <a:latin typeface="Segoe Sans Display"/>
                <a:ea typeface="+mn-ea"/>
                <a:cs typeface="+mn-cs"/>
              </a:rPr>
              <a:t> utiliza el razonamiento en cadena para solucionar los problemas de forma iterativa, con el fin de afinar su razonamiento </a:t>
            </a:r>
            <a:br>
              <a:rPr kumimoji="0" lang="es-es" sz="1500" b="0" i="0" u="none" strike="noStrike" kern="1200" cap="none" spc="0" normalizeH="0" baseline="0" noProof="0" dirty="0">
                <a:ln>
                  <a:noFill/>
                </a:ln>
                <a:solidFill>
                  <a:srgbClr val="091F2C"/>
                </a:solidFill>
                <a:effectLst/>
                <a:uLnTx/>
                <a:uFillTx/>
                <a:latin typeface="Segoe Sans Display"/>
                <a:ea typeface="+mn-ea"/>
                <a:cs typeface="+mn-cs"/>
              </a:rPr>
            </a:br>
            <a:r>
              <a:rPr kumimoji="0" lang="es-es" sz="1500" b="0" i="0" u="none" strike="noStrike" kern="1200" cap="none" spc="0" normalizeH="0" baseline="0" noProof="0" dirty="0">
                <a:ln>
                  <a:noFill/>
                </a:ln>
                <a:solidFill>
                  <a:srgbClr val="091F2C"/>
                </a:solidFill>
                <a:effectLst/>
                <a:uLnTx/>
                <a:uFillTx/>
                <a:latin typeface="Segoe Sans Display"/>
                <a:ea typeface="+mn-ea"/>
                <a:cs typeface="+mn-cs"/>
              </a:rPr>
              <a:t>y ofrecer una respuesta de calidad alta</a:t>
            </a:r>
          </a:p>
          <a:p>
            <a:pPr marL="209550" marR="0" lvl="0" indent="-209550" algn="l" defTabSz="914400" rtl="0" eaLnBrk="1" fontAlgn="auto" latinLnBrk="0" hangingPunct="1">
              <a:lnSpc>
                <a:spcPct val="95000"/>
              </a:lnSpc>
              <a:spcBef>
                <a:spcPts val="0"/>
              </a:spcBef>
              <a:spcAft>
                <a:spcPts val="800"/>
              </a:spcAft>
              <a:buClr>
                <a:srgbClr val="091F2C"/>
              </a:buClr>
              <a:buSzTx/>
              <a:buFont typeface="Arial" panose="020B0604020202020204" pitchFamily="34" charset="0"/>
              <a:buChar char="•"/>
              <a:tabLst/>
              <a:defRPr/>
            </a:pPr>
            <a:r>
              <a:rPr kumimoji="0" lang="es-es" sz="1500" b="0" i="0" u="none" strike="noStrike" kern="1200" cap="none" spc="0" normalizeH="0" baseline="0" noProof="0" dirty="0">
                <a:ln>
                  <a:noFill/>
                </a:ln>
                <a:solidFill>
                  <a:srgbClr val="091F2C"/>
                </a:solidFill>
                <a:effectLst/>
                <a:uLnTx/>
                <a:uFillTx/>
                <a:latin typeface="Segoe Sans Display"/>
                <a:ea typeface="+mn-ea"/>
                <a:cs typeface="+mn-cs"/>
              </a:rPr>
              <a:t>Ejecuta Python para abordar tus consultas </a:t>
            </a:r>
            <a:br>
              <a:rPr kumimoji="0" lang="es-es" sz="1500" b="0" i="0" u="none" strike="noStrike" kern="1200" cap="none" spc="0" normalizeH="0" baseline="0" noProof="0" dirty="0">
                <a:ln>
                  <a:noFill/>
                </a:ln>
                <a:solidFill>
                  <a:srgbClr val="091F2C"/>
                </a:solidFill>
                <a:effectLst/>
                <a:uLnTx/>
                <a:uFillTx/>
                <a:latin typeface="Segoe Sans Display"/>
                <a:ea typeface="+mn-ea"/>
                <a:cs typeface="+mn-cs"/>
              </a:rPr>
            </a:br>
            <a:r>
              <a:rPr kumimoji="0" lang="es-es" sz="1500" b="0" i="0" u="none" strike="noStrike" kern="1200" cap="none" spc="0" normalizeH="0" baseline="0" noProof="0" dirty="0">
                <a:ln>
                  <a:noFill/>
                </a:ln>
                <a:solidFill>
                  <a:srgbClr val="091F2C"/>
                </a:solidFill>
                <a:effectLst/>
                <a:uLnTx/>
                <a:uFillTx/>
                <a:latin typeface="Segoe Sans Display"/>
                <a:ea typeface="+mn-ea"/>
                <a:cs typeface="+mn-cs"/>
              </a:rPr>
              <a:t>de datos más complejas. Puedes ver el </a:t>
            </a:r>
            <a:br>
              <a:rPr kumimoji="0" lang="es-es" sz="1500" b="0" i="0" u="none" strike="noStrike" kern="1200" cap="none" spc="0" normalizeH="0" baseline="0" noProof="0" dirty="0">
                <a:ln>
                  <a:noFill/>
                </a:ln>
                <a:solidFill>
                  <a:srgbClr val="091F2C"/>
                </a:solidFill>
                <a:effectLst/>
                <a:uLnTx/>
                <a:uFillTx/>
                <a:latin typeface="Segoe Sans Display"/>
                <a:ea typeface="+mn-ea"/>
                <a:cs typeface="+mn-cs"/>
              </a:rPr>
            </a:br>
            <a:r>
              <a:rPr kumimoji="0" lang="es-es" sz="1500" b="0" i="0" u="none" strike="noStrike" kern="1200" cap="none" spc="0" normalizeH="0" baseline="0" noProof="0" dirty="0">
                <a:ln>
                  <a:noFill/>
                </a:ln>
                <a:solidFill>
                  <a:srgbClr val="091F2C"/>
                </a:solidFill>
                <a:effectLst/>
                <a:uLnTx/>
                <a:uFillTx/>
                <a:latin typeface="Segoe Sans Display"/>
                <a:ea typeface="+mn-ea"/>
                <a:cs typeface="+mn-cs"/>
              </a:rPr>
              <a:t>código que está ejecutando en tiempo </a:t>
            </a:r>
            <a:br>
              <a:rPr kumimoji="0" lang="es-es" sz="1500" b="0" i="0" u="none" strike="noStrike" kern="1200" cap="none" spc="0" normalizeH="0" baseline="0" noProof="0" dirty="0">
                <a:ln>
                  <a:noFill/>
                </a:ln>
                <a:solidFill>
                  <a:srgbClr val="091F2C"/>
                </a:solidFill>
                <a:effectLst/>
                <a:uLnTx/>
                <a:uFillTx/>
                <a:latin typeface="Segoe Sans Display"/>
                <a:ea typeface="+mn-ea"/>
                <a:cs typeface="+mn-cs"/>
              </a:rPr>
            </a:br>
            <a:r>
              <a:rPr kumimoji="0" lang="es-es" sz="1500" b="0" i="0" u="none" strike="noStrike" kern="1200" cap="none" spc="0" normalizeH="0" baseline="0" noProof="0" dirty="0">
                <a:ln>
                  <a:noFill/>
                </a:ln>
                <a:solidFill>
                  <a:srgbClr val="091F2C"/>
                </a:solidFill>
                <a:effectLst/>
                <a:uLnTx/>
                <a:uFillTx/>
                <a:latin typeface="Segoe Sans Display"/>
                <a:ea typeface="+mn-ea"/>
                <a:cs typeface="+mn-cs"/>
              </a:rPr>
              <a:t>real para verificar su trabajo</a:t>
            </a:r>
          </a:p>
        </p:txBody>
      </p:sp>
      <p:pic>
        <p:nvPicPr>
          <p:cNvPr id="30" name="Picture 29">
            <a:extLst>
              <a:ext uri="{FF2B5EF4-FFF2-40B4-BE49-F238E27FC236}">
                <a16:creationId xmlns:a16="http://schemas.microsoft.com/office/drawing/2014/main" id="{60ED4C82-5504-B2C1-C6CF-5A10238965A3}"/>
              </a:ext>
            </a:extLst>
          </p:cNvPr>
          <p:cNvPicPr>
            <a:picLocks/>
          </p:cNvPicPr>
          <p:nvPr/>
        </p:nvPicPr>
        <p:blipFill>
          <a:blip r:embed="rId5"/>
          <a:srcRect l="4967" r="4967"/>
          <a:stretch/>
        </p:blipFill>
        <p:spPr>
          <a:xfrm>
            <a:off x="5145131" y="1343024"/>
            <a:ext cx="6303926" cy="4171954"/>
          </a:xfrm>
          <a:prstGeom prst="roundRect">
            <a:avLst>
              <a:gd name="adj" fmla="val 1881"/>
            </a:avLst>
          </a:prstGeom>
          <a:solidFill>
            <a:schemeClr val="bg1"/>
          </a:solidFill>
          <a:ln w="6350">
            <a:solidFill>
              <a:schemeClr val="accent3">
                <a:lumMod val="40000"/>
                <a:lumOff val="60000"/>
              </a:schemeClr>
            </a:solidFill>
          </a:ln>
          <a:effectLst>
            <a:outerShdw blurRad="127000" dist="38100" dir="2700000" algn="tl" rotWithShape="0">
              <a:prstClr val="black">
                <a:alpha val="5000"/>
              </a:prstClr>
            </a:outerShdw>
          </a:effectLst>
        </p:spPr>
      </p:pic>
      <p:sp>
        <p:nvSpPr>
          <p:cNvPr id="2" name="Rectangle: Rounded Corners 1">
            <a:extLst>
              <a:ext uri="{FF2B5EF4-FFF2-40B4-BE49-F238E27FC236}">
                <a16:creationId xmlns:a16="http://schemas.microsoft.com/office/drawing/2014/main" id="{E5C37610-8581-E4AB-5334-14A2A0847AED}"/>
              </a:ext>
              <a:ext uri="{C183D7F6-B498-43B3-948B-1728B52AA6E4}">
                <adec:decorative xmlns:adec="http://schemas.microsoft.com/office/drawing/2017/decorative" val="0"/>
              </a:ext>
            </a:extLst>
          </p:cNvPr>
          <p:cNvSpPr>
            <a:spLocks/>
          </p:cNvSpPr>
          <p:nvPr/>
        </p:nvSpPr>
        <p:spPr>
          <a:xfrm>
            <a:off x="571499" y="5850859"/>
            <a:ext cx="2255521" cy="403226"/>
          </a:xfrm>
          <a:prstGeom prst="roundRect">
            <a:avLst>
              <a:gd name="adj" fmla="val 50000"/>
            </a:avLst>
          </a:prstGeom>
          <a:gradFill flip="none" rotWithShape="1">
            <a:gsLst>
              <a:gs pos="0">
                <a:schemeClr val="accent3"/>
              </a:gs>
              <a:gs pos="31000">
                <a:srgbClr val="D361FF"/>
              </a:gs>
              <a:gs pos="100000">
                <a:schemeClr val="accent1"/>
              </a:gs>
              <a:gs pos="67000">
                <a:srgbClr val="2CB1FE"/>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a:ln>
                  <a:noFill/>
                </a:ln>
                <a:solidFill>
                  <a:srgbClr val="FFFFFF"/>
                </a:solidFill>
                <a:effectLst/>
                <a:uLnTx/>
                <a:uFillTx/>
                <a:latin typeface="Segoe Sans Display Semibold"/>
                <a:ea typeface="+mn-ea"/>
                <a:cs typeface="+mn-cs"/>
              </a:rPr>
              <a:t>Disponible de forma general</a:t>
            </a:r>
          </a:p>
        </p:txBody>
      </p:sp>
    </p:spTree>
    <p:extLst>
      <p:ext uri="{BB962C8B-B14F-4D97-AF65-F5344CB8AC3E}">
        <p14:creationId xmlns:p14="http://schemas.microsoft.com/office/powerpoint/2010/main" val="345305773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AA105E-9B3E-EAA3-1454-2FED53DBBDD8}"/>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54EB4445-4A9E-9310-18BC-200A48574C4A}"/>
              </a:ext>
              <a:ext uri="{C183D7F6-B498-43B3-948B-1728B52AA6E4}">
                <adec:decorative xmlns:adec="http://schemas.microsoft.com/office/drawing/2017/decorative" val="1"/>
              </a:ext>
            </a:extLst>
          </p:cNvPr>
          <p:cNvPicPr>
            <a:picLocks/>
          </p:cNvPicPr>
          <p:nvPr/>
        </p:nvPicPr>
        <p:blipFill>
          <a:blip r:embed="rId5">
            <a:extLst>
              <a:ext uri="{28A0092B-C50C-407E-A947-70E740481C1C}">
                <a14:useLocalDpi xmlns:a14="http://schemas.microsoft.com/office/drawing/2010/main" val="0"/>
              </a:ext>
            </a:extLst>
          </a:blip>
          <a:srcRect/>
          <a:stretch/>
        </p:blipFill>
        <p:spPr>
          <a:xfrm>
            <a:off x="0" y="0"/>
            <a:ext cx="4801612"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a:solidFill>
            <a:srgbClr val="FFF9F3"/>
          </a:solidFill>
        </p:spPr>
      </p:pic>
      <p:sp>
        <p:nvSpPr>
          <p:cNvPr id="16" name="Freeform: Shape 15">
            <a:extLst>
              <a:ext uri="{FF2B5EF4-FFF2-40B4-BE49-F238E27FC236}">
                <a16:creationId xmlns:a16="http://schemas.microsoft.com/office/drawing/2014/main" id="{48B4C43C-645C-8457-C206-FD77573910A3}"/>
              </a:ext>
              <a:ext uri="{C183D7F6-B498-43B3-948B-1728B52AA6E4}">
                <adec:decorative xmlns:adec="http://schemas.microsoft.com/office/drawing/2017/decorative" val="1"/>
              </a:ext>
            </a:extLst>
          </p:cNvPr>
          <p:cNvSpPr>
            <a:spLocks/>
          </p:cNvSpPr>
          <p:nvPr/>
        </p:nvSpPr>
        <p:spPr bwMode="auto">
          <a:xfrm>
            <a:off x="-1" y="0"/>
            <a:ext cx="4801611"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7" name="Rectangle 16">
            <a:extLst>
              <a:ext uri="{FF2B5EF4-FFF2-40B4-BE49-F238E27FC236}">
                <a16:creationId xmlns:a16="http://schemas.microsoft.com/office/drawing/2014/main" id="{5C5D333C-49FE-83FD-E8F1-D4015A70834E}"/>
              </a:ext>
              <a:ext uri="{C183D7F6-B498-43B3-948B-1728B52AA6E4}">
                <adec:decorative xmlns:adec="http://schemas.microsoft.com/office/drawing/2017/decorative" val="1"/>
              </a:ext>
            </a:extLst>
          </p:cNvPr>
          <p:cNvSpPr>
            <a:spLocks/>
          </p:cNvSpPr>
          <p:nvPr/>
        </p:nvSpPr>
        <p:spPr bwMode="auto">
          <a:xfrm>
            <a:off x="0" y="1771679"/>
            <a:ext cx="4801609" cy="3896300"/>
          </a:xfrm>
          <a:prstGeom prst="rect">
            <a:avLst/>
          </a:prstGeom>
          <a:solidFill>
            <a:schemeClr val="bg1">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20" name="Picture 19">
            <a:extLst>
              <a:ext uri="{FF2B5EF4-FFF2-40B4-BE49-F238E27FC236}">
                <a16:creationId xmlns:a16="http://schemas.microsoft.com/office/drawing/2014/main" id="{4414A938-7862-31D9-CA2E-BB1DDD477FF9}"/>
              </a:ext>
              <a:ext uri="{C183D7F6-B498-43B3-948B-1728B52AA6E4}">
                <adec:decorative xmlns:adec="http://schemas.microsoft.com/office/drawing/2017/decorative" val="1"/>
              </a:ext>
            </a:extLst>
          </p:cNvPr>
          <p:cNvPicPr>
            <a:picLocks noChangeAspect="1"/>
          </p:cNvPicPr>
          <p:nvPr/>
        </p:nvPicPr>
        <p:blipFill>
          <a:blip r:embed="rId6"/>
          <a:srcRect b="48531"/>
          <a:stretch>
            <a:fillRect/>
          </a:stretch>
        </p:blipFill>
        <p:spPr>
          <a:xfrm rot="5400000" flipH="1">
            <a:off x="1353561"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23" name="Rectangle: Rounded Corners 22">
            <a:extLst>
              <a:ext uri="{FF2B5EF4-FFF2-40B4-BE49-F238E27FC236}">
                <a16:creationId xmlns:a16="http://schemas.microsoft.com/office/drawing/2014/main" id="{3C9A147A-FEB8-E74B-0A65-DC18A527E293}"/>
              </a:ext>
              <a:ext uri="{C183D7F6-B498-43B3-948B-1728B52AA6E4}">
                <adec:decorative xmlns:adec="http://schemas.microsoft.com/office/drawing/2017/decorative" val="1"/>
              </a:ext>
            </a:extLst>
          </p:cNvPr>
          <p:cNvSpPr>
            <a:spLocks/>
          </p:cNvSpPr>
          <p:nvPr/>
        </p:nvSpPr>
        <p:spPr bwMode="auto">
          <a:xfrm>
            <a:off x="4994680" y="1190020"/>
            <a:ext cx="6938819" cy="4477959"/>
          </a:xfrm>
          <a:prstGeom prst="roundRect">
            <a:avLst>
              <a:gd name="adj" fmla="val 2642"/>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Title 12">
            <a:extLst>
              <a:ext uri="{FF2B5EF4-FFF2-40B4-BE49-F238E27FC236}">
                <a16:creationId xmlns:a16="http://schemas.microsoft.com/office/drawing/2014/main" id="{C849131E-223B-F3B7-833E-F84021A078AF}"/>
              </a:ext>
            </a:extLst>
          </p:cNvPr>
          <p:cNvSpPr>
            <a:spLocks noGrp="1"/>
          </p:cNvSpPr>
          <p:nvPr>
            <p:ph type="title"/>
          </p:nvPr>
        </p:nvSpPr>
        <p:spPr>
          <a:xfrm>
            <a:off x="571499" y="986994"/>
            <a:ext cx="4192009" cy="1030659"/>
          </a:xfrm>
        </p:spPr>
        <p:txBody>
          <a:bodyPr/>
          <a:lstStyle/>
          <a:p>
            <a:pPr defTabSz="914400">
              <a:defRPr/>
            </a:pPr>
            <a:r>
              <a:rPr lang="es-es" spc="-20" dirty="0">
                <a:ln>
                  <a:noFill/>
                </a:ln>
                <a:gradFill>
                  <a:gsLst>
                    <a:gs pos="0">
                      <a:srgbClr val="0078D4"/>
                    </a:gs>
                    <a:gs pos="94000">
                      <a:srgbClr val="C73ECC"/>
                    </a:gs>
                  </a:gsLst>
                  <a:lin ang="0" scaled="1"/>
                </a:gradFill>
              </a:rPr>
              <a:t>Agentes de Word, Excel y PowerPoint</a:t>
            </a:r>
          </a:p>
        </p:txBody>
      </p:sp>
      <p:sp>
        <p:nvSpPr>
          <p:cNvPr id="4" name="Text Placeholder 12_1">
            <a:extLst>
              <a:ext uri="{FF2B5EF4-FFF2-40B4-BE49-F238E27FC236}">
                <a16:creationId xmlns:a16="http://schemas.microsoft.com/office/drawing/2014/main" id="{701EE3BB-92DD-0975-FDEF-F9FFD46F9809}"/>
              </a:ext>
            </a:extLst>
          </p:cNvPr>
          <p:cNvSpPr txBox="1">
            <a:spLocks/>
          </p:cNvSpPr>
          <p:nvPr/>
        </p:nvSpPr>
        <p:spPr>
          <a:xfrm>
            <a:off x="571499" y="723854"/>
            <a:ext cx="1553391" cy="215444"/>
          </a:xfrm>
          <a:prstGeom prst="rect">
            <a:avLst/>
          </a:prstGeom>
        </p:spPr>
        <p:txBody>
          <a:bodyPr vert="horz" wrap="square" lIns="0" tIns="0" rIns="0" bIns="0" rtlCol="0" anchor="b">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cap="all" spc="0" baseline="0">
                <a:solidFill>
                  <a:schemeClr val="tx1"/>
                </a:solidFill>
                <a:latin typeface="+mn-lt"/>
                <a:ea typeface="+mn-ea"/>
                <a:cs typeface="Segoe Sans Display" pitchFamily="2"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s-es" sz="1400" b="0" i="0" u="none" strike="noStrike" kern="1200" cap="none" spc="0" normalizeH="0" baseline="0" noProof="0" dirty="0">
                <a:ln>
                  <a:noFill/>
                </a:ln>
                <a:solidFill>
                  <a:srgbClr val="091F2C"/>
                </a:solidFill>
                <a:effectLst/>
                <a:uLnTx/>
                <a:uFillTx/>
                <a:latin typeface="Segoe Sans Display Semibold"/>
                <a:ea typeface="+mn-ea"/>
                <a:cs typeface="Segoe Sans Display" pitchFamily="2" charset="0"/>
              </a:rPr>
              <a:t>Programa </a:t>
            </a:r>
            <a:r>
              <a:rPr kumimoji="0" lang="es-es" sz="1400" b="0" i="0" u="none" strike="noStrike" kern="1200" cap="none" spc="0" normalizeH="0" baseline="0" noProof="0" dirty="0" err="1">
                <a:ln>
                  <a:noFill/>
                </a:ln>
                <a:solidFill>
                  <a:srgbClr val="091F2C"/>
                </a:solidFill>
                <a:effectLst/>
                <a:uLnTx/>
                <a:uFillTx/>
                <a:latin typeface="Segoe Sans Display Semibold"/>
                <a:ea typeface="+mn-ea"/>
                <a:cs typeface="Segoe Sans Display" pitchFamily="2" charset="0"/>
              </a:rPr>
              <a:t>Frontier</a:t>
            </a:r>
            <a:endParaRPr kumimoji="0" lang="es-es" sz="1400" b="0" i="0" u="none" strike="noStrike" kern="1200" cap="none" spc="0" normalizeH="0" baseline="0" noProof="0" dirty="0">
              <a:ln>
                <a:noFill/>
              </a:ln>
              <a:solidFill>
                <a:srgbClr val="091F2C"/>
              </a:solidFill>
              <a:effectLst/>
              <a:uLnTx/>
              <a:uFillTx/>
              <a:latin typeface="Segoe Sans Display Semibold"/>
              <a:ea typeface="+mn-ea"/>
              <a:cs typeface="Segoe Sans Display" pitchFamily="2" charset="0"/>
            </a:endParaRPr>
          </a:p>
        </p:txBody>
      </p:sp>
      <p:sp>
        <p:nvSpPr>
          <p:cNvPr id="18" name="TextBox 17">
            <a:extLst>
              <a:ext uri="{FF2B5EF4-FFF2-40B4-BE49-F238E27FC236}">
                <a16:creationId xmlns:a16="http://schemas.microsoft.com/office/drawing/2014/main" id="{118150C6-94B4-8A76-42D4-31D7517B0E9D}"/>
              </a:ext>
            </a:extLst>
          </p:cNvPr>
          <p:cNvSpPr txBox="1">
            <a:spLocks/>
          </p:cNvSpPr>
          <p:nvPr/>
        </p:nvSpPr>
        <p:spPr>
          <a:xfrm>
            <a:off x="571500" y="2195616"/>
            <a:ext cx="3922123" cy="3650326"/>
          </a:xfrm>
          <a:prstGeom prst="rect">
            <a:avLst/>
          </a:prstGeom>
          <a:noFill/>
        </p:spPr>
        <p:txBody>
          <a:bodyPr vert="horz" wrap="square" lIns="0" tIns="0" rIns="0" bIns="0" rtlCol="0">
            <a:noAutofit/>
          </a:bodyPr>
          <a:lstStyle/>
          <a:p>
            <a:pPr marL="285750" indent="-285750">
              <a:spcBef>
                <a:spcPts val="600"/>
              </a:spcBef>
              <a:spcAft>
                <a:spcPts val="600"/>
              </a:spcAft>
              <a:buFont typeface="Arial" panose="020B0604020202020204" pitchFamily="34" charset="0"/>
              <a:buChar char="•"/>
              <a:defRPr/>
            </a:pPr>
            <a:r>
              <a:rPr lang="es-es" sz="1400" dirty="0">
                <a:solidFill>
                  <a:schemeClr val="tx2"/>
                </a:solidFill>
              </a:rPr>
              <a:t>Convierte ideas en documentos, hojas </a:t>
            </a:r>
            <a:br>
              <a:rPr lang="es-es" sz="1400" dirty="0">
                <a:solidFill>
                  <a:schemeClr val="tx2"/>
                </a:solidFill>
              </a:rPr>
            </a:br>
            <a:r>
              <a:rPr lang="es-es" sz="1400" dirty="0">
                <a:solidFill>
                  <a:schemeClr val="tx2"/>
                </a:solidFill>
              </a:rPr>
              <a:t>de cálculo y presentaciones pulidos directamente en el chat</a:t>
            </a:r>
            <a:endParaRPr lang="en-US" sz="1400" dirty="0">
              <a:solidFill>
                <a:srgbClr val="000000"/>
              </a:solidFill>
            </a:endParaRPr>
          </a:p>
          <a:p>
            <a:pPr marL="225425" lvl="0" indent="-225425" defTabSz="914400">
              <a:spcBef>
                <a:spcPts val="600"/>
              </a:spcBef>
              <a:spcAft>
                <a:spcPts val="600"/>
              </a:spcAft>
              <a:buClr>
                <a:srgbClr val="000000"/>
              </a:buClr>
              <a:buFont typeface="Arial"/>
              <a:buChar char="•"/>
              <a:defRPr/>
            </a:pPr>
            <a:r>
              <a:rPr lang="es-es" sz="1400" dirty="0">
                <a:solidFill>
                  <a:srgbClr val="000000"/>
                </a:solidFill>
              </a:rPr>
              <a:t>Cada agente recurre a </a:t>
            </a:r>
            <a:r>
              <a:rPr lang="es-es" sz="1400" dirty="0">
                <a:solidFill>
                  <a:srgbClr val="C03BC4"/>
                </a:solidFill>
                <a:latin typeface="Segoe Sans Display Semibold"/>
              </a:rPr>
              <a:t>fuentes de la web </a:t>
            </a:r>
            <a:br>
              <a:rPr lang="es-es" sz="1400" dirty="0">
                <a:solidFill>
                  <a:srgbClr val="C03BC4"/>
                </a:solidFill>
                <a:latin typeface="Segoe Sans Display Semibold"/>
              </a:rPr>
            </a:br>
            <a:r>
              <a:rPr lang="es-es" sz="1400" dirty="0">
                <a:solidFill>
                  <a:srgbClr val="C03BC4"/>
                </a:solidFill>
                <a:latin typeface="Segoe Sans Display Semibold"/>
              </a:rPr>
              <a:t>y de </a:t>
            </a:r>
            <a:r>
              <a:rPr lang="es-es" sz="1400" dirty="0" err="1">
                <a:solidFill>
                  <a:srgbClr val="C03BC4"/>
                </a:solidFill>
                <a:latin typeface="Segoe Sans Display Semibold"/>
              </a:rPr>
              <a:t>WorkIQ</a:t>
            </a:r>
            <a:r>
              <a:rPr lang="es-es" sz="1400" dirty="0">
                <a:solidFill>
                  <a:srgbClr val="C03BC4"/>
                </a:solidFill>
                <a:latin typeface="Segoe Sans Display Semibold"/>
              </a:rPr>
              <a:t>*</a:t>
            </a:r>
            <a:r>
              <a:rPr lang="es-es" sz="1400" dirty="0">
                <a:solidFill>
                  <a:srgbClr val="000000"/>
                </a:solidFill>
              </a:rPr>
              <a:t> para </a:t>
            </a:r>
            <a:r>
              <a:rPr lang="es-es" sz="1400" dirty="0">
                <a:solidFill>
                  <a:srgbClr val="C03BC4"/>
                </a:solidFill>
                <a:latin typeface="Segoe Sans Display Semibold"/>
              </a:rPr>
              <a:t>investigar, analizar </a:t>
            </a:r>
            <a:br>
              <a:rPr lang="es-es" sz="1400" dirty="0">
                <a:solidFill>
                  <a:srgbClr val="C03BC4"/>
                </a:solidFill>
                <a:latin typeface="Segoe Sans Display Semibold"/>
              </a:rPr>
            </a:br>
            <a:r>
              <a:rPr lang="es-es" sz="1400" dirty="0">
                <a:solidFill>
                  <a:srgbClr val="C03BC4"/>
                </a:solidFill>
                <a:latin typeface="Segoe Sans Display Semibold"/>
              </a:rPr>
              <a:t>y crear</a:t>
            </a:r>
            <a:r>
              <a:rPr lang="es-es" sz="1400" dirty="0">
                <a:solidFill>
                  <a:srgbClr val="000000"/>
                </a:solidFill>
              </a:rPr>
              <a:t> contenido de calidad alta.</a:t>
            </a:r>
          </a:p>
          <a:p>
            <a:pPr marL="225425" lvl="0" indent="-225425" defTabSz="914400">
              <a:spcBef>
                <a:spcPts val="600"/>
              </a:spcBef>
              <a:spcAft>
                <a:spcPts val="600"/>
              </a:spcAft>
              <a:buClr>
                <a:srgbClr val="000000"/>
              </a:buClr>
              <a:buFont typeface="Arial"/>
              <a:buChar char="•"/>
              <a:defRPr/>
            </a:pPr>
            <a:r>
              <a:rPr lang="es-es" sz="1400" dirty="0">
                <a:solidFill>
                  <a:srgbClr val="000000"/>
                </a:solidFill>
              </a:rPr>
              <a:t>Trabaja contigo para aclarar tu solicitud mediante preguntas específicas sobre el enfoque, el tema, el público y la extensión </a:t>
            </a:r>
            <a:br>
              <a:rPr lang="es-es" sz="1400" dirty="0">
                <a:solidFill>
                  <a:srgbClr val="000000"/>
                </a:solidFill>
              </a:rPr>
            </a:br>
            <a:r>
              <a:rPr lang="es-es" sz="1400" dirty="0">
                <a:solidFill>
                  <a:srgbClr val="000000"/>
                </a:solidFill>
              </a:rPr>
              <a:t>del archivo.</a:t>
            </a:r>
          </a:p>
          <a:p>
            <a:pPr marL="225425" lvl="0" indent="-225425" defTabSz="914400">
              <a:spcBef>
                <a:spcPts val="600"/>
              </a:spcBef>
              <a:spcAft>
                <a:spcPts val="600"/>
              </a:spcAft>
              <a:buClr>
                <a:srgbClr val="000000"/>
              </a:buClr>
              <a:buFont typeface="Arial"/>
              <a:buChar char="•"/>
              <a:defRPr/>
            </a:pPr>
            <a:r>
              <a:rPr lang="es-es" sz="1400" dirty="0">
                <a:solidFill>
                  <a:srgbClr val="C03BC4"/>
                </a:solidFill>
                <a:latin typeface="Segoe Sans Display Semibold"/>
              </a:rPr>
              <a:t>Permite refinar los resultados en Chat</a:t>
            </a:r>
            <a:r>
              <a:rPr lang="es-es" sz="1400" dirty="0">
                <a:solidFill>
                  <a:srgbClr val="000000"/>
                </a:solidFill>
              </a:rPr>
              <a:t> o abrirlos en las aplicaciones de Word, Excel o PowerPoint para editarlos y colaborar aún más.</a:t>
            </a:r>
          </a:p>
        </p:txBody>
      </p:sp>
      <p:pic>
        <p:nvPicPr>
          <p:cNvPr id="6" name="1213-WXP-PPT-111325-POLISH-NoClaude-v7">
            <a:hlinkClick r:id="" action="ppaction://media"/>
            <a:extLst>
              <a:ext uri="{FF2B5EF4-FFF2-40B4-BE49-F238E27FC236}">
                <a16:creationId xmlns:a16="http://schemas.microsoft.com/office/drawing/2014/main" id="{F94C6B08-C051-5362-2F1D-F096312BAECC}"/>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7"/>
          <a:srcRect l="140" r="140"/>
          <a:stretch>
            <a:fillRect/>
          </a:stretch>
        </p:blipFill>
        <p:spPr>
          <a:xfrm>
            <a:off x="5111430" y="1534218"/>
            <a:ext cx="6718118" cy="3789563"/>
          </a:xfrm>
          <a:prstGeom prst="roundRect">
            <a:avLst>
              <a:gd name="adj" fmla="val 1893"/>
            </a:avLst>
          </a:prstGeom>
        </p:spPr>
      </p:pic>
      <p:sp>
        <p:nvSpPr>
          <p:cNvPr id="8" name="TextBox 7">
            <a:extLst>
              <a:ext uri="{FF2B5EF4-FFF2-40B4-BE49-F238E27FC236}">
                <a16:creationId xmlns:a16="http://schemas.microsoft.com/office/drawing/2014/main" id="{C5C41EA8-7827-F69B-322B-4F7B433411AE}"/>
              </a:ext>
            </a:extLst>
          </p:cNvPr>
          <p:cNvSpPr txBox="1"/>
          <p:nvPr/>
        </p:nvSpPr>
        <p:spPr>
          <a:xfrm>
            <a:off x="4994679" y="5804120"/>
            <a:ext cx="6938820" cy="625812"/>
          </a:xfrm>
          <a:prstGeom prst="rect">
            <a:avLst/>
          </a:prstGeom>
          <a:noFill/>
        </p:spPr>
        <p:txBody>
          <a:bodyPr wrap="square">
            <a:spAutoFit/>
          </a:bodyPr>
          <a:lstStyle/>
          <a:p>
            <a:pPr marL="0" algn="l" rtl="0" eaLnBrk="1" latinLnBrk="0" hangingPunct="1">
              <a:spcAft>
                <a:spcPts val="200"/>
              </a:spcAft>
              <a:buNone/>
            </a:pPr>
            <a:r>
              <a:rPr lang="es-es" sz="1100" kern="1200" dirty="0">
                <a:solidFill>
                  <a:srgbClr val="000000"/>
                </a:solidFill>
                <a:effectLst/>
                <a:latin typeface="Segoe Sans Display" pitchFamily="2" charset="0"/>
                <a:ea typeface="+mn-ea"/>
                <a:cs typeface="+mn-cs"/>
              </a:rPr>
              <a:t>Disponible en </a:t>
            </a:r>
            <a:r>
              <a:rPr lang="es-es" sz="1100" kern="1200" dirty="0">
                <a:solidFill>
                  <a:srgbClr val="000000"/>
                </a:solidFill>
                <a:effectLst/>
                <a:latin typeface="Segoe Sans Display" pitchFamily="2" charset="0"/>
                <a:ea typeface="+mn-ea"/>
                <a:cs typeface="+mn-cs"/>
                <a:hlinkClick r:id="rId8"/>
              </a:rPr>
              <a:t>Programa Frontier</a:t>
            </a:r>
            <a:r>
              <a:rPr lang="es-es" sz="1100" kern="1200" dirty="0">
                <a:solidFill>
                  <a:srgbClr val="000000"/>
                </a:solidFill>
                <a:effectLst/>
                <a:latin typeface="Segoe Sans Display" pitchFamily="2" charset="0"/>
                <a:ea typeface="+mn-ea"/>
                <a:cs typeface="+mn-cs"/>
              </a:rPr>
              <a:t>, disponibilidad general en todo el mundo en el primer trimestre de 2026</a:t>
            </a:r>
            <a:endParaRPr lang="en-IN" sz="1100" dirty="0">
              <a:effectLst/>
            </a:endParaRPr>
          </a:p>
          <a:p>
            <a:pPr marL="0" algn="l" rtl="0" eaLnBrk="1" latinLnBrk="0" hangingPunct="1">
              <a:spcAft>
                <a:spcPts val="200"/>
              </a:spcAft>
              <a:buNone/>
            </a:pPr>
            <a:r>
              <a:rPr lang="es-es" sz="1100" kern="1200" dirty="0">
                <a:solidFill>
                  <a:srgbClr val="000000"/>
                </a:solidFill>
                <a:effectLst/>
                <a:latin typeface="Segoe Sans Display" pitchFamily="2" charset="0"/>
                <a:ea typeface="+mn-ea"/>
                <a:cs typeface="+mn-cs"/>
              </a:rPr>
              <a:t>* Actualmente, el agente de Excel solo admite fuentes web. Los usuarios de Microsoft 365 Copilot Chat </a:t>
            </a:r>
            <a:br>
              <a:rPr lang="es-es" sz="1100" kern="1200" dirty="0">
                <a:solidFill>
                  <a:srgbClr val="000000"/>
                </a:solidFill>
                <a:effectLst/>
                <a:latin typeface="Segoe Sans Display" pitchFamily="2" charset="0"/>
                <a:ea typeface="+mn-ea"/>
                <a:cs typeface="+mn-cs"/>
              </a:rPr>
            </a:br>
            <a:r>
              <a:rPr lang="es-es" sz="1100" kern="1200" dirty="0">
                <a:solidFill>
                  <a:srgbClr val="000000"/>
                </a:solidFill>
                <a:effectLst/>
                <a:latin typeface="Segoe Sans Display" pitchFamily="2" charset="0"/>
                <a:ea typeface="+mn-ea"/>
                <a:cs typeface="+mn-cs"/>
              </a:rPr>
              <a:t>solo pueden acceder a fundamentos web.</a:t>
            </a:r>
            <a:endParaRPr lang="en-IN" sz="1100" dirty="0">
              <a:effectLst/>
            </a:endParaRPr>
          </a:p>
        </p:txBody>
      </p:sp>
    </p:spTree>
    <p:extLst>
      <p:ext uri="{BB962C8B-B14F-4D97-AF65-F5344CB8AC3E}">
        <p14:creationId xmlns:p14="http://schemas.microsoft.com/office/powerpoint/2010/main" val="14566231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213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FF9F3"/>
        </a:solidFill>
        <a:effectLst/>
      </p:bgPr>
    </p:bg>
    <p:spTree>
      <p:nvGrpSpPr>
        <p:cNvPr id="1" name="">
          <a:extLst>
            <a:ext uri="{FF2B5EF4-FFF2-40B4-BE49-F238E27FC236}">
              <a16:creationId xmlns:a16="http://schemas.microsoft.com/office/drawing/2014/main" id="{C46FD195-0670-8BCD-E406-D49A7B55AFF6}"/>
            </a:ext>
          </a:extLst>
        </p:cNvPr>
        <p:cNvGrpSpPr/>
        <p:nvPr/>
      </p:nvGrpSpPr>
      <p:grpSpPr>
        <a:xfrm>
          <a:off x="0" y="0"/>
          <a:ext cx="0" cy="0"/>
          <a:chOff x="0" y="0"/>
          <a:chExt cx="0" cy="0"/>
        </a:xfrm>
      </p:grpSpPr>
      <p:pic>
        <p:nvPicPr>
          <p:cNvPr id="30" name="Picture 29">
            <a:extLst>
              <a:ext uri="{FF2B5EF4-FFF2-40B4-BE49-F238E27FC236}">
                <a16:creationId xmlns:a16="http://schemas.microsoft.com/office/drawing/2014/main" id="{87F47579-E137-250B-0A36-C6435D83FB40}"/>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a:ext>
            </a:extLst>
          </a:blip>
          <a:srcRect l="3055" r="3055"/>
          <a:stretch/>
        </p:blipFill>
        <p:spPr>
          <a:xfrm>
            <a:off x="-6960" y="11102"/>
            <a:ext cx="12192000" cy="6858000"/>
          </a:xfrm>
          <a:prstGeom prst="rect">
            <a:avLst/>
          </a:prstGeom>
        </p:spPr>
      </p:pic>
      <p:sp>
        <p:nvSpPr>
          <p:cNvPr id="31" name="Rectangle 30">
            <a:extLst>
              <a:ext uri="{FF2B5EF4-FFF2-40B4-BE49-F238E27FC236}">
                <a16:creationId xmlns:a16="http://schemas.microsoft.com/office/drawing/2014/main" id="{592E9963-BC41-CF82-28A0-48515A037FD6}"/>
              </a:ext>
              <a:ext uri="{C183D7F6-B498-43B3-948B-1728B52AA6E4}">
                <adec:decorative xmlns:adec="http://schemas.microsoft.com/office/drawing/2017/decorative" val="1"/>
              </a:ext>
            </a:extLst>
          </p:cNvPr>
          <p:cNvSpPr>
            <a:spLocks/>
          </p:cNvSpPr>
          <p:nvPr/>
        </p:nvSpPr>
        <p:spPr bwMode="auto">
          <a:xfrm>
            <a:off x="6960" y="-28977"/>
            <a:ext cx="12191998"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32" name="Picture 31">
            <a:extLst>
              <a:ext uri="{FF2B5EF4-FFF2-40B4-BE49-F238E27FC236}">
                <a16:creationId xmlns:a16="http://schemas.microsoft.com/office/drawing/2014/main" id="{0250977E-E50A-C453-9EF6-D4407E561225}"/>
              </a:ext>
              <a:ext uri="{C183D7F6-B498-43B3-948B-1728B52AA6E4}">
                <adec:decorative xmlns:adec="http://schemas.microsoft.com/office/drawing/2017/decorative" val="1"/>
              </a:ext>
            </a:extLst>
          </p:cNvPr>
          <p:cNvPicPr>
            <a:picLocks/>
          </p:cNvPicPr>
          <p:nvPr/>
        </p:nvPicPr>
        <p:blipFill>
          <a:blip r:embed="rId4"/>
          <a:stretch>
            <a:fillRect/>
          </a:stretch>
        </p:blipFill>
        <p:spPr>
          <a:xfrm flipH="1">
            <a:off x="5056079" y="6788943"/>
            <a:ext cx="2079834" cy="69057"/>
          </a:xfrm>
          <a:prstGeom prst="rect">
            <a:avLst/>
          </a:prstGeom>
        </p:spPr>
      </p:pic>
      <p:sp>
        <p:nvSpPr>
          <p:cNvPr id="44" name="Title 43">
            <a:extLst>
              <a:ext uri="{FF2B5EF4-FFF2-40B4-BE49-F238E27FC236}">
                <a16:creationId xmlns:a16="http://schemas.microsoft.com/office/drawing/2014/main" id="{3142E3E5-8472-04FF-8806-FE4791E4BC16}"/>
              </a:ext>
            </a:extLst>
          </p:cNvPr>
          <p:cNvSpPr>
            <a:spLocks noGrp="1"/>
          </p:cNvSpPr>
          <p:nvPr>
            <p:ph type="title"/>
          </p:nvPr>
        </p:nvSpPr>
        <p:spPr>
          <a:xfrm>
            <a:off x="571500" y="-876624"/>
            <a:ext cx="11052046" cy="553998"/>
          </a:xfrm>
        </p:spPr>
        <p:txBody>
          <a:bodyPr/>
          <a:lstStyle/>
          <a:p>
            <a:r>
              <a:rPr lang="es-es"/>
              <a:t>Título </a:t>
            </a:r>
          </a:p>
        </p:txBody>
      </p:sp>
      <p:sp>
        <p:nvSpPr>
          <p:cNvPr id="6" name="Title 1">
            <a:extLst>
              <a:ext uri="{FF2B5EF4-FFF2-40B4-BE49-F238E27FC236}">
                <a16:creationId xmlns:a16="http://schemas.microsoft.com/office/drawing/2014/main" id="{27663F20-88E5-BB89-949A-785A95DBA9F8}"/>
              </a:ext>
              <a:ext uri="{C183D7F6-B498-43B3-948B-1728B52AA6E4}">
                <adec:decorative xmlns:adec="http://schemas.microsoft.com/office/drawing/2017/decorative" val="0"/>
              </a:ext>
            </a:extLst>
          </p:cNvPr>
          <p:cNvSpPr txBox="1">
            <a:spLocks/>
          </p:cNvSpPr>
          <p:nvPr/>
        </p:nvSpPr>
        <p:spPr>
          <a:xfrm>
            <a:off x="571500" y="457200"/>
            <a:ext cx="11052046"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s-es" sz="3200" b="0" i="0" u="none" strike="noStrike" kern="1200" cap="none" spc="-5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Sans Display" pitchFamily="2" charset="0"/>
              </a:rPr>
              <a:t>Agentes en Microsoft 365</a:t>
            </a:r>
          </a:p>
        </p:txBody>
      </p:sp>
      <p:sp>
        <p:nvSpPr>
          <p:cNvPr id="106" name="Freeform: Shape 105">
            <a:extLst>
              <a:ext uri="{FF2B5EF4-FFF2-40B4-BE49-F238E27FC236}">
                <a16:creationId xmlns:a16="http://schemas.microsoft.com/office/drawing/2014/main" id="{9FF2FD99-3A7F-EA28-E9DC-C860CD6CE71E}"/>
              </a:ext>
              <a:ext uri="{C183D7F6-B498-43B3-948B-1728B52AA6E4}">
                <adec:decorative xmlns:adec="http://schemas.microsoft.com/office/drawing/2017/decorative" val="1"/>
              </a:ext>
            </a:extLst>
          </p:cNvPr>
          <p:cNvSpPr>
            <a:spLocks/>
          </p:cNvSpPr>
          <p:nvPr/>
        </p:nvSpPr>
        <p:spPr bwMode="auto">
          <a:xfrm>
            <a:off x="7722" y="989722"/>
            <a:ext cx="11918023" cy="5505572"/>
          </a:xfrm>
          <a:custGeom>
            <a:avLst/>
            <a:gdLst>
              <a:gd name="connsiteX0" fmla="*/ 0 w 10663238"/>
              <a:gd name="connsiteY0" fmla="*/ 0 h 4013200"/>
              <a:gd name="connsiteX1" fmla="*/ 10342704 w 10663238"/>
              <a:gd name="connsiteY1" fmla="*/ 0 h 4013200"/>
              <a:gd name="connsiteX2" fmla="*/ 10663238 w 10663238"/>
              <a:gd name="connsiteY2" fmla="*/ 320534 h 4013200"/>
              <a:gd name="connsiteX3" fmla="*/ 10663238 w 10663238"/>
              <a:gd name="connsiteY3" fmla="*/ 3692666 h 4013200"/>
              <a:gd name="connsiteX4" fmla="*/ 10342704 w 10663238"/>
              <a:gd name="connsiteY4" fmla="*/ 4013200 h 4013200"/>
              <a:gd name="connsiteX5" fmla="*/ 0 w 10663238"/>
              <a:gd name="connsiteY5" fmla="*/ 4013200 h 4013200"/>
              <a:gd name="connsiteX6" fmla="*/ 0 w 10663238"/>
              <a:gd name="connsiteY6" fmla="*/ 0 h 401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63238" h="4013200">
                <a:moveTo>
                  <a:pt x="0" y="0"/>
                </a:moveTo>
                <a:lnTo>
                  <a:pt x="10342704" y="0"/>
                </a:lnTo>
                <a:cubicBezTo>
                  <a:pt x="10519730" y="0"/>
                  <a:pt x="10663238" y="143508"/>
                  <a:pt x="10663238" y="320534"/>
                </a:cubicBezTo>
                <a:lnTo>
                  <a:pt x="10663238" y="3692666"/>
                </a:lnTo>
                <a:cubicBezTo>
                  <a:pt x="10663238" y="3869692"/>
                  <a:pt x="10519730" y="4013200"/>
                  <a:pt x="10342704" y="4013200"/>
                </a:cubicBezTo>
                <a:lnTo>
                  <a:pt x="0" y="4013200"/>
                </a:lnTo>
                <a:lnTo>
                  <a:pt x="0" y="0"/>
                </a:lnTo>
                <a:close/>
              </a:path>
            </a:pathLst>
          </a:custGeom>
          <a:solidFill>
            <a:schemeClr val="bg1">
              <a:alpha val="40000"/>
            </a:schemeClr>
          </a:solidFill>
          <a:ln w="6350">
            <a:solidFill>
              <a:schemeClr val="bg1"/>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grpSp>
        <p:nvGrpSpPr>
          <p:cNvPr id="139" name="Group 138">
            <a:extLst>
              <a:ext uri="{FF2B5EF4-FFF2-40B4-BE49-F238E27FC236}">
                <a16:creationId xmlns:a16="http://schemas.microsoft.com/office/drawing/2014/main" id="{511CF88B-F7D0-5479-7B13-FB7FF203534F}"/>
              </a:ext>
            </a:extLst>
          </p:cNvPr>
          <p:cNvGrpSpPr/>
          <p:nvPr/>
        </p:nvGrpSpPr>
        <p:grpSpPr>
          <a:xfrm>
            <a:off x="571500" y="1411309"/>
            <a:ext cx="11048999" cy="4422942"/>
            <a:chOff x="571500" y="1411309"/>
            <a:chExt cx="11048999" cy="4422942"/>
          </a:xfrm>
        </p:grpSpPr>
        <p:sp>
          <p:nvSpPr>
            <p:cNvPr id="140" name="Rectangle: Rounded Corners 30">
              <a:extLst>
                <a:ext uri="{FF2B5EF4-FFF2-40B4-BE49-F238E27FC236}">
                  <a16:creationId xmlns:a16="http://schemas.microsoft.com/office/drawing/2014/main" id="{4C3167A5-CBAD-BF70-F147-11E3D7488BC6}"/>
                </a:ext>
              </a:extLst>
            </p:cNvPr>
            <p:cNvSpPr>
              <a:spLocks/>
            </p:cNvSpPr>
            <p:nvPr/>
          </p:nvSpPr>
          <p:spPr bwMode="auto">
            <a:xfrm>
              <a:off x="571500"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1" name="Rectangle: Rounded Corners 30">
              <a:extLst>
                <a:ext uri="{FF2B5EF4-FFF2-40B4-BE49-F238E27FC236}">
                  <a16:creationId xmlns:a16="http://schemas.microsoft.com/office/drawing/2014/main" id="{74667EC8-C5AB-E646-C85A-15A4D4E6721C}"/>
                </a:ext>
              </a:extLst>
            </p:cNvPr>
            <p:cNvSpPr>
              <a:spLocks/>
            </p:cNvSpPr>
            <p:nvPr/>
          </p:nvSpPr>
          <p:spPr bwMode="auto">
            <a:xfrm>
              <a:off x="2816933"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2" name="Rectangle: Rounded Corners 30">
              <a:extLst>
                <a:ext uri="{FF2B5EF4-FFF2-40B4-BE49-F238E27FC236}">
                  <a16:creationId xmlns:a16="http://schemas.microsoft.com/office/drawing/2014/main" id="{22BE0E7A-D1EF-A031-E8DE-495D36D27100}"/>
                </a:ext>
              </a:extLst>
            </p:cNvPr>
            <p:cNvSpPr>
              <a:spLocks/>
            </p:cNvSpPr>
            <p:nvPr/>
          </p:nvSpPr>
          <p:spPr bwMode="auto">
            <a:xfrm>
              <a:off x="9553230"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3" name="Rectangle: Rounded Corners 30">
              <a:extLst>
                <a:ext uri="{FF2B5EF4-FFF2-40B4-BE49-F238E27FC236}">
                  <a16:creationId xmlns:a16="http://schemas.microsoft.com/office/drawing/2014/main" id="{7B50FCF2-6EED-FD92-6C6F-FA3B1E9623D0}"/>
                </a:ext>
              </a:extLst>
            </p:cNvPr>
            <p:cNvSpPr>
              <a:spLocks/>
            </p:cNvSpPr>
            <p:nvPr/>
          </p:nvSpPr>
          <p:spPr bwMode="auto">
            <a:xfrm>
              <a:off x="7307798"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4" name="Rectangle: Rounded Corners 30">
              <a:extLst>
                <a:ext uri="{FF2B5EF4-FFF2-40B4-BE49-F238E27FC236}">
                  <a16:creationId xmlns:a16="http://schemas.microsoft.com/office/drawing/2014/main" id="{CCAE5CAB-1680-3AB8-0A55-E89E0892C195}"/>
                </a:ext>
              </a:extLst>
            </p:cNvPr>
            <p:cNvSpPr>
              <a:spLocks/>
            </p:cNvSpPr>
            <p:nvPr/>
          </p:nvSpPr>
          <p:spPr bwMode="auto">
            <a:xfrm>
              <a:off x="5062365" y="4279771"/>
              <a:ext cx="2067269" cy="155448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5" name="Rectangle: Rounded Corners 30">
              <a:extLst>
                <a:ext uri="{FF2B5EF4-FFF2-40B4-BE49-F238E27FC236}">
                  <a16:creationId xmlns:a16="http://schemas.microsoft.com/office/drawing/2014/main" id="{0AC0280F-BB38-19F5-7732-5C673E96721B}"/>
                </a:ext>
              </a:extLst>
            </p:cNvPr>
            <p:cNvSpPr>
              <a:spLocks/>
            </p:cNvSpPr>
            <p:nvPr/>
          </p:nvSpPr>
          <p:spPr bwMode="auto">
            <a:xfrm>
              <a:off x="571500"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6" name="Rectangle: Rounded Corners 30">
              <a:extLst>
                <a:ext uri="{FF2B5EF4-FFF2-40B4-BE49-F238E27FC236}">
                  <a16:creationId xmlns:a16="http://schemas.microsoft.com/office/drawing/2014/main" id="{99B8DCAF-9CD4-48A2-F15C-031425B24D7D}"/>
                </a:ext>
              </a:extLst>
            </p:cNvPr>
            <p:cNvSpPr>
              <a:spLocks/>
            </p:cNvSpPr>
            <p:nvPr/>
          </p:nvSpPr>
          <p:spPr bwMode="auto">
            <a:xfrm>
              <a:off x="2816933"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7" name="Rectangle: Rounded Corners 30">
              <a:extLst>
                <a:ext uri="{FF2B5EF4-FFF2-40B4-BE49-F238E27FC236}">
                  <a16:creationId xmlns:a16="http://schemas.microsoft.com/office/drawing/2014/main" id="{3F711B1E-9FB8-A9E9-DCFF-6DD5E8265D00}"/>
                </a:ext>
              </a:extLst>
            </p:cNvPr>
            <p:cNvSpPr>
              <a:spLocks/>
            </p:cNvSpPr>
            <p:nvPr/>
          </p:nvSpPr>
          <p:spPr bwMode="auto">
            <a:xfrm>
              <a:off x="9553230"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8" name="Rectangle: Rounded Corners 30">
              <a:extLst>
                <a:ext uri="{FF2B5EF4-FFF2-40B4-BE49-F238E27FC236}">
                  <a16:creationId xmlns:a16="http://schemas.microsoft.com/office/drawing/2014/main" id="{61F66E8D-8618-BFB2-A97F-EA5E6A6BAF65}"/>
                </a:ext>
              </a:extLst>
            </p:cNvPr>
            <p:cNvSpPr>
              <a:spLocks/>
            </p:cNvSpPr>
            <p:nvPr/>
          </p:nvSpPr>
          <p:spPr bwMode="auto">
            <a:xfrm>
              <a:off x="7307798"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49" name="Rectangle: Rounded Corners 30">
              <a:extLst>
                <a:ext uri="{FF2B5EF4-FFF2-40B4-BE49-F238E27FC236}">
                  <a16:creationId xmlns:a16="http://schemas.microsoft.com/office/drawing/2014/main" id="{5F0343C1-31B6-B60B-277F-04D31336605C}"/>
                </a:ext>
              </a:extLst>
            </p:cNvPr>
            <p:cNvSpPr>
              <a:spLocks/>
            </p:cNvSpPr>
            <p:nvPr/>
          </p:nvSpPr>
          <p:spPr bwMode="auto">
            <a:xfrm>
              <a:off x="5062365" y="2845540"/>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0" name="Rectangle: Rounded Corners 149">
              <a:extLst>
                <a:ext uri="{FF2B5EF4-FFF2-40B4-BE49-F238E27FC236}">
                  <a16:creationId xmlns:a16="http://schemas.microsoft.com/office/drawing/2014/main" id="{338C4503-578E-9078-7012-D692F75F0DE2}"/>
                </a:ext>
              </a:extLst>
            </p:cNvPr>
            <p:cNvSpPr>
              <a:spLocks/>
            </p:cNvSpPr>
            <p:nvPr/>
          </p:nvSpPr>
          <p:spPr bwMode="auto">
            <a:xfrm>
              <a:off x="621337"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1" name="Rectangle: Rounded Corners 30">
              <a:extLst>
                <a:ext uri="{FF2B5EF4-FFF2-40B4-BE49-F238E27FC236}">
                  <a16:creationId xmlns:a16="http://schemas.microsoft.com/office/drawing/2014/main" id="{16759A33-2F9D-A102-82C9-933C24204103}"/>
                </a:ext>
              </a:extLst>
            </p:cNvPr>
            <p:cNvSpPr>
              <a:spLocks/>
            </p:cNvSpPr>
            <p:nvPr/>
          </p:nvSpPr>
          <p:spPr bwMode="auto">
            <a:xfrm>
              <a:off x="2866770"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2" name="Rectangle: Rounded Corners 30">
              <a:extLst>
                <a:ext uri="{FF2B5EF4-FFF2-40B4-BE49-F238E27FC236}">
                  <a16:creationId xmlns:a16="http://schemas.microsoft.com/office/drawing/2014/main" id="{978B4C0A-8DD9-14B3-9811-7281D236B361}"/>
                </a:ext>
              </a:extLst>
            </p:cNvPr>
            <p:cNvSpPr>
              <a:spLocks/>
            </p:cNvSpPr>
            <p:nvPr/>
          </p:nvSpPr>
          <p:spPr bwMode="auto">
            <a:xfrm>
              <a:off x="9553230"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3" name="Rectangle: Rounded Corners 30">
              <a:extLst>
                <a:ext uri="{FF2B5EF4-FFF2-40B4-BE49-F238E27FC236}">
                  <a16:creationId xmlns:a16="http://schemas.microsoft.com/office/drawing/2014/main" id="{4885C44E-3268-0FA3-057B-B9FBC7BD6179}"/>
                </a:ext>
              </a:extLst>
            </p:cNvPr>
            <p:cNvSpPr>
              <a:spLocks/>
            </p:cNvSpPr>
            <p:nvPr/>
          </p:nvSpPr>
          <p:spPr bwMode="auto">
            <a:xfrm>
              <a:off x="7307798"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sp>
          <p:nvSpPr>
            <p:cNvPr id="154" name="Rectangle: Rounded Corners 30">
              <a:extLst>
                <a:ext uri="{FF2B5EF4-FFF2-40B4-BE49-F238E27FC236}">
                  <a16:creationId xmlns:a16="http://schemas.microsoft.com/office/drawing/2014/main" id="{352F24C5-DA77-F69D-A903-C0CF24788C95}"/>
                </a:ext>
              </a:extLst>
            </p:cNvPr>
            <p:cNvSpPr>
              <a:spLocks/>
            </p:cNvSpPr>
            <p:nvPr/>
          </p:nvSpPr>
          <p:spPr bwMode="auto">
            <a:xfrm>
              <a:off x="5112202" y="1411309"/>
              <a:ext cx="2067269" cy="1371600"/>
            </a:xfrm>
            <a:prstGeom prst="roundRect">
              <a:avLst>
                <a:gd name="adj" fmla="val 6200"/>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2286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schemeClr val="tx1"/>
                </a:solidFill>
                <a:effectLst/>
                <a:uLnTx/>
                <a:uFillTx/>
                <a:latin typeface="Segoe Sans Display Semibold"/>
                <a:ea typeface="+mn-ea"/>
                <a:cs typeface="Segoe Sans Display" pitchFamily="2" charset="0"/>
              </a:endParaRPr>
            </a:p>
          </p:txBody>
        </p:sp>
      </p:grpSp>
      <p:sp>
        <p:nvSpPr>
          <p:cNvPr id="155" name="TextBox 154">
            <a:extLst>
              <a:ext uri="{FF2B5EF4-FFF2-40B4-BE49-F238E27FC236}">
                <a16:creationId xmlns:a16="http://schemas.microsoft.com/office/drawing/2014/main" id="{0375C22C-4527-D52D-8FE0-9C52BA701FEA}"/>
              </a:ext>
            </a:extLst>
          </p:cNvPr>
          <p:cNvSpPr txBox="1"/>
          <p:nvPr/>
        </p:nvSpPr>
        <p:spPr>
          <a:xfrm>
            <a:off x="1300687" y="1057365"/>
            <a:ext cx="9590627" cy="246221"/>
          </a:xfrm>
          <a:prstGeom prst="rect">
            <a:avLst/>
          </a:prstGeom>
          <a:noFill/>
        </p:spPr>
        <p:txBody>
          <a:bodyPr wrap="square" lIns="0" tIns="0" rIns="0" bIns="0" rtlCol="0">
            <a:spAutoFit/>
          </a:bodyPr>
          <a:lstStyle/>
          <a:p>
            <a:pPr algn="ctr">
              <a:defRPr/>
            </a:pPr>
            <a:r>
              <a:rPr lang="es-es" sz="1600">
                <a:solidFill>
                  <a:schemeClr val="tx2"/>
                </a:solidFill>
              </a:rPr>
              <a:t>Automatiza tareas con agentes precreados por Microsoft diseñados para el trabajo</a:t>
            </a:r>
          </a:p>
        </p:txBody>
      </p:sp>
      <p:sp>
        <p:nvSpPr>
          <p:cNvPr id="156" name="TextBox 155">
            <a:extLst>
              <a:ext uri="{FF2B5EF4-FFF2-40B4-BE49-F238E27FC236}">
                <a16:creationId xmlns:a16="http://schemas.microsoft.com/office/drawing/2014/main" id="{9010B55E-1A69-E658-5985-C6146606655F}"/>
              </a:ext>
            </a:extLst>
          </p:cNvPr>
          <p:cNvSpPr txBox="1"/>
          <p:nvPr/>
        </p:nvSpPr>
        <p:spPr>
          <a:xfrm>
            <a:off x="844399" y="5981125"/>
            <a:ext cx="10507526" cy="381575"/>
          </a:xfrm>
          <a:prstGeom prst="roundRect">
            <a:avLst>
              <a:gd name="adj" fmla="val 50000"/>
            </a:avLst>
          </a:prstGeom>
          <a:gradFill>
            <a:gsLst>
              <a:gs pos="0">
                <a:srgbClr val="0078D4">
                  <a:alpha val="5000"/>
                </a:srgbClr>
              </a:gs>
              <a:gs pos="100000">
                <a:schemeClr val="accent2">
                  <a:alpha val="5000"/>
                </a:schemeClr>
              </a:gs>
            </a:gsLst>
            <a:lin ang="2700000" scaled="1"/>
          </a:gradFill>
          <a:ln w="19050">
            <a:gradFill flip="none" rotWithShape="1">
              <a:gsLst>
                <a:gs pos="0">
                  <a:srgbClr val="0078D4"/>
                </a:gs>
                <a:gs pos="100000">
                  <a:schemeClr val="accent2"/>
                </a:gs>
              </a:gsLst>
              <a:lin ang="2700000" scaled="1"/>
              <a:tileRect/>
            </a:gradFill>
          </a:ln>
        </p:spPr>
        <p:txBody>
          <a:bodyPr wrap="square" lIns="0" tIns="0" rIns="0" bIns="0" rtlCol="0" anchor="ctr">
            <a:noAutofit/>
          </a:bodyPr>
          <a:lstStyle/>
          <a:p>
            <a:pPr algn="ctr">
              <a:spcAft>
                <a:spcPts val="600"/>
              </a:spcAft>
            </a:pPr>
            <a:r>
              <a:rPr lang="es-es" sz="1300">
                <a:solidFill>
                  <a:schemeClr val="tx2"/>
                </a:solidFill>
              </a:rPr>
              <a:t>Obtén los procedimientos recomendados para los agentes en nuestro Centro de agentes de IA </a:t>
            </a:r>
            <a:r>
              <a:rPr lang="es-es" sz="1300">
                <a:solidFill>
                  <a:schemeClr val="accent1"/>
                </a:solidFill>
                <a:hlinkClick r:id="rId5">
                  <a:extLst>
                    <a:ext uri="{A12FA001-AC4F-418D-AE19-62706E023703}">
                      <ahyp:hlinkClr xmlns:ahyp="http://schemas.microsoft.com/office/drawing/2018/hyperlinkcolor" val="tx"/>
                    </a:ext>
                  </a:extLst>
                </a:hlinkClick>
              </a:rPr>
              <a:t>Agentes de IA - Adopción de Microsoft</a:t>
            </a:r>
            <a:endParaRPr lang="en-US" sz="1300">
              <a:solidFill>
                <a:schemeClr val="accent1"/>
              </a:solidFill>
            </a:endParaRPr>
          </a:p>
        </p:txBody>
      </p:sp>
      <p:grpSp>
        <p:nvGrpSpPr>
          <p:cNvPr id="157" name="Group 156">
            <a:extLst>
              <a:ext uri="{FF2B5EF4-FFF2-40B4-BE49-F238E27FC236}">
                <a16:creationId xmlns:a16="http://schemas.microsoft.com/office/drawing/2014/main" id="{328C0FB4-1EDB-650F-A00C-5500F32499A8}"/>
              </a:ext>
            </a:extLst>
          </p:cNvPr>
          <p:cNvGrpSpPr/>
          <p:nvPr/>
        </p:nvGrpSpPr>
        <p:grpSpPr>
          <a:xfrm>
            <a:off x="2936168" y="2849440"/>
            <a:ext cx="1828800" cy="1160530"/>
            <a:chOff x="2936168" y="2849440"/>
            <a:chExt cx="1828800" cy="1160530"/>
          </a:xfrm>
        </p:grpSpPr>
        <p:sp>
          <p:nvSpPr>
            <p:cNvPr id="158" name="TextBox 157">
              <a:extLst>
                <a:ext uri="{FF2B5EF4-FFF2-40B4-BE49-F238E27FC236}">
                  <a16:creationId xmlns:a16="http://schemas.microsoft.com/office/drawing/2014/main" id="{966EB55E-7B34-8554-5E2E-B95651A91C83}"/>
                </a:ext>
              </a:extLst>
            </p:cNvPr>
            <p:cNvSpPr txBox="1">
              <a:spLocks/>
            </p:cNvSpPr>
            <p:nvPr/>
          </p:nvSpPr>
          <p:spPr>
            <a:xfrm>
              <a:off x="2936168"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6">
                    <a:extLst>
                      <a:ext uri="{A12FA001-AC4F-418D-AE19-62706E023703}">
                        <ahyp:hlinkClr xmlns:ahyp="http://schemas.microsoft.com/office/drawing/2018/hyperlinkcolor" val="tx"/>
                      </a:ext>
                    </a:extLst>
                  </a:hlinkClick>
                </a:rPr>
                <a:t>Versión preliminar pública</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159" name="TextBox 158">
              <a:extLst>
                <a:ext uri="{FF2B5EF4-FFF2-40B4-BE49-F238E27FC236}">
                  <a16:creationId xmlns:a16="http://schemas.microsoft.com/office/drawing/2014/main" id="{80203071-28C8-16A6-C7F7-12077303F1B8}"/>
                </a:ext>
              </a:extLst>
            </p:cNvPr>
            <p:cNvSpPr txBox="1">
              <a:spLocks/>
            </p:cNvSpPr>
            <p:nvPr/>
          </p:nvSpPr>
          <p:spPr>
            <a:xfrm>
              <a:off x="3476266" y="3328642"/>
              <a:ext cx="748603"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 sz="1400">
                  <a:solidFill>
                    <a:schemeClr val="tx2"/>
                  </a:solidFill>
                  <a:latin typeface="+mj-lt"/>
                  <a:ea typeface="+mj-ea"/>
                  <a:cs typeface="+mj-cs"/>
                </a:rPr>
                <a:t>Canales</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160" name="TextBox 159">
              <a:extLst>
                <a:ext uri="{FF2B5EF4-FFF2-40B4-BE49-F238E27FC236}">
                  <a16:creationId xmlns:a16="http://schemas.microsoft.com/office/drawing/2014/main" id="{12E05B07-FEB5-BCA8-3ED6-BDB02582498B}"/>
                </a:ext>
              </a:extLst>
            </p:cNvPr>
            <p:cNvSpPr txBox="1"/>
            <p:nvPr/>
          </p:nvSpPr>
          <p:spPr>
            <a:xfrm>
              <a:off x="2936168"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chemeClr val="tx2"/>
                  </a:solidFill>
                  <a:effectLst/>
                  <a:uLnTx/>
                  <a:uFillTx/>
                </a:rPr>
                <a:t>Compañero de equipo de IA</a:t>
              </a:r>
            </a:p>
          </p:txBody>
        </p:sp>
        <p:pic>
          <p:nvPicPr>
            <p:cNvPr id="161" name="Picture 160">
              <a:extLst>
                <a:ext uri="{FF2B5EF4-FFF2-40B4-BE49-F238E27FC236}">
                  <a16:creationId xmlns:a16="http://schemas.microsoft.com/office/drawing/2014/main" id="{E0769D90-BE59-9B6A-91FA-ADADDC7A468F}"/>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3544124" y="2849440"/>
              <a:ext cx="612888" cy="612888"/>
            </a:xfrm>
            <a:prstGeom prst="rect">
              <a:avLst/>
            </a:prstGeom>
          </p:spPr>
        </p:pic>
      </p:grpSp>
      <p:grpSp>
        <p:nvGrpSpPr>
          <p:cNvPr id="162" name="Group 161">
            <a:extLst>
              <a:ext uri="{FF2B5EF4-FFF2-40B4-BE49-F238E27FC236}">
                <a16:creationId xmlns:a16="http://schemas.microsoft.com/office/drawing/2014/main" id="{AD45BC37-54A8-4D85-58A6-54D3B7DEC040}"/>
              </a:ext>
            </a:extLst>
          </p:cNvPr>
          <p:cNvGrpSpPr/>
          <p:nvPr/>
        </p:nvGrpSpPr>
        <p:grpSpPr>
          <a:xfrm>
            <a:off x="2936168" y="1523949"/>
            <a:ext cx="1828800" cy="1085092"/>
            <a:chOff x="2936168" y="1523949"/>
            <a:chExt cx="1828800" cy="1085092"/>
          </a:xfrm>
        </p:grpSpPr>
        <p:sp>
          <p:nvSpPr>
            <p:cNvPr id="163" name="TextBox 162">
              <a:extLst>
                <a:ext uri="{FF2B5EF4-FFF2-40B4-BE49-F238E27FC236}">
                  <a16:creationId xmlns:a16="http://schemas.microsoft.com/office/drawing/2014/main" id="{668836A1-1B3E-97DF-F85E-5011D5479DA0}"/>
                </a:ext>
              </a:extLst>
            </p:cNvPr>
            <p:cNvSpPr txBox="1">
              <a:spLocks/>
            </p:cNvSpPr>
            <p:nvPr/>
          </p:nvSpPr>
          <p:spPr>
            <a:xfrm>
              <a:off x="2936168" y="192340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1400" i="0" u="none" strike="noStrike" kern="1200" cap="none" spc="0" normalizeH="0" baseline="0" noProof="0" dirty="0" err="1">
                  <a:ln>
                    <a:noFill/>
                  </a:ln>
                  <a:solidFill>
                    <a:schemeClr val="tx2"/>
                  </a:solidFill>
                  <a:effectLst/>
                  <a:uLnTx/>
                  <a:uFillTx/>
                  <a:latin typeface="+mj-lt"/>
                  <a:ea typeface="+mj-ea"/>
                  <a:cs typeface="+mj-cs"/>
                </a:rPr>
                <a:t>Analyst</a:t>
              </a:r>
              <a:endParaRPr kumimoji="0" lang="es-es" sz="1400" i="0" u="none" strike="noStrike" kern="1200" cap="none" spc="0" normalizeH="0" baseline="0" noProof="0" dirty="0">
                <a:ln>
                  <a:noFill/>
                </a:ln>
                <a:solidFill>
                  <a:schemeClr val="tx2"/>
                </a:solidFill>
                <a:effectLst/>
                <a:uLnTx/>
                <a:uFillTx/>
                <a:latin typeface="+mj-lt"/>
                <a:ea typeface="+mj-ea"/>
                <a:cs typeface="+mj-cs"/>
              </a:endParaRPr>
            </a:p>
          </p:txBody>
        </p:sp>
        <p:pic>
          <p:nvPicPr>
            <p:cNvPr id="164" name="Picture 163">
              <a:extLst>
                <a:ext uri="{FF2B5EF4-FFF2-40B4-BE49-F238E27FC236}">
                  <a16:creationId xmlns:a16="http://schemas.microsoft.com/office/drawing/2014/main" id="{00C39132-4647-7086-2CBE-0E4CC91A561E}"/>
                </a:ext>
                <a:ext uri="{C183D7F6-B498-43B3-948B-1728B52AA6E4}">
                  <adec:decorative xmlns:adec="http://schemas.microsoft.com/office/drawing/2017/decorative" val="1"/>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685976" y="1523949"/>
              <a:ext cx="329184" cy="329184"/>
            </a:xfrm>
            <a:prstGeom prst="rect">
              <a:avLst/>
            </a:prstGeom>
          </p:spPr>
        </p:pic>
        <p:sp>
          <p:nvSpPr>
            <p:cNvPr id="165" name="TextBox 164">
              <a:extLst>
                <a:ext uri="{FF2B5EF4-FFF2-40B4-BE49-F238E27FC236}">
                  <a16:creationId xmlns:a16="http://schemas.microsoft.com/office/drawing/2014/main" id="{64693868-688A-2B6F-080F-B15C5DB2BB91}"/>
                </a:ext>
              </a:extLst>
            </p:cNvPr>
            <p:cNvSpPr txBox="1"/>
            <p:nvPr/>
          </p:nvSpPr>
          <p:spPr>
            <a:xfrm>
              <a:off x="2936168"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chemeClr val="tx2"/>
                  </a:solidFill>
                  <a:effectLst/>
                  <a:uLnTx/>
                  <a:uFillTx/>
                </a:rPr>
                <a:t>Razonamiento avanzado</a:t>
              </a:r>
            </a:p>
          </p:txBody>
        </p:sp>
        <p:sp>
          <p:nvSpPr>
            <p:cNvPr id="166" name="TextBox 165">
              <a:extLst>
                <a:ext uri="{FF2B5EF4-FFF2-40B4-BE49-F238E27FC236}">
                  <a16:creationId xmlns:a16="http://schemas.microsoft.com/office/drawing/2014/main" id="{4DAE20BD-DA7F-5FDF-2E45-A42972F3BAF8}"/>
                </a:ext>
              </a:extLst>
            </p:cNvPr>
            <p:cNvSpPr txBox="1">
              <a:spLocks/>
            </p:cNvSpPr>
            <p:nvPr/>
          </p:nvSpPr>
          <p:spPr>
            <a:xfrm>
              <a:off x="2936168"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9">
                    <a:extLst>
                      <a:ext uri="{A12FA001-AC4F-418D-AE19-62706E023703}">
                        <ahyp:hlinkClr xmlns:ahyp="http://schemas.microsoft.com/office/drawing/2018/hyperlinkcolor" val="tx"/>
                      </a:ext>
                    </a:extLst>
                  </a:hlinkClick>
                </a:rPr>
                <a:t>Disponible de forma general</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167" name="Group 166">
            <a:extLst>
              <a:ext uri="{FF2B5EF4-FFF2-40B4-BE49-F238E27FC236}">
                <a16:creationId xmlns:a16="http://schemas.microsoft.com/office/drawing/2014/main" id="{C309F7D8-9D28-5E89-0A22-4D297C0B96A6}"/>
              </a:ext>
            </a:extLst>
          </p:cNvPr>
          <p:cNvGrpSpPr/>
          <p:nvPr/>
        </p:nvGrpSpPr>
        <p:grpSpPr>
          <a:xfrm>
            <a:off x="2936168" y="4395153"/>
            <a:ext cx="1828800" cy="1214804"/>
            <a:chOff x="2936168" y="4395153"/>
            <a:chExt cx="1828800" cy="1214804"/>
          </a:xfrm>
        </p:grpSpPr>
        <p:pic>
          <p:nvPicPr>
            <p:cNvPr id="168" name="Picture 167" descr="Un logotipo verde y blanco  El contenido generado por IA puede ser incorrecto.">
              <a:extLst>
                <a:ext uri="{FF2B5EF4-FFF2-40B4-BE49-F238E27FC236}">
                  <a16:creationId xmlns:a16="http://schemas.microsoft.com/office/drawing/2014/main" id="{722408D7-C038-D546-CA4C-E5DFD22887AC}"/>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3704264" y="4395153"/>
              <a:ext cx="292608" cy="292608"/>
            </a:xfrm>
            <a:prstGeom prst="rect">
              <a:avLst/>
            </a:prstGeom>
          </p:spPr>
        </p:pic>
        <p:sp>
          <p:nvSpPr>
            <p:cNvPr id="169" name="TextBox 168">
              <a:extLst>
                <a:ext uri="{FF2B5EF4-FFF2-40B4-BE49-F238E27FC236}">
                  <a16:creationId xmlns:a16="http://schemas.microsoft.com/office/drawing/2014/main" id="{B0B43061-0FDA-063D-D67F-7F414727FD09}"/>
                </a:ext>
              </a:extLst>
            </p:cNvPr>
            <p:cNvSpPr txBox="1">
              <a:spLocks/>
            </p:cNvSpPr>
            <p:nvPr/>
          </p:nvSpPr>
          <p:spPr>
            <a:xfrm>
              <a:off x="2936168" y="477965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1400" i="0" strike="noStrike" kern="1200" cap="none" spc="0" normalizeH="0" baseline="0" noProof="0">
                  <a:ln>
                    <a:noFill/>
                  </a:ln>
                  <a:solidFill>
                    <a:schemeClr val="tx2"/>
                  </a:solidFill>
                  <a:effectLst/>
                  <a:uLnTx/>
                  <a:uFillTx/>
                  <a:latin typeface="+mj-lt"/>
                  <a:ea typeface="+mj-ea"/>
                  <a:cs typeface="+mj-cs"/>
                </a:rPr>
                <a:t>Excel</a:t>
              </a:r>
            </a:p>
          </p:txBody>
        </p:sp>
        <p:sp>
          <p:nvSpPr>
            <p:cNvPr id="170" name="TextBox 169">
              <a:extLst>
                <a:ext uri="{FF2B5EF4-FFF2-40B4-BE49-F238E27FC236}">
                  <a16:creationId xmlns:a16="http://schemas.microsoft.com/office/drawing/2014/main" id="{CE926E78-A9C8-478E-3A34-46F76CC13AC9}"/>
                </a:ext>
              </a:extLst>
            </p:cNvPr>
            <p:cNvSpPr txBox="1"/>
            <p:nvPr/>
          </p:nvSpPr>
          <p:spPr>
            <a:xfrm>
              <a:off x="2936168"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50">
                  <a:solidFill>
                    <a:schemeClr val="tx2"/>
                  </a:solidFill>
                </a:rPr>
                <a:t>Visualizaciones de datos</a:t>
              </a:r>
              <a:br/>
              <a:r>
                <a:rPr lang="es-es" sz="1050">
                  <a:solidFill>
                    <a:schemeClr val="tx2"/>
                  </a:solidFill>
                </a:rPr>
                <a:t>e información</a:t>
              </a:r>
              <a:endParaRPr kumimoji="0" lang="en-US" sz="1050" b="0" i="0" u="none" strike="noStrike" kern="1200" cap="none" spc="0" normalizeH="0" baseline="0" noProof="0">
                <a:ln>
                  <a:noFill/>
                </a:ln>
                <a:solidFill>
                  <a:schemeClr val="tx2"/>
                </a:solidFill>
                <a:effectLst/>
                <a:uLnTx/>
                <a:uFillTx/>
              </a:endParaRPr>
            </a:p>
          </p:txBody>
        </p:sp>
        <p:sp>
          <p:nvSpPr>
            <p:cNvPr id="171" name="TextBox 170">
              <a:extLst>
                <a:ext uri="{FF2B5EF4-FFF2-40B4-BE49-F238E27FC236}">
                  <a16:creationId xmlns:a16="http://schemas.microsoft.com/office/drawing/2014/main" id="{E3C31775-95A0-2400-337C-77EC7333F8E9}"/>
                </a:ext>
              </a:extLst>
            </p:cNvPr>
            <p:cNvSpPr txBox="1">
              <a:spLocks/>
            </p:cNvSpPr>
            <p:nvPr/>
          </p:nvSpPr>
          <p:spPr>
            <a:xfrm>
              <a:off x="2936168" y="544068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Programa Frontier</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172" name="Group 171">
            <a:extLst>
              <a:ext uri="{FF2B5EF4-FFF2-40B4-BE49-F238E27FC236}">
                <a16:creationId xmlns:a16="http://schemas.microsoft.com/office/drawing/2014/main" id="{9966426B-AFAB-E58B-DC18-6CE08693463F}"/>
              </a:ext>
            </a:extLst>
          </p:cNvPr>
          <p:cNvGrpSpPr/>
          <p:nvPr/>
        </p:nvGrpSpPr>
        <p:grpSpPr>
          <a:xfrm>
            <a:off x="5181600" y="1527048"/>
            <a:ext cx="1828800" cy="1081993"/>
            <a:chOff x="5181600" y="1527048"/>
            <a:chExt cx="1828800" cy="1081993"/>
          </a:xfrm>
        </p:grpSpPr>
        <p:sp>
          <p:nvSpPr>
            <p:cNvPr id="173" name="TextBox 172">
              <a:extLst>
                <a:ext uri="{FF2B5EF4-FFF2-40B4-BE49-F238E27FC236}">
                  <a16:creationId xmlns:a16="http://schemas.microsoft.com/office/drawing/2014/main" id="{711B83CE-628B-53AA-C6D5-94D604D546EA}"/>
                </a:ext>
              </a:extLst>
            </p:cNvPr>
            <p:cNvSpPr txBox="1">
              <a:spLocks/>
            </p:cNvSpPr>
            <p:nvPr/>
          </p:nvSpPr>
          <p:spPr>
            <a:xfrm>
              <a:off x="5772193" y="1923401"/>
              <a:ext cx="647613"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 sz="1400">
                  <a:solidFill>
                    <a:schemeClr val="tx2"/>
                  </a:solidFill>
                  <a:latin typeface="+mj-lt"/>
                  <a:ea typeface="+mj-ea"/>
                  <a:cs typeface="+mj-cs"/>
                </a:rPr>
                <a:t>Encuestas</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174" name="TextBox 173">
              <a:extLst>
                <a:ext uri="{FF2B5EF4-FFF2-40B4-BE49-F238E27FC236}">
                  <a16:creationId xmlns:a16="http://schemas.microsoft.com/office/drawing/2014/main" id="{6A88E4F9-E200-6EBA-892A-E62B14F58ABB}"/>
                </a:ext>
              </a:extLst>
            </p:cNvPr>
            <p:cNvSpPr txBox="1"/>
            <p:nvPr/>
          </p:nvSpPr>
          <p:spPr>
            <a:xfrm>
              <a:off x="5181600" y="2110551"/>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chemeClr val="tx2"/>
                  </a:solidFill>
                  <a:effectLst/>
                  <a:uLnTx/>
                  <a:uFillTx/>
                </a:rPr>
                <a:t>Gestión de encuestas </a:t>
              </a:r>
              <a:br>
                <a:rPr kumimoji="0" lang="es-es" sz="1050" b="0" i="0" u="none" strike="noStrike" kern="1200" cap="none" spc="0" normalizeH="0" baseline="0" noProof="0">
                  <a:ln>
                    <a:noFill/>
                  </a:ln>
                  <a:solidFill>
                    <a:schemeClr val="tx2"/>
                  </a:solidFill>
                  <a:effectLst/>
                  <a:uLnTx/>
                  <a:uFillTx/>
                </a:rPr>
              </a:br>
              <a:r>
                <a:rPr kumimoji="0" lang="es-es" sz="1050" b="0" i="0" u="none" strike="noStrike" kern="1200" cap="none" spc="0" normalizeH="0" baseline="0" noProof="0">
                  <a:ln>
                    <a:noFill/>
                  </a:ln>
                  <a:solidFill>
                    <a:schemeClr val="tx2"/>
                  </a:solidFill>
                  <a:effectLst/>
                  <a:uLnTx/>
                  <a:uFillTx/>
                </a:rPr>
                <a:t>de principio a fin</a:t>
              </a:r>
            </a:p>
          </p:txBody>
        </p:sp>
        <p:pic>
          <p:nvPicPr>
            <p:cNvPr id="175" name="Picture 174" descr="Un logotipo con los colores del arco iris sobre un fondo negro  El contenido generado por IA puede ser incorrecto.">
              <a:extLst>
                <a:ext uri="{FF2B5EF4-FFF2-40B4-BE49-F238E27FC236}">
                  <a16:creationId xmlns:a16="http://schemas.microsoft.com/office/drawing/2014/main" id="{BD351A72-959A-F856-2818-1B7E2EDB8C9B}"/>
                </a:ext>
                <a:ext uri="{C183D7F6-B498-43B3-948B-1728B52AA6E4}">
                  <adec:decorative xmlns:adec="http://schemas.microsoft.com/office/drawing/2017/decorative" val="0"/>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931408" y="1527048"/>
              <a:ext cx="329184" cy="329184"/>
            </a:xfrm>
            <a:prstGeom prst="rect">
              <a:avLst/>
            </a:prstGeom>
          </p:spPr>
        </p:pic>
        <p:sp>
          <p:nvSpPr>
            <p:cNvPr id="176" name="TextBox 175">
              <a:extLst>
                <a:ext uri="{FF2B5EF4-FFF2-40B4-BE49-F238E27FC236}">
                  <a16:creationId xmlns:a16="http://schemas.microsoft.com/office/drawing/2014/main" id="{48D55167-4C3E-4793-FD42-5BC36F7B534D}"/>
                </a:ext>
              </a:extLst>
            </p:cNvPr>
            <p:cNvSpPr txBox="1">
              <a:spLocks/>
            </p:cNvSpPr>
            <p:nvPr/>
          </p:nvSpPr>
          <p:spPr>
            <a:xfrm>
              <a:off x="5181600" y="2439764"/>
              <a:ext cx="1828800" cy="169277"/>
            </a:xfrm>
            <a:prstGeom prst="rect">
              <a:avLst/>
            </a:prstGeom>
            <a:noFill/>
          </p:spPr>
          <p:txBody>
            <a:bodyPr wrap="square" lIns="0" tIns="0" rIns="0" bIns="0" anchor="ctr">
              <a:spAutoFit/>
            </a:bodyPr>
            <a:lstStyle/>
            <a:p>
              <a:pPr algn="ctr">
                <a:defRPr/>
              </a:pPr>
              <a:r>
                <a:rPr lang="es-es" sz="1100">
                  <a:solidFill>
                    <a:schemeClr val="accent1"/>
                  </a:solidFill>
                  <a:ea typeface="+mj-ea"/>
                  <a:cs typeface="+mj-cs"/>
                  <a:hlinkClick r:id="rId12">
                    <a:extLst>
                      <a:ext uri="{A12FA001-AC4F-418D-AE19-62706E023703}">
                        <ahyp:hlinkClr xmlns:ahyp="http://schemas.microsoft.com/office/drawing/2018/hyperlinkcolor" val="tx"/>
                      </a:ext>
                    </a:extLst>
                  </a:hlinkClick>
                </a:rPr>
                <a:t>Disponible de forma general</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177" name="Group 176">
            <a:extLst>
              <a:ext uri="{FF2B5EF4-FFF2-40B4-BE49-F238E27FC236}">
                <a16:creationId xmlns:a16="http://schemas.microsoft.com/office/drawing/2014/main" id="{393830C0-C736-69C3-107C-0759D5A7DD67}"/>
              </a:ext>
            </a:extLst>
          </p:cNvPr>
          <p:cNvGrpSpPr/>
          <p:nvPr/>
        </p:nvGrpSpPr>
        <p:grpSpPr>
          <a:xfrm>
            <a:off x="5181600" y="4395153"/>
            <a:ext cx="1828800" cy="1214804"/>
            <a:chOff x="5181600" y="4395153"/>
            <a:chExt cx="1828800" cy="1214804"/>
          </a:xfrm>
        </p:grpSpPr>
        <p:pic>
          <p:nvPicPr>
            <p:cNvPr id="178" name="Picture 177" descr="Un logotipo con la letra p  El contenido generado por IA puede ser incorrecto.">
              <a:extLst>
                <a:ext uri="{FF2B5EF4-FFF2-40B4-BE49-F238E27FC236}">
                  <a16:creationId xmlns:a16="http://schemas.microsoft.com/office/drawing/2014/main" id="{17952E2F-5714-1A5F-11F9-08CB656D0C17}"/>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949696" y="4395153"/>
              <a:ext cx="292608" cy="292608"/>
            </a:xfrm>
            <a:prstGeom prst="rect">
              <a:avLst/>
            </a:prstGeom>
          </p:spPr>
        </p:pic>
        <p:sp>
          <p:nvSpPr>
            <p:cNvPr id="179" name="TextBox 178">
              <a:extLst>
                <a:ext uri="{FF2B5EF4-FFF2-40B4-BE49-F238E27FC236}">
                  <a16:creationId xmlns:a16="http://schemas.microsoft.com/office/drawing/2014/main" id="{1E740E02-54BD-979E-413A-56DD77FD65E4}"/>
                </a:ext>
              </a:extLst>
            </p:cNvPr>
            <p:cNvSpPr txBox="1">
              <a:spLocks/>
            </p:cNvSpPr>
            <p:nvPr/>
          </p:nvSpPr>
          <p:spPr>
            <a:xfrm>
              <a:off x="5626833" y="4779651"/>
              <a:ext cx="938334" cy="215893"/>
            </a:xfrm>
            <a:prstGeom prst="rect">
              <a:avLst/>
            </a:prstGeom>
            <a:noFill/>
          </p:spPr>
          <p:txBody>
            <a:bodyPr wrap="none" lIns="0" tIns="0" rIns="0" bIns="0" rtlCol="0" anchor="ctr">
              <a:spAutoFit/>
            </a:bodyPr>
            <a:lstStyle/>
            <a:p>
              <a:pPr algn="ctr">
                <a:lnSpc>
                  <a:spcPct val="110000"/>
                </a:lnSpc>
                <a:defRPr/>
              </a:pPr>
              <a:r>
                <a:rPr lang="es-es" sz="1400">
                  <a:solidFill>
                    <a:schemeClr val="tx2"/>
                  </a:solidFill>
                  <a:latin typeface="+mj-lt"/>
                  <a:ea typeface="+mj-ea"/>
                  <a:cs typeface="+mj-cs"/>
                </a:rPr>
                <a:t>PowerPoint</a:t>
              </a:r>
            </a:p>
          </p:txBody>
        </p:sp>
        <p:sp>
          <p:nvSpPr>
            <p:cNvPr id="180" name="TextBox 179">
              <a:extLst>
                <a:ext uri="{FF2B5EF4-FFF2-40B4-BE49-F238E27FC236}">
                  <a16:creationId xmlns:a16="http://schemas.microsoft.com/office/drawing/2014/main" id="{66CC2A96-87E3-5797-5E82-FCBE121231CD}"/>
                </a:ext>
              </a:extLst>
            </p:cNvPr>
            <p:cNvSpPr txBox="1"/>
            <p:nvPr/>
          </p:nvSpPr>
          <p:spPr>
            <a:xfrm>
              <a:off x="5181600"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chemeClr val="tx2"/>
                  </a:solidFill>
                  <a:effectLst/>
                  <a:uLnTx/>
                  <a:uFillTx/>
                </a:rPr>
                <a:t>Crea y revisa presentaciones</a:t>
              </a:r>
            </a:p>
          </p:txBody>
        </p:sp>
        <p:sp>
          <p:nvSpPr>
            <p:cNvPr id="181" name="TextBox 180">
              <a:extLst>
                <a:ext uri="{FF2B5EF4-FFF2-40B4-BE49-F238E27FC236}">
                  <a16:creationId xmlns:a16="http://schemas.microsoft.com/office/drawing/2014/main" id="{AFF48B74-CE4A-9301-14D4-751D7376BBAF}"/>
                </a:ext>
              </a:extLst>
            </p:cNvPr>
            <p:cNvSpPr txBox="1">
              <a:spLocks/>
            </p:cNvSpPr>
            <p:nvPr/>
          </p:nvSpPr>
          <p:spPr>
            <a:xfrm>
              <a:off x="5181600" y="544068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Programa Frontier</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182" name="Group 181">
            <a:extLst>
              <a:ext uri="{FF2B5EF4-FFF2-40B4-BE49-F238E27FC236}">
                <a16:creationId xmlns:a16="http://schemas.microsoft.com/office/drawing/2014/main" id="{EF25A64A-77B3-E087-EFFF-33C7DFF55450}"/>
              </a:ext>
            </a:extLst>
          </p:cNvPr>
          <p:cNvGrpSpPr/>
          <p:nvPr/>
        </p:nvGrpSpPr>
        <p:grpSpPr>
          <a:xfrm>
            <a:off x="5181600" y="2969737"/>
            <a:ext cx="1828800" cy="1040233"/>
            <a:chOff x="5181600" y="2969737"/>
            <a:chExt cx="1828800" cy="1040233"/>
          </a:xfrm>
        </p:grpSpPr>
        <p:pic>
          <p:nvPicPr>
            <p:cNvPr id="183" name="Picture 182">
              <a:extLst>
                <a:ext uri="{FF2B5EF4-FFF2-40B4-BE49-F238E27FC236}">
                  <a16:creationId xmlns:a16="http://schemas.microsoft.com/office/drawing/2014/main" id="{183A5EDD-444D-BDCE-A31A-CE16A14817EA}"/>
                </a:ext>
                <a:ext uri="{C183D7F6-B498-43B3-948B-1728B52AA6E4}">
                  <adec:decorative xmlns:adec="http://schemas.microsoft.com/office/drawing/2017/decorative" val="1"/>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5935980" y="2969737"/>
              <a:ext cx="320040" cy="320040"/>
            </a:xfrm>
            <a:prstGeom prst="rect">
              <a:avLst/>
            </a:prstGeom>
          </p:spPr>
        </p:pic>
        <p:sp>
          <p:nvSpPr>
            <p:cNvPr id="184" name="TextBox 183">
              <a:extLst>
                <a:ext uri="{FF2B5EF4-FFF2-40B4-BE49-F238E27FC236}">
                  <a16:creationId xmlns:a16="http://schemas.microsoft.com/office/drawing/2014/main" id="{A19FC5B6-D9DD-01E1-EE68-DBA9997D6EC2}"/>
                </a:ext>
              </a:extLst>
            </p:cNvPr>
            <p:cNvSpPr txBox="1"/>
            <p:nvPr/>
          </p:nvSpPr>
          <p:spPr>
            <a:xfrm>
              <a:off x="5181600" y="3556677"/>
              <a:ext cx="1828800" cy="300595"/>
            </a:xfrm>
            <a:prstGeom prst="rect">
              <a:avLst/>
            </a:prstGeom>
            <a:noFill/>
          </p:spPr>
          <p:txBody>
            <a:bodyPr wrap="square" lIns="0" tIns="0" rIns="0" bIns="0" anchor="ctr">
              <a:sp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s-es" sz="1050" b="0" i="0" u="none" strike="noStrike" kern="1200" cap="none" spc="0" normalizeH="0" baseline="0" noProof="0">
                  <a:ln>
                    <a:noFill/>
                  </a:ln>
                  <a:solidFill>
                    <a:schemeClr val="tx2"/>
                  </a:solidFill>
                  <a:effectLst/>
                  <a:uLnTx/>
                  <a:uFillTx/>
                </a:rPr>
                <a:t>Automatiza la gestión </a:t>
              </a:r>
              <a:br>
                <a:rPr kumimoji="0" lang="es-es" sz="1050" b="0" i="0" u="none" strike="noStrike" kern="1200" cap="none" spc="0" normalizeH="0" baseline="0" noProof="0">
                  <a:ln>
                    <a:noFill/>
                  </a:ln>
                  <a:solidFill>
                    <a:schemeClr val="tx2"/>
                  </a:solidFill>
                  <a:effectLst/>
                  <a:uLnTx/>
                  <a:uFillTx/>
                </a:rPr>
              </a:br>
              <a:r>
                <a:rPr kumimoji="0" lang="es-es" sz="1050" b="0" i="0" u="none" strike="noStrike" kern="1200" cap="none" spc="0" normalizeH="0" baseline="0" noProof="0">
                  <a:ln>
                    <a:noFill/>
                  </a:ln>
                  <a:solidFill>
                    <a:schemeClr val="tx2"/>
                  </a:solidFill>
                  <a:effectLst/>
                  <a:uLnTx/>
                  <a:uFillTx/>
                </a:rPr>
                <a:t>de proyectos</a:t>
              </a:r>
            </a:p>
          </p:txBody>
        </p:sp>
        <p:sp>
          <p:nvSpPr>
            <p:cNvPr id="185" name="TextBox 184">
              <a:extLst>
                <a:ext uri="{FF2B5EF4-FFF2-40B4-BE49-F238E27FC236}">
                  <a16:creationId xmlns:a16="http://schemas.microsoft.com/office/drawing/2014/main" id="{EDC71974-7C6A-4414-A2A6-7E182B8A3F17}"/>
                </a:ext>
              </a:extLst>
            </p:cNvPr>
            <p:cNvSpPr txBox="1">
              <a:spLocks/>
            </p:cNvSpPr>
            <p:nvPr/>
          </p:nvSpPr>
          <p:spPr>
            <a:xfrm>
              <a:off x="5181600"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15">
                    <a:extLst>
                      <a:ext uri="{A12FA001-AC4F-418D-AE19-62706E023703}">
                        <ahyp:hlinkClr xmlns:ahyp="http://schemas.microsoft.com/office/drawing/2018/hyperlinkcolor" val="tx"/>
                      </a:ext>
                    </a:extLst>
                  </a:hlinkClick>
                </a:rPr>
                <a:t>Versión preliminar pública</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186" name="TextBox 185">
              <a:extLst>
                <a:ext uri="{FF2B5EF4-FFF2-40B4-BE49-F238E27FC236}">
                  <a16:creationId xmlns:a16="http://schemas.microsoft.com/office/drawing/2014/main" id="{DF6734C9-6248-CBAF-E22D-491884988E22}"/>
                </a:ext>
              </a:extLst>
            </p:cNvPr>
            <p:cNvSpPr txBox="1">
              <a:spLocks/>
            </p:cNvSpPr>
            <p:nvPr/>
          </p:nvSpPr>
          <p:spPr>
            <a:xfrm>
              <a:off x="5421937" y="3328642"/>
              <a:ext cx="1348125" cy="221023"/>
            </a:xfrm>
            <a:prstGeom prst="rect">
              <a:avLst/>
            </a:prstGeom>
            <a:noFill/>
          </p:spPr>
          <p:txBody>
            <a:bodyPr wrap="none" lIns="0" tIns="0" rIns="0" bIns="0" rtlCol="0" anchor="ctr">
              <a:spAutoFit/>
            </a:bodyPr>
            <a:lstStyle/>
            <a:p>
              <a:pPr algn="ctr">
                <a:lnSpc>
                  <a:spcPct val="110000"/>
                </a:lnSpc>
                <a:defRPr/>
              </a:pPr>
              <a:r>
                <a:rPr lang="es-es" sz="1400">
                  <a:solidFill>
                    <a:schemeClr val="tx2"/>
                  </a:solidFill>
                  <a:latin typeface="+mj-lt"/>
                  <a:ea typeface="+mj-ea"/>
                  <a:cs typeface="+mj-cs"/>
                </a:rPr>
                <a:t>Gerente de proyectos</a:t>
              </a:r>
            </a:p>
          </p:txBody>
        </p:sp>
      </p:grpSp>
      <p:grpSp>
        <p:nvGrpSpPr>
          <p:cNvPr id="187" name="Group 186">
            <a:extLst>
              <a:ext uri="{FF2B5EF4-FFF2-40B4-BE49-F238E27FC236}">
                <a16:creationId xmlns:a16="http://schemas.microsoft.com/office/drawing/2014/main" id="{D5CB2954-1462-5AC8-4B28-83F66A8A0473}"/>
              </a:ext>
            </a:extLst>
          </p:cNvPr>
          <p:cNvGrpSpPr/>
          <p:nvPr/>
        </p:nvGrpSpPr>
        <p:grpSpPr>
          <a:xfrm>
            <a:off x="690734" y="2935629"/>
            <a:ext cx="1828800" cy="1074341"/>
            <a:chOff x="690734" y="2935629"/>
            <a:chExt cx="1828800" cy="1074341"/>
          </a:xfrm>
        </p:grpSpPr>
        <p:sp>
          <p:nvSpPr>
            <p:cNvPr id="188" name="TextBox 187">
              <a:extLst>
                <a:ext uri="{FF2B5EF4-FFF2-40B4-BE49-F238E27FC236}">
                  <a16:creationId xmlns:a16="http://schemas.microsoft.com/office/drawing/2014/main" id="{7CB48622-5B77-0A9D-1290-839A3A69737C}"/>
                </a:ext>
              </a:extLst>
            </p:cNvPr>
            <p:cNvSpPr txBox="1">
              <a:spLocks/>
            </p:cNvSpPr>
            <p:nvPr/>
          </p:nvSpPr>
          <p:spPr>
            <a:xfrm>
              <a:off x="1149881" y="3328642"/>
              <a:ext cx="910506"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 sz="1400">
                  <a:solidFill>
                    <a:schemeClr val="tx2"/>
                  </a:solidFill>
                  <a:latin typeface="+mj-lt"/>
                  <a:ea typeface="+mj-ea"/>
                  <a:cs typeface="+mj-cs"/>
                </a:rPr>
                <a:t>Conocimientos</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189" name="TextBox 188">
              <a:extLst>
                <a:ext uri="{FF2B5EF4-FFF2-40B4-BE49-F238E27FC236}">
                  <a16:creationId xmlns:a16="http://schemas.microsoft.com/office/drawing/2014/main" id="{5561FC71-8603-A033-953F-7C236C00AA61}"/>
                </a:ext>
              </a:extLst>
            </p:cNvPr>
            <p:cNvSpPr txBox="1">
              <a:spLocks/>
            </p:cNvSpPr>
            <p:nvPr/>
          </p:nvSpPr>
          <p:spPr>
            <a:xfrm>
              <a:off x="690734"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16">
                    <a:extLst>
                      <a:ext uri="{A12FA001-AC4F-418D-AE19-62706E023703}">
                        <ahyp:hlinkClr xmlns:ahyp="http://schemas.microsoft.com/office/drawing/2018/hyperlinkcolor" val="tx"/>
                      </a:ext>
                    </a:extLst>
                  </a:hlinkClick>
                </a:rPr>
                <a:t>Versión preliminar pública</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190" name="TextBox 189">
              <a:extLst>
                <a:ext uri="{FF2B5EF4-FFF2-40B4-BE49-F238E27FC236}">
                  <a16:creationId xmlns:a16="http://schemas.microsoft.com/office/drawing/2014/main" id="{0DA76D48-E62F-7F0E-FC40-890D5B8A3C6B}"/>
                </a:ext>
              </a:extLst>
            </p:cNvPr>
            <p:cNvSpPr txBox="1"/>
            <p:nvPr/>
          </p:nvSpPr>
          <p:spPr>
            <a:xfrm>
              <a:off x="690734" y="3536053"/>
              <a:ext cx="1828800" cy="307007"/>
            </a:xfrm>
            <a:prstGeom prst="rect">
              <a:avLst/>
            </a:prstGeom>
            <a:noFill/>
          </p:spPr>
          <p:txBody>
            <a:bodyPr wrap="square" lIns="0" tIns="0" rIns="0" bIns="0" anchor="ctr">
              <a:sp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s-es" sz="1050" b="0" i="0" u="none" strike="noStrike" kern="1200" cap="none" spc="0" normalizeH="0" baseline="0" noProof="0">
                  <a:ln>
                    <a:noFill/>
                  </a:ln>
                  <a:solidFill>
                    <a:schemeClr val="tx2"/>
                  </a:solidFill>
                  <a:effectLst/>
                  <a:uLnTx/>
                  <a:uFillTx/>
                </a:rPr>
                <a:t>Gestión de contenido </a:t>
              </a:r>
              <a:br>
                <a:rPr kumimoji="0" lang="es-es" sz="1050" b="0" i="0" u="none" strike="noStrike" kern="1200" cap="none" spc="0" normalizeH="0" baseline="0" noProof="0">
                  <a:ln>
                    <a:noFill/>
                  </a:ln>
                  <a:solidFill>
                    <a:schemeClr val="tx2"/>
                  </a:solidFill>
                  <a:effectLst/>
                  <a:uLnTx/>
                  <a:uFillTx/>
                </a:rPr>
              </a:br>
              <a:r>
                <a:rPr lang="es-es" sz="1050">
                  <a:solidFill>
                    <a:schemeClr val="tx2"/>
                  </a:solidFill>
                </a:rPr>
                <a:t>y organización</a:t>
              </a:r>
              <a:endParaRPr kumimoji="0" lang="en-US" sz="1050" b="0" i="0" u="none" strike="noStrike" kern="1200" cap="none" spc="0" normalizeH="0" baseline="0" noProof="0">
                <a:ln>
                  <a:noFill/>
                </a:ln>
                <a:solidFill>
                  <a:schemeClr val="tx2"/>
                </a:solidFill>
                <a:effectLst/>
                <a:uLnTx/>
                <a:uFillTx/>
              </a:endParaRPr>
            </a:p>
          </p:txBody>
        </p:sp>
        <p:pic>
          <p:nvPicPr>
            <p:cNvPr id="191" name="Picture 10" descr="Descarga el logotipo de Microsoft SharePoint en formato vectorial SVG o archivo PNG - Logo.wine">
              <a:extLst>
                <a:ext uri="{FF2B5EF4-FFF2-40B4-BE49-F238E27FC236}">
                  <a16:creationId xmlns:a16="http://schemas.microsoft.com/office/drawing/2014/main" id="{9387A4B2-0175-AD3F-0FA8-BD50480C09B9}"/>
                </a:ext>
              </a:extLst>
            </p:cNvPr>
            <p:cNvPicPr>
              <a:picLocks noChangeAspect="1" noChangeArrowheads="1"/>
            </p:cNvPicPr>
            <p:nvPr/>
          </p:nvPicPr>
          <p:blipFill>
            <a:blip r:embed="rId17" cstate="hqprint">
              <a:extLst>
                <a:ext uri="{28A0092B-C50C-407E-A947-70E740481C1C}">
                  <a14:useLocalDpi xmlns:a14="http://schemas.microsoft.com/office/drawing/2010/main"/>
                </a:ext>
              </a:extLst>
            </a:blip>
            <a:srcRect/>
            <a:stretch>
              <a:fillRect/>
            </a:stretch>
          </p:blipFill>
          <p:spPr bwMode="auto">
            <a:xfrm>
              <a:off x="1285094" y="2935629"/>
              <a:ext cx="640080" cy="4267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2" name="Group 191">
            <a:extLst>
              <a:ext uri="{FF2B5EF4-FFF2-40B4-BE49-F238E27FC236}">
                <a16:creationId xmlns:a16="http://schemas.microsoft.com/office/drawing/2014/main" id="{234B8F6B-DFD8-930D-D8DA-70A65AC116BE}"/>
              </a:ext>
            </a:extLst>
          </p:cNvPr>
          <p:cNvGrpSpPr/>
          <p:nvPr/>
        </p:nvGrpSpPr>
        <p:grpSpPr>
          <a:xfrm>
            <a:off x="690734" y="1527048"/>
            <a:ext cx="1828800" cy="1081993"/>
            <a:chOff x="690734" y="1527048"/>
            <a:chExt cx="1828800" cy="1081993"/>
          </a:xfrm>
        </p:grpSpPr>
        <p:sp>
          <p:nvSpPr>
            <p:cNvPr id="193" name="TextBox 192">
              <a:extLst>
                <a:ext uri="{FF2B5EF4-FFF2-40B4-BE49-F238E27FC236}">
                  <a16:creationId xmlns:a16="http://schemas.microsoft.com/office/drawing/2014/main" id="{C0FC7914-3D58-BD4E-8D01-4A5FF220C5B8}"/>
                </a:ext>
              </a:extLst>
            </p:cNvPr>
            <p:cNvSpPr txBox="1">
              <a:spLocks/>
            </p:cNvSpPr>
            <p:nvPr/>
          </p:nvSpPr>
          <p:spPr>
            <a:xfrm>
              <a:off x="690734" y="1925966"/>
              <a:ext cx="1828800" cy="21589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 sz="1400" dirty="0" err="1">
                  <a:solidFill>
                    <a:schemeClr val="tx2"/>
                  </a:solidFill>
                  <a:latin typeface="+mj-lt"/>
                  <a:ea typeface="+mj-ea"/>
                  <a:cs typeface="+mj-cs"/>
                </a:rPr>
                <a:t>Researcher</a:t>
              </a:r>
              <a:endParaRPr kumimoji="0" lang="es-es" sz="1400" i="0" strike="noStrike" kern="1200" cap="none" spc="0" normalizeH="0" baseline="0" noProof="0" dirty="0">
                <a:ln>
                  <a:noFill/>
                </a:ln>
                <a:solidFill>
                  <a:schemeClr val="tx2"/>
                </a:solidFill>
                <a:effectLst/>
                <a:uLnTx/>
                <a:uFillTx/>
                <a:latin typeface="+mj-lt"/>
                <a:ea typeface="+mj-ea"/>
                <a:cs typeface="+mj-cs"/>
              </a:endParaRPr>
            </a:p>
          </p:txBody>
        </p:sp>
        <p:pic>
          <p:nvPicPr>
            <p:cNvPr id="194" name="Picture 193">
              <a:extLst>
                <a:ext uri="{FF2B5EF4-FFF2-40B4-BE49-F238E27FC236}">
                  <a16:creationId xmlns:a16="http://schemas.microsoft.com/office/drawing/2014/main" id="{7AC77232-5DC5-740F-C504-C69019786B17}"/>
                </a:ext>
                <a:ext uri="{C183D7F6-B498-43B3-948B-1728B52AA6E4}">
                  <adec:decorative xmlns:adec="http://schemas.microsoft.com/office/drawing/2017/decorative" val="1"/>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440542" y="1527048"/>
              <a:ext cx="329184" cy="329184"/>
            </a:xfrm>
            <a:prstGeom prst="rect">
              <a:avLst/>
            </a:prstGeom>
          </p:spPr>
        </p:pic>
        <p:sp>
          <p:nvSpPr>
            <p:cNvPr id="195" name="TextBox 194">
              <a:extLst>
                <a:ext uri="{FF2B5EF4-FFF2-40B4-BE49-F238E27FC236}">
                  <a16:creationId xmlns:a16="http://schemas.microsoft.com/office/drawing/2014/main" id="{860E1EB8-0A75-5E20-98D7-5297A0CD05D1}"/>
                </a:ext>
              </a:extLst>
            </p:cNvPr>
            <p:cNvSpPr txBox="1"/>
            <p:nvPr/>
          </p:nvSpPr>
          <p:spPr>
            <a:xfrm>
              <a:off x="690734"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chemeClr val="tx2"/>
                  </a:solidFill>
                  <a:effectLst/>
                  <a:uLnTx/>
                  <a:uFillTx/>
                </a:rPr>
                <a:t>Razonamiento avanzado</a:t>
              </a:r>
            </a:p>
          </p:txBody>
        </p:sp>
        <p:sp>
          <p:nvSpPr>
            <p:cNvPr id="196" name="TextBox 195">
              <a:extLst>
                <a:ext uri="{FF2B5EF4-FFF2-40B4-BE49-F238E27FC236}">
                  <a16:creationId xmlns:a16="http://schemas.microsoft.com/office/drawing/2014/main" id="{E3B9DE3E-F629-02A2-D8AD-B33037D54546}"/>
                </a:ext>
              </a:extLst>
            </p:cNvPr>
            <p:cNvSpPr txBox="1"/>
            <p:nvPr/>
          </p:nvSpPr>
          <p:spPr>
            <a:xfrm>
              <a:off x="690734"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18">
                    <a:extLst>
                      <a:ext uri="{A12FA001-AC4F-418D-AE19-62706E023703}">
                        <ahyp:hlinkClr xmlns:ahyp="http://schemas.microsoft.com/office/drawing/2018/hyperlinkcolor" val="tx"/>
                      </a:ext>
                    </a:extLst>
                  </a:hlinkClick>
                </a:rPr>
                <a:t>Disponible de forma general</a:t>
              </a:r>
              <a:endParaRPr kumimoji="0" lang="en-US" sz="1100" i="0" u="none" strike="noStrike" kern="1200" cap="none" spc="0" normalizeH="0" baseline="0" noProof="0">
                <a:ln>
                  <a:noFill/>
                </a:ln>
                <a:solidFill>
                  <a:schemeClr val="accent1"/>
                </a:solidFill>
                <a:effectLst/>
                <a:uLnTx/>
                <a:uFillTx/>
                <a:ea typeface="+mj-ea"/>
                <a:cs typeface="+mj-cs"/>
              </a:endParaRPr>
            </a:p>
          </p:txBody>
        </p:sp>
      </p:grpSp>
      <p:grpSp>
        <p:nvGrpSpPr>
          <p:cNvPr id="197" name="Group 196">
            <a:extLst>
              <a:ext uri="{FF2B5EF4-FFF2-40B4-BE49-F238E27FC236}">
                <a16:creationId xmlns:a16="http://schemas.microsoft.com/office/drawing/2014/main" id="{0F80FA0C-1E06-583D-B4CB-70D649A56F7D}"/>
              </a:ext>
            </a:extLst>
          </p:cNvPr>
          <p:cNvGrpSpPr/>
          <p:nvPr/>
        </p:nvGrpSpPr>
        <p:grpSpPr>
          <a:xfrm>
            <a:off x="690734" y="4395153"/>
            <a:ext cx="1828800" cy="1218297"/>
            <a:chOff x="690734" y="4395153"/>
            <a:chExt cx="1828800" cy="1218297"/>
          </a:xfrm>
        </p:grpSpPr>
        <p:sp>
          <p:nvSpPr>
            <p:cNvPr id="198" name="TextBox 197">
              <a:extLst>
                <a:ext uri="{FF2B5EF4-FFF2-40B4-BE49-F238E27FC236}">
                  <a16:creationId xmlns:a16="http://schemas.microsoft.com/office/drawing/2014/main" id="{9692CC0E-BF54-9D60-D64E-FD7F9054435F}"/>
                </a:ext>
              </a:extLst>
            </p:cNvPr>
            <p:cNvSpPr txBox="1">
              <a:spLocks/>
            </p:cNvSpPr>
            <p:nvPr/>
          </p:nvSpPr>
          <p:spPr>
            <a:xfrm>
              <a:off x="690734" y="4779651"/>
              <a:ext cx="1828800" cy="2210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1400" i="0" strike="noStrike" kern="1200" cap="none" spc="0" normalizeH="0" baseline="0" noProof="0">
                  <a:ln>
                    <a:noFill/>
                  </a:ln>
                  <a:solidFill>
                    <a:schemeClr val="tx2"/>
                  </a:solidFill>
                  <a:effectLst/>
                  <a:uLnTx/>
                  <a:uFillTx/>
                  <a:latin typeface="+mj-lt"/>
                  <a:ea typeface="+mj-ea"/>
                  <a:cs typeface="+mj-cs"/>
                </a:rPr>
                <a:t>Word</a:t>
              </a:r>
            </a:p>
          </p:txBody>
        </p:sp>
        <p:sp>
          <p:nvSpPr>
            <p:cNvPr id="199" name="TextBox 198">
              <a:extLst>
                <a:ext uri="{FF2B5EF4-FFF2-40B4-BE49-F238E27FC236}">
                  <a16:creationId xmlns:a16="http://schemas.microsoft.com/office/drawing/2014/main" id="{1235A5E3-6EAC-1C9B-DD26-5B70104DCD52}"/>
                </a:ext>
              </a:extLst>
            </p:cNvPr>
            <p:cNvSpPr txBox="1"/>
            <p:nvPr/>
          </p:nvSpPr>
          <p:spPr>
            <a:xfrm>
              <a:off x="690734"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chemeClr val="tx2"/>
                  </a:solidFill>
                  <a:effectLst/>
                  <a:uLnTx/>
                  <a:uFillTx/>
                </a:rPr>
                <a:t>Creación y revisión </a:t>
              </a:r>
              <a:br>
                <a:rPr kumimoji="0" lang="es-es" sz="1050" b="0" i="0" u="none" strike="noStrike" kern="1200" cap="none" spc="0" normalizeH="0" baseline="0" noProof="0">
                  <a:ln>
                    <a:noFill/>
                  </a:ln>
                  <a:solidFill>
                    <a:schemeClr val="tx2"/>
                  </a:solidFill>
                  <a:effectLst/>
                  <a:uLnTx/>
                  <a:uFillTx/>
                </a:rPr>
              </a:br>
              <a:r>
                <a:rPr kumimoji="0" lang="es-es" sz="1050" b="0" i="0" u="none" strike="noStrike" kern="1200" cap="none" spc="0" normalizeH="0" baseline="0" noProof="0">
                  <a:ln>
                    <a:noFill/>
                  </a:ln>
                  <a:solidFill>
                    <a:schemeClr val="tx2"/>
                  </a:solidFill>
                  <a:effectLst/>
                  <a:uLnTx/>
                  <a:uFillTx/>
                </a:rPr>
                <a:t>de documentos</a:t>
              </a:r>
            </a:p>
          </p:txBody>
        </p:sp>
        <p:sp>
          <p:nvSpPr>
            <p:cNvPr id="200" name="TextBox 199">
              <a:extLst>
                <a:ext uri="{FF2B5EF4-FFF2-40B4-BE49-F238E27FC236}">
                  <a16:creationId xmlns:a16="http://schemas.microsoft.com/office/drawing/2014/main" id="{81EC48EC-4F38-C37A-7ADC-E4807CFDA233}"/>
                </a:ext>
              </a:extLst>
            </p:cNvPr>
            <p:cNvSpPr txBox="1">
              <a:spLocks/>
            </p:cNvSpPr>
            <p:nvPr/>
          </p:nvSpPr>
          <p:spPr>
            <a:xfrm>
              <a:off x="690734" y="544417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Programa Frontier</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201" name="Picture 200" descr="Un logotipo con un fondo negro  El contenido generado por IA puede ser incorrecto.">
              <a:extLst>
                <a:ext uri="{FF2B5EF4-FFF2-40B4-BE49-F238E27FC236}">
                  <a16:creationId xmlns:a16="http://schemas.microsoft.com/office/drawing/2014/main" id="{E1F0E643-24C4-A2CC-75B9-0F285473999E}"/>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1458831" y="4395153"/>
              <a:ext cx="292608" cy="292608"/>
            </a:xfrm>
            <a:prstGeom prst="rect">
              <a:avLst/>
            </a:prstGeom>
          </p:spPr>
        </p:pic>
      </p:grpSp>
      <p:grpSp>
        <p:nvGrpSpPr>
          <p:cNvPr id="202" name="Group 201">
            <a:extLst>
              <a:ext uri="{FF2B5EF4-FFF2-40B4-BE49-F238E27FC236}">
                <a16:creationId xmlns:a16="http://schemas.microsoft.com/office/drawing/2014/main" id="{4A7C4619-9A74-3F0C-7236-FCA21E3AD67B}"/>
              </a:ext>
            </a:extLst>
          </p:cNvPr>
          <p:cNvGrpSpPr/>
          <p:nvPr/>
        </p:nvGrpSpPr>
        <p:grpSpPr>
          <a:xfrm>
            <a:off x="7427033" y="3009580"/>
            <a:ext cx="1828800" cy="1000390"/>
            <a:chOff x="7427033" y="3009580"/>
            <a:chExt cx="1828800" cy="1000390"/>
          </a:xfrm>
        </p:grpSpPr>
        <p:sp>
          <p:nvSpPr>
            <p:cNvPr id="203" name="TextBox 202">
              <a:extLst>
                <a:ext uri="{FF2B5EF4-FFF2-40B4-BE49-F238E27FC236}">
                  <a16:creationId xmlns:a16="http://schemas.microsoft.com/office/drawing/2014/main" id="{B0435A3E-01C3-7E44-7118-A36FDA4EE921}"/>
                </a:ext>
              </a:extLst>
            </p:cNvPr>
            <p:cNvSpPr txBox="1">
              <a:spLocks/>
            </p:cNvSpPr>
            <p:nvPr/>
          </p:nvSpPr>
          <p:spPr>
            <a:xfrm>
              <a:off x="7427033"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20">
                    <a:extLst>
                      <a:ext uri="{A12FA001-AC4F-418D-AE19-62706E023703}">
                        <ahyp:hlinkClr xmlns:ahyp="http://schemas.microsoft.com/office/drawing/2018/hyperlinkcolor" val="tx"/>
                      </a:ext>
                    </a:extLst>
                  </a:hlinkClick>
                </a:rPr>
                <a:t>Versión preliminar pública</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204" name="TextBox 203">
              <a:extLst>
                <a:ext uri="{FF2B5EF4-FFF2-40B4-BE49-F238E27FC236}">
                  <a16:creationId xmlns:a16="http://schemas.microsoft.com/office/drawing/2014/main" id="{675E6663-D6CA-AAAB-6AC1-26BEFCE8F7C0}"/>
                </a:ext>
              </a:extLst>
            </p:cNvPr>
            <p:cNvSpPr txBox="1">
              <a:spLocks/>
            </p:cNvSpPr>
            <p:nvPr/>
          </p:nvSpPr>
          <p:spPr>
            <a:xfrm>
              <a:off x="7796412" y="3328642"/>
              <a:ext cx="109004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 sz="1400">
                  <a:solidFill>
                    <a:schemeClr val="tx2"/>
                  </a:solidFill>
                  <a:effectLst/>
                  <a:latin typeface="+mj-lt"/>
                  <a:ea typeface="+mj-ea"/>
                  <a:cs typeface="+mj-cs"/>
                </a:rPr>
                <a:t>Comunidades</a:t>
              </a:r>
              <a:endParaRPr kumimoji="0" lang="en-US" sz="1400" i="0" strike="noStrike" kern="1200" cap="none" spc="0" normalizeH="0" baseline="0" noProof="0">
                <a:ln>
                  <a:noFill/>
                </a:ln>
                <a:solidFill>
                  <a:schemeClr val="tx2"/>
                </a:solidFill>
                <a:effectLst/>
                <a:uLnTx/>
                <a:uFillTx/>
                <a:latin typeface="+mj-lt"/>
                <a:ea typeface="+mj-ea"/>
                <a:cs typeface="+mj-cs"/>
              </a:endParaRPr>
            </a:p>
          </p:txBody>
        </p:sp>
        <p:sp>
          <p:nvSpPr>
            <p:cNvPr id="205" name="TextBox 204">
              <a:extLst>
                <a:ext uri="{FF2B5EF4-FFF2-40B4-BE49-F238E27FC236}">
                  <a16:creationId xmlns:a16="http://schemas.microsoft.com/office/drawing/2014/main" id="{739DAC10-2BDF-3000-DB0C-4ABE50635EAD}"/>
                </a:ext>
              </a:extLst>
            </p:cNvPr>
            <p:cNvSpPr txBox="1"/>
            <p:nvPr/>
          </p:nvSpPr>
          <p:spPr>
            <a:xfrm>
              <a:off x="7427033"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chemeClr val="tx2"/>
                  </a:solidFill>
                  <a:effectLst/>
                  <a:uLnTx/>
                  <a:uFillTx/>
                </a:rPr>
                <a:t>Gestión de comunidades</a:t>
              </a:r>
            </a:p>
          </p:txBody>
        </p:sp>
        <p:pic>
          <p:nvPicPr>
            <p:cNvPr id="206" name="Picture 2" descr="Microsoft Viva Engage">
              <a:extLst>
                <a:ext uri="{FF2B5EF4-FFF2-40B4-BE49-F238E27FC236}">
                  <a16:creationId xmlns:a16="http://schemas.microsoft.com/office/drawing/2014/main" id="{2275CC1A-5DD8-5C74-E7A4-FFE36A4E9651}"/>
                </a:ext>
              </a:extLst>
            </p:cNvPr>
            <p:cNvPicPr>
              <a:picLocks noChangeAspect="1" noChangeArrowheads="1"/>
            </p:cNvPicPr>
            <p:nvPr/>
          </p:nvPicPr>
          <p:blipFill>
            <a:blip r:embed="rId21" cstate="hqprint">
              <a:extLst>
                <a:ext uri="{28A0092B-C50C-407E-A947-70E740481C1C}">
                  <a14:useLocalDpi xmlns:a14="http://schemas.microsoft.com/office/drawing/2010/main"/>
                </a:ext>
              </a:extLst>
            </a:blip>
            <a:srcRect/>
            <a:stretch>
              <a:fillRect/>
            </a:stretch>
          </p:blipFill>
          <p:spPr bwMode="auto">
            <a:xfrm>
              <a:off x="8195128" y="3009580"/>
              <a:ext cx="292608" cy="2926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7" name="Group 206">
            <a:extLst>
              <a:ext uri="{FF2B5EF4-FFF2-40B4-BE49-F238E27FC236}">
                <a16:creationId xmlns:a16="http://schemas.microsoft.com/office/drawing/2014/main" id="{F8415DDD-E62F-7D18-45E6-74A367D9FE1A}"/>
              </a:ext>
            </a:extLst>
          </p:cNvPr>
          <p:cNvGrpSpPr/>
          <p:nvPr/>
        </p:nvGrpSpPr>
        <p:grpSpPr>
          <a:xfrm>
            <a:off x="7427033" y="1382097"/>
            <a:ext cx="1828800" cy="1226944"/>
            <a:chOff x="7427033" y="1382097"/>
            <a:chExt cx="1828800" cy="1226944"/>
          </a:xfrm>
        </p:grpSpPr>
        <p:sp>
          <p:nvSpPr>
            <p:cNvPr id="208" name="TextBox 207">
              <a:extLst>
                <a:ext uri="{FF2B5EF4-FFF2-40B4-BE49-F238E27FC236}">
                  <a16:creationId xmlns:a16="http://schemas.microsoft.com/office/drawing/2014/main" id="{507E4907-A15B-C705-0297-80D3859FA396}"/>
                </a:ext>
              </a:extLst>
            </p:cNvPr>
            <p:cNvSpPr txBox="1">
              <a:spLocks/>
            </p:cNvSpPr>
            <p:nvPr/>
          </p:nvSpPr>
          <p:spPr>
            <a:xfrm>
              <a:off x="7427033"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22">
                    <a:extLst>
                      <a:ext uri="{A12FA001-AC4F-418D-AE19-62706E023703}">
                        <ahyp:hlinkClr xmlns:ahyp="http://schemas.microsoft.com/office/drawing/2018/hyperlinkcolor" val="tx"/>
                      </a:ext>
                    </a:extLst>
                  </a:hlinkClick>
                </a:rPr>
                <a:t>Disponible de forma general</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209" name="TextBox 208">
              <a:extLst>
                <a:ext uri="{FF2B5EF4-FFF2-40B4-BE49-F238E27FC236}">
                  <a16:creationId xmlns:a16="http://schemas.microsoft.com/office/drawing/2014/main" id="{43A5F4C5-42D8-B9A5-4DD4-F42C41F5B764}"/>
                </a:ext>
              </a:extLst>
            </p:cNvPr>
            <p:cNvSpPr txBox="1">
              <a:spLocks/>
            </p:cNvSpPr>
            <p:nvPr/>
          </p:nvSpPr>
          <p:spPr>
            <a:xfrm>
              <a:off x="7892592" y="1923401"/>
              <a:ext cx="897682" cy="22102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1400" i="0" strike="noStrike" kern="1200" cap="none" spc="0" normalizeH="0" baseline="0" noProof="0">
                  <a:ln>
                    <a:noFill/>
                  </a:ln>
                  <a:solidFill>
                    <a:schemeClr val="tx2"/>
                  </a:solidFill>
                  <a:effectLst/>
                  <a:uLnTx/>
                  <a:uFillTx/>
                  <a:latin typeface="+mj-lt"/>
                  <a:ea typeface="+mj-ea"/>
                  <a:cs typeface="+mj-cs"/>
                </a:rPr>
                <a:t>Intérprete</a:t>
              </a:r>
            </a:p>
          </p:txBody>
        </p:sp>
        <p:pic>
          <p:nvPicPr>
            <p:cNvPr id="210" name="Picture 209">
              <a:extLst>
                <a:ext uri="{FF2B5EF4-FFF2-40B4-BE49-F238E27FC236}">
                  <a16:creationId xmlns:a16="http://schemas.microsoft.com/office/drawing/2014/main" id="{25A55671-C4BE-E8E6-244E-E9B0A6A007CE}"/>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8034989" y="1382097"/>
              <a:ext cx="612888" cy="612888"/>
            </a:xfrm>
            <a:prstGeom prst="rect">
              <a:avLst/>
            </a:prstGeom>
          </p:spPr>
        </p:pic>
        <p:sp>
          <p:nvSpPr>
            <p:cNvPr id="211" name="TextBox 210">
              <a:extLst>
                <a:ext uri="{FF2B5EF4-FFF2-40B4-BE49-F238E27FC236}">
                  <a16:creationId xmlns:a16="http://schemas.microsoft.com/office/drawing/2014/main" id="{8EAE13C3-66B5-E19D-1A46-AE0777AB8F31}"/>
                </a:ext>
              </a:extLst>
            </p:cNvPr>
            <p:cNvSpPr txBox="1"/>
            <p:nvPr/>
          </p:nvSpPr>
          <p:spPr>
            <a:xfrm>
              <a:off x="7427033" y="2226178"/>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50">
                  <a:solidFill>
                    <a:schemeClr val="tx2"/>
                  </a:solidFill>
                </a:rPr>
                <a:t>T</a:t>
              </a:r>
              <a:r>
                <a:rPr kumimoji="0" lang="es-es" sz="1050" b="0" i="0" u="none" strike="noStrike" kern="1200" cap="none" spc="0" normalizeH="0" baseline="0" noProof="0">
                  <a:ln>
                    <a:noFill/>
                  </a:ln>
                  <a:solidFill>
                    <a:schemeClr val="tx2"/>
                  </a:solidFill>
                  <a:effectLst/>
                  <a:uLnTx/>
                  <a:uFillTx/>
                </a:rPr>
                <a:t>raducción multilingüe</a:t>
              </a:r>
            </a:p>
          </p:txBody>
        </p:sp>
      </p:grpSp>
      <p:grpSp>
        <p:nvGrpSpPr>
          <p:cNvPr id="212" name="Group 211">
            <a:extLst>
              <a:ext uri="{FF2B5EF4-FFF2-40B4-BE49-F238E27FC236}">
                <a16:creationId xmlns:a16="http://schemas.microsoft.com/office/drawing/2014/main" id="{D8EEE0B5-8A04-4F19-DEB5-D4A5C02BF226}"/>
              </a:ext>
            </a:extLst>
          </p:cNvPr>
          <p:cNvGrpSpPr/>
          <p:nvPr/>
        </p:nvGrpSpPr>
        <p:grpSpPr>
          <a:xfrm>
            <a:off x="7427033" y="4395153"/>
            <a:ext cx="1828800" cy="1220392"/>
            <a:chOff x="7427033" y="4395153"/>
            <a:chExt cx="1828800" cy="1220392"/>
          </a:xfrm>
        </p:grpSpPr>
        <p:sp>
          <p:nvSpPr>
            <p:cNvPr id="213" name="TextBox 212">
              <a:extLst>
                <a:ext uri="{FF2B5EF4-FFF2-40B4-BE49-F238E27FC236}">
                  <a16:creationId xmlns:a16="http://schemas.microsoft.com/office/drawing/2014/main" id="{AAACE4BF-41FE-2A35-4199-2C33B19BA0E0}"/>
                </a:ext>
              </a:extLst>
            </p:cNvPr>
            <p:cNvSpPr txBox="1">
              <a:spLocks/>
            </p:cNvSpPr>
            <p:nvPr/>
          </p:nvSpPr>
          <p:spPr>
            <a:xfrm>
              <a:off x="8064113" y="4779651"/>
              <a:ext cx="554639" cy="221023"/>
            </a:xfrm>
            <a:prstGeom prst="rect">
              <a:avLst/>
            </a:prstGeom>
            <a:noFill/>
          </p:spPr>
          <p:txBody>
            <a:bodyPr wrap="none" lIns="0" tIns="0" rIns="0" bIns="0" rtlCol="0" anchor="ctr">
              <a:spAutoFit/>
            </a:bodyPr>
            <a:lstStyle/>
            <a:p>
              <a:pPr algn="ctr">
                <a:lnSpc>
                  <a:spcPct val="110000"/>
                </a:lnSpc>
                <a:defRPr/>
              </a:pPr>
              <a:r>
                <a:rPr lang="es-es" sz="1400">
                  <a:solidFill>
                    <a:schemeClr val="tx2"/>
                  </a:solidFill>
                  <a:latin typeface="+mj-lt"/>
                  <a:ea typeface="+mj-ea"/>
                  <a:cs typeface="+mj-cs"/>
                </a:rPr>
                <a:t>Personas</a:t>
              </a:r>
            </a:p>
          </p:txBody>
        </p:sp>
        <p:sp>
          <p:nvSpPr>
            <p:cNvPr id="214" name="TextBox 213">
              <a:extLst>
                <a:ext uri="{FF2B5EF4-FFF2-40B4-BE49-F238E27FC236}">
                  <a16:creationId xmlns:a16="http://schemas.microsoft.com/office/drawing/2014/main" id="{D0764264-3AB2-1E85-9486-8AD974FF78B8}"/>
                </a:ext>
              </a:extLst>
            </p:cNvPr>
            <p:cNvSpPr txBox="1"/>
            <p:nvPr/>
          </p:nvSpPr>
          <p:spPr>
            <a:xfrm>
              <a:off x="7427033"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chemeClr val="tx2"/>
                  </a:solidFill>
                  <a:effectLst/>
                  <a:uLnTx/>
                  <a:uFillTx/>
                </a:rPr>
                <a:t>Conector de compañeros y planificador de colaboración</a:t>
              </a:r>
            </a:p>
          </p:txBody>
        </p:sp>
        <p:sp>
          <p:nvSpPr>
            <p:cNvPr id="215" name="TextBox 214">
              <a:extLst>
                <a:ext uri="{FF2B5EF4-FFF2-40B4-BE49-F238E27FC236}">
                  <a16:creationId xmlns:a16="http://schemas.microsoft.com/office/drawing/2014/main" id="{075ED3D4-18DD-9B04-9A25-F17C43726B56}"/>
                </a:ext>
              </a:extLst>
            </p:cNvPr>
            <p:cNvSpPr txBox="1">
              <a:spLocks/>
            </p:cNvSpPr>
            <p:nvPr/>
          </p:nvSpPr>
          <p:spPr>
            <a:xfrm>
              <a:off x="7427033" y="5446268"/>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Programa Frontier</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216" name="Picture 215">
              <a:extLst>
                <a:ext uri="{FF2B5EF4-FFF2-40B4-BE49-F238E27FC236}">
                  <a16:creationId xmlns:a16="http://schemas.microsoft.com/office/drawing/2014/main" id="{E777F674-A942-2085-940F-51154AB2CFDD}"/>
                </a:ext>
                <a:ext uri="{C183D7F6-B498-43B3-948B-1728B52AA6E4}">
                  <adec:decorative xmlns:adec="http://schemas.microsoft.com/office/drawing/2017/decorative" val="1"/>
                </a:ext>
              </a:extLst>
            </p:cNvPr>
            <p:cNvPicPr>
              <a:picLocks noChangeAspect="1"/>
            </p:cNvPicPr>
            <p:nvPr/>
          </p:nvPicPr>
          <p:blipFill>
            <a:blip r:embed="rId23" cstate="hqprint">
              <a:extLst>
                <a:ext uri="{28A0092B-C50C-407E-A947-70E740481C1C}">
                  <a14:useLocalDpi xmlns:a14="http://schemas.microsoft.com/office/drawing/2010/main"/>
                </a:ext>
              </a:extLst>
            </a:blip>
            <a:srcRect/>
            <a:stretch/>
          </p:blipFill>
          <p:spPr>
            <a:xfrm>
              <a:off x="8176840" y="4395153"/>
              <a:ext cx="329184" cy="329184"/>
            </a:xfrm>
            <a:prstGeom prst="rect">
              <a:avLst/>
            </a:prstGeom>
          </p:spPr>
        </p:pic>
      </p:grpSp>
      <p:grpSp>
        <p:nvGrpSpPr>
          <p:cNvPr id="217" name="Group 216">
            <a:extLst>
              <a:ext uri="{FF2B5EF4-FFF2-40B4-BE49-F238E27FC236}">
                <a16:creationId xmlns:a16="http://schemas.microsoft.com/office/drawing/2014/main" id="{A46C8789-B3FC-9496-DC9E-A9E7B170A571}"/>
              </a:ext>
            </a:extLst>
          </p:cNvPr>
          <p:cNvGrpSpPr/>
          <p:nvPr/>
        </p:nvGrpSpPr>
        <p:grpSpPr>
          <a:xfrm>
            <a:off x="9672465" y="1382097"/>
            <a:ext cx="1828800" cy="1226944"/>
            <a:chOff x="9672465" y="1382097"/>
            <a:chExt cx="1828800" cy="1226944"/>
          </a:xfrm>
        </p:grpSpPr>
        <p:sp>
          <p:nvSpPr>
            <p:cNvPr id="218" name="TextBox 217">
              <a:extLst>
                <a:ext uri="{FF2B5EF4-FFF2-40B4-BE49-F238E27FC236}">
                  <a16:creationId xmlns:a16="http://schemas.microsoft.com/office/drawing/2014/main" id="{A1354BD3-A067-66AE-5BF4-C0D0C5E9EC96}"/>
                </a:ext>
              </a:extLst>
            </p:cNvPr>
            <p:cNvSpPr txBox="1">
              <a:spLocks/>
            </p:cNvSpPr>
            <p:nvPr/>
          </p:nvSpPr>
          <p:spPr>
            <a:xfrm>
              <a:off x="9672465" y="2439764"/>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22">
                    <a:extLst>
                      <a:ext uri="{A12FA001-AC4F-418D-AE19-62706E023703}">
                        <ahyp:hlinkClr xmlns:ahyp="http://schemas.microsoft.com/office/drawing/2018/hyperlinkcolor" val="tx"/>
                      </a:ext>
                    </a:extLst>
                  </a:hlinkClick>
                </a:rPr>
                <a:t>Disponible de forma general</a:t>
              </a:r>
              <a:endParaRPr kumimoji="0" lang="en-US" sz="1100" i="0" u="none" strike="noStrike" kern="1200" cap="none" spc="0" normalizeH="0" baseline="0" noProof="0">
                <a:ln>
                  <a:noFill/>
                </a:ln>
                <a:solidFill>
                  <a:schemeClr val="accent1"/>
                </a:solidFill>
                <a:effectLst/>
                <a:uLnTx/>
                <a:uFillTx/>
                <a:ea typeface="+mj-ea"/>
                <a:cs typeface="+mj-cs"/>
              </a:endParaRPr>
            </a:p>
          </p:txBody>
        </p:sp>
        <p:sp>
          <p:nvSpPr>
            <p:cNvPr id="219" name="TextBox 218">
              <a:extLst>
                <a:ext uri="{FF2B5EF4-FFF2-40B4-BE49-F238E27FC236}">
                  <a16:creationId xmlns:a16="http://schemas.microsoft.com/office/drawing/2014/main" id="{DEC688CB-6C42-ECC0-3F71-6816FD6C4012}"/>
                </a:ext>
              </a:extLst>
            </p:cNvPr>
            <p:cNvSpPr txBox="1">
              <a:spLocks/>
            </p:cNvSpPr>
            <p:nvPr/>
          </p:nvSpPr>
          <p:spPr>
            <a:xfrm>
              <a:off x="10180247" y="1925966"/>
              <a:ext cx="813236" cy="21589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 sz="1400" dirty="0" err="1">
                  <a:solidFill>
                    <a:schemeClr val="tx2"/>
                  </a:solidFill>
                  <a:latin typeface="+mj-lt"/>
                  <a:ea typeface="+mj-ea"/>
                  <a:cs typeface="+mj-cs"/>
                </a:rPr>
                <a:t>Facilitator</a:t>
              </a:r>
              <a:endParaRPr kumimoji="0" lang="en-US" sz="1400" i="0" u="none" strike="noStrike" kern="1200" cap="none" spc="0" normalizeH="0" baseline="0" noProof="0" dirty="0">
                <a:ln>
                  <a:noFill/>
                </a:ln>
                <a:solidFill>
                  <a:schemeClr val="tx2"/>
                </a:solidFill>
                <a:effectLst/>
                <a:uLnTx/>
                <a:uFillTx/>
                <a:latin typeface="+mj-lt"/>
                <a:ea typeface="+mj-ea"/>
                <a:cs typeface="+mj-cs"/>
              </a:endParaRPr>
            </a:p>
          </p:txBody>
        </p:sp>
        <p:pic>
          <p:nvPicPr>
            <p:cNvPr id="220" name="Picture 219">
              <a:extLst>
                <a:ext uri="{FF2B5EF4-FFF2-40B4-BE49-F238E27FC236}">
                  <a16:creationId xmlns:a16="http://schemas.microsoft.com/office/drawing/2014/main" id="{A49D3071-20C2-CC1A-81A4-A55328429021}"/>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0280421" y="1382097"/>
              <a:ext cx="612888" cy="612888"/>
            </a:xfrm>
            <a:prstGeom prst="rect">
              <a:avLst/>
            </a:prstGeom>
          </p:spPr>
        </p:pic>
        <p:sp>
          <p:nvSpPr>
            <p:cNvPr id="221" name="TextBox 220">
              <a:extLst>
                <a:ext uri="{FF2B5EF4-FFF2-40B4-BE49-F238E27FC236}">
                  <a16:creationId xmlns:a16="http://schemas.microsoft.com/office/drawing/2014/main" id="{E768B513-A524-C216-11E5-510A46D76BB6}"/>
                </a:ext>
              </a:extLst>
            </p:cNvPr>
            <p:cNvSpPr txBox="1"/>
            <p:nvPr/>
          </p:nvSpPr>
          <p:spPr>
            <a:xfrm>
              <a:off x="9672465" y="2127969"/>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chemeClr val="tx2"/>
                  </a:solidFill>
                  <a:effectLst/>
                  <a:uLnTx/>
                  <a:uFillTx/>
                </a:rPr>
                <a:t>Moderación de reuniones </a:t>
              </a:r>
              <a:br>
                <a:rPr kumimoji="0" lang="es-es" sz="1050" b="0" i="0" u="none" strike="noStrike" kern="1200" cap="none" spc="0" normalizeH="0" baseline="0" noProof="0">
                  <a:ln>
                    <a:noFill/>
                  </a:ln>
                  <a:solidFill>
                    <a:schemeClr val="tx2"/>
                  </a:solidFill>
                  <a:effectLst/>
                  <a:uLnTx/>
                  <a:uFillTx/>
                </a:rPr>
              </a:br>
              <a:r>
                <a:rPr kumimoji="0" lang="es-es" sz="1050" b="0" i="0" u="none" strike="noStrike" kern="1200" cap="none" spc="0" normalizeH="0" baseline="0" noProof="0">
                  <a:ln>
                    <a:noFill/>
                  </a:ln>
                  <a:solidFill>
                    <a:schemeClr val="tx2"/>
                  </a:solidFill>
                  <a:effectLst/>
                  <a:uLnTx/>
                  <a:uFillTx/>
                </a:rPr>
                <a:t>de </a:t>
              </a:r>
              <a:r>
                <a:rPr kumimoji="0" lang="es-es" sz="1050" b="0" i="0" u="none" strike="noStrike" kern="1200" cap="none" spc="0" normalizeH="0" baseline="0" noProof="0" err="1">
                  <a:ln>
                    <a:noFill/>
                  </a:ln>
                  <a:solidFill>
                    <a:schemeClr val="tx2"/>
                  </a:solidFill>
                  <a:effectLst/>
                  <a:uLnTx/>
                  <a:uFillTx/>
                </a:rPr>
                <a:t>Teams</a:t>
              </a:r>
              <a:endParaRPr kumimoji="0" lang="es-es" sz="1050" b="0" i="0" u="none" strike="noStrike" kern="1200" cap="none" spc="0" normalizeH="0" baseline="0" noProof="0">
                <a:ln>
                  <a:noFill/>
                </a:ln>
                <a:solidFill>
                  <a:schemeClr val="tx2"/>
                </a:solidFill>
                <a:effectLst/>
                <a:uLnTx/>
                <a:uFillTx/>
              </a:endParaRPr>
            </a:p>
          </p:txBody>
        </p:sp>
      </p:grpSp>
      <p:grpSp>
        <p:nvGrpSpPr>
          <p:cNvPr id="222" name="Group 221">
            <a:extLst>
              <a:ext uri="{FF2B5EF4-FFF2-40B4-BE49-F238E27FC236}">
                <a16:creationId xmlns:a16="http://schemas.microsoft.com/office/drawing/2014/main" id="{CF1432CB-A0B0-1125-4F25-2FC142919129}"/>
              </a:ext>
            </a:extLst>
          </p:cNvPr>
          <p:cNvGrpSpPr/>
          <p:nvPr/>
        </p:nvGrpSpPr>
        <p:grpSpPr>
          <a:xfrm>
            <a:off x="9672465" y="2973874"/>
            <a:ext cx="1828800" cy="1036096"/>
            <a:chOff x="9672465" y="2973874"/>
            <a:chExt cx="1828800" cy="1036096"/>
          </a:xfrm>
        </p:grpSpPr>
        <p:sp>
          <p:nvSpPr>
            <p:cNvPr id="223" name="TextBox 222">
              <a:extLst>
                <a:ext uri="{FF2B5EF4-FFF2-40B4-BE49-F238E27FC236}">
                  <a16:creationId xmlns:a16="http://schemas.microsoft.com/office/drawing/2014/main" id="{28C9AC3D-F216-762D-18C8-10A7A411D846}"/>
                </a:ext>
              </a:extLst>
            </p:cNvPr>
            <p:cNvSpPr txBox="1"/>
            <p:nvPr/>
          </p:nvSpPr>
          <p:spPr>
            <a:xfrm>
              <a:off x="9672465" y="3634892"/>
              <a:ext cx="1828800" cy="161583"/>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chemeClr val="tx2"/>
                  </a:solidFill>
                  <a:effectLst/>
                  <a:uLnTx/>
                  <a:uFillTx/>
                </a:rPr>
                <a:t>Información organizacional</a:t>
              </a:r>
            </a:p>
          </p:txBody>
        </p:sp>
        <p:sp>
          <p:nvSpPr>
            <p:cNvPr id="224" name="TextBox 223">
              <a:extLst>
                <a:ext uri="{FF2B5EF4-FFF2-40B4-BE49-F238E27FC236}">
                  <a16:creationId xmlns:a16="http://schemas.microsoft.com/office/drawing/2014/main" id="{F69AC6BB-7609-2D94-3E6B-B3FE19EEAD6F}"/>
                </a:ext>
              </a:extLst>
            </p:cNvPr>
            <p:cNvSpPr txBox="1">
              <a:spLocks/>
            </p:cNvSpPr>
            <p:nvPr/>
          </p:nvSpPr>
          <p:spPr>
            <a:xfrm>
              <a:off x="9810658" y="3328642"/>
              <a:ext cx="1552413" cy="215893"/>
            </a:xfrm>
            <a:prstGeom prst="rect">
              <a:avLst/>
            </a:prstGeom>
            <a:noFill/>
          </p:spPr>
          <p:txBody>
            <a:bodyPr wrap="none" lIns="0" tIns="0" rIns="0" bIns="0" rtlCol="0" anchor="ctr">
              <a:spAutoFit/>
            </a:bodyPr>
            <a:lstStyle/>
            <a:p>
              <a:pPr algn="ctr">
                <a:lnSpc>
                  <a:spcPct val="110000"/>
                </a:lnSpc>
                <a:defRPr/>
              </a:pPr>
              <a:r>
                <a:rPr lang="es-es" sz="1400">
                  <a:solidFill>
                    <a:schemeClr val="tx2"/>
                  </a:solidFill>
                  <a:latin typeface="+mj-lt"/>
                  <a:ea typeface="+mj-ea"/>
                  <a:cs typeface="+mj-cs"/>
                </a:rPr>
                <a:t>Información del personal</a:t>
              </a:r>
            </a:p>
          </p:txBody>
        </p:sp>
        <p:sp>
          <p:nvSpPr>
            <p:cNvPr id="225" name="TextBox 224">
              <a:extLst>
                <a:ext uri="{FF2B5EF4-FFF2-40B4-BE49-F238E27FC236}">
                  <a16:creationId xmlns:a16="http://schemas.microsoft.com/office/drawing/2014/main" id="{1718CDF6-4DB8-5AD9-C321-7572110FBAAF}"/>
                </a:ext>
              </a:extLst>
            </p:cNvPr>
            <p:cNvSpPr txBox="1">
              <a:spLocks/>
            </p:cNvSpPr>
            <p:nvPr/>
          </p:nvSpPr>
          <p:spPr>
            <a:xfrm>
              <a:off x="9672465" y="3840693"/>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Programa Frontier</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226" name="Picture 225">
              <a:extLst>
                <a:ext uri="{FF2B5EF4-FFF2-40B4-BE49-F238E27FC236}">
                  <a16:creationId xmlns:a16="http://schemas.microsoft.com/office/drawing/2014/main" id="{45E5FC16-3A37-602B-46BA-B8DE3ECED944}"/>
                </a:ext>
                <a:ext uri="{C183D7F6-B498-43B3-948B-1728B52AA6E4}">
                  <adec:decorative xmlns:adec="http://schemas.microsoft.com/office/drawing/2017/decorative" val="1"/>
                </a:ext>
              </a:extLst>
            </p:cNvPr>
            <p:cNvPicPr>
              <a:picLocks noChangeAspect="1"/>
            </p:cNvPicPr>
            <p:nvPr/>
          </p:nvPicPr>
          <p:blipFill>
            <a:blip r:embed="rId24" cstate="hqprint">
              <a:extLst>
                <a:ext uri="{28A0092B-C50C-407E-A947-70E740481C1C}">
                  <a14:useLocalDpi xmlns:a14="http://schemas.microsoft.com/office/drawing/2010/main"/>
                </a:ext>
              </a:extLst>
            </a:blip>
            <a:srcRect/>
            <a:stretch/>
          </p:blipFill>
          <p:spPr>
            <a:xfrm>
              <a:off x="10422272" y="2973874"/>
              <a:ext cx="329184" cy="329184"/>
            </a:xfrm>
            <a:prstGeom prst="rect">
              <a:avLst/>
            </a:prstGeom>
          </p:spPr>
        </p:pic>
      </p:grpSp>
      <p:grpSp>
        <p:nvGrpSpPr>
          <p:cNvPr id="227" name="Group 226">
            <a:extLst>
              <a:ext uri="{FF2B5EF4-FFF2-40B4-BE49-F238E27FC236}">
                <a16:creationId xmlns:a16="http://schemas.microsoft.com/office/drawing/2014/main" id="{636FFC85-DD32-876E-EFE7-196D3E6FE555}"/>
              </a:ext>
            </a:extLst>
          </p:cNvPr>
          <p:cNvGrpSpPr/>
          <p:nvPr/>
        </p:nvGrpSpPr>
        <p:grpSpPr>
          <a:xfrm>
            <a:off x="9672465" y="4395153"/>
            <a:ext cx="1828800" cy="1224964"/>
            <a:chOff x="9672465" y="4395153"/>
            <a:chExt cx="1828800" cy="1224964"/>
          </a:xfrm>
        </p:grpSpPr>
        <p:sp>
          <p:nvSpPr>
            <p:cNvPr id="228" name="TextBox 227">
              <a:extLst>
                <a:ext uri="{FF2B5EF4-FFF2-40B4-BE49-F238E27FC236}">
                  <a16:creationId xmlns:a16="http://schemas.microsoft.com/office/drawing/2014/main" id="{DB92F6F9-F942-02CB-E0B4-0B4FAE2D976B}"/>
                </a:ext>
              </a:extLst>
            </p:cNvPr>
            <p:cNvSpPr txBox="1"/>
            <p:nvPr/>
          </p:nvSpPr>
          <p:spPr>
            <a:xfrm>
              <a:off x="9672465" y="5080508"/>
              <a:ext cx="1828800" cy="323165"/>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schemeClr val="tx2"/>
                  </a:solidFill>
                  <a:effectLst/>
                  <a:uLnTx/>
                  <a:uFillTx/>
                </a:rPr>
                <a:t>Recursos seleccionados para desarrollar habilidades en IA</a:t>
              </a:r>
            </a:p>
          </p:txBody>
        </p:sp>
        <p:sp>
          <p:nvSpPr>
            <p:cNvPr id="229" name="TextBox 228">
              <a:extLst>
                <a:ext uri="{FF2B5EF4-FFF2-40B4-BE49-F238E27FC236}">
                  <a16:creationId xmlns:a16="http://schemas.microsoft.com/office/drawing/2014/main" id="{27A0263A-974B-A6BD-F1F1-FA8A46E38EF8}"/>
                </a:ext>
              </a:extLst>
            </p:cNvPr>
            <p:cNvSpPr txBox="1">
              <a:spLocks/>
            </p:cNvSpPr>
            <p:nvPr/>
          </p:nvSpPr>
          <p:spPr>
            <a:xfrm>
              <a:off x="10235807" y="4779651"/>
              <a:ext cx="702115" cy="221023"/>
            </a:xfrm>
            <a:prstGeom prst="rect">
              <a:avLst/>
            </a:prstGeom>
            <a:noFill/>
          </p:spPr>
          <p:txBody>
            <a:bodyPr wrap="none" lIns="0" tIns="0" rIns="0" bIns="0" rtlCol="0" anchor="ctr">
              <a:spAutoFit/>
            </a:bodyPr>
            <a:lstStyle/>
            <a:p>
              <a:pPr algn="ctr">
                <a:lnSpc>
                  <a:spcPct val="110000"/>
                </a:lnSpc>
                <a:defRPr/>
              </a:pPr>
              <a:r>
                <a:rPr lang="es-es" sz="1400">
                  <a:solidFill>
                    <a:schemeClr val="tx2"/>
                  </a:solidFill>
                  <a:latin typeface="+mj-lt"/>
                  <a:ea typeface="+mj-ea"/>
                  <a:cs typeface="+mj-cs"/>
                </a:rPr>
                <a:t>Aprendizaje</a:t>
              </a:r>
            </a:p>
          </p:txBody>
        </p:sp>
        <p:sp>
          <p:nvSpPr>
            <p:cNvPr id="230" name="TextBox 229">
              <a:extLst>
                <a:ext uri="{FF2B5EF4-FFF2-40B4-BE49-F238E27FC236}">
                  <a16:creationId xmlns:a16="http://schemas.microsoft.com/office/drawing/2014/main" id="{253393ED-C5A8-6802-29C6-0C55731BBF1C}"/>
                </a:ext>
              </a:extLst>
            </p:cNvPr>
            <p:cNvSpPr txBox="1">
              <a:spLocks/>
            </p:cNvSpPr>
            <p:nvPr/>
          </p:nvSpPr>
          <p:spPr>
            <a:xfrm>
              <a:off x="9672465" y="5450840"/>
              <a:ext cx="1828800"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i="0" u="none" strike="noStrike" kern="1200" cap="none" spc="0" normalizeH="0" baseline="0" noProof="0">
                  <a:ln>
                    <a:noFill/>
                  </a:ln>
                  <a:solidFill>
                    <a:schemeClr val="accent1"/>
                  </a:solidFill>
                  <a:effectLst/>
                  <a:uLnTx/>
                  <a:uFillTx/>
                  <a:ea typeface="+mj-ea"/>
                  <a:cs typeface="+mj-cs"/>
                  <a:hlinkClick r:id="rId11">
                    <a:extLst>
                      <a:ext uri="{A12FA001-AC4F-418D-AE19-62706E023703}">
                        <ahyp:hlinkClr xmlns:ahyp="http://schemas.microsoft.com/office/drawing/2018/hyperlinkcolor" val="tx"/>
                      </a:ext>
                    </a:extLst>
                  </a:hlinkClick>
                </a:rPr>
                <a:t>Programa Frontier</a:t>
              </a:r>
              <a:endParaRPr kumimoji="0" lang="en-US" sz="1100" i="0" u="none" strike="noStrike" kern="1200" cap="none" spc="0" normalizeH="0" baseline="0" noProof="0">
                <a:ln>
                  <a:noFill/>
                </a:ln>
                <a:solidFill>
                  <a:schemeClr val="accent1"/>
                </a:solidFill>
                <a:effectLst/>
                <a:uLnTx/>
                <a:uFillTx/>
                <a:ea typeface="+mj-ea"/>
                <a:cs typeface="+mj-cs"/>
              </a:endParaRPr>
            </a:p>
          </p:txBody>
        </p:sp>
        <p:pic>
          <p:nvPicPr>
            <p:cNvPr id="231" name="Picture 230">
              <a:extLst>
                <a:ext uri="{FF2B5EF4-FFF2-40B4-BE49-F238E27FC236}">
                  <a16:creationId xmlns:a16="http://schemas.microsoft.com/office/drawing/2014/main" id="{084DF3BD-398B-4C40-0537-64AF742CC903}"/>
                </a:ext>
                <a:ext uri="{C183D7F6-B498-43B3-948B-1728B52AA6E4}">
                  <adec:decorative xmlns:adec="http://schemas.microsoft.com/office/drawing/2017/decorative" val="1"/>
                </a:ext>
              </a:extLst>
            </p:cNvPr>
            <p:cNvPicPr>
              <a:picLocks noChangeAspect="1"/>
            </p:cNvPicPr>
            <p:nvPr/>
          </p:nvPicPr>
          <p:blipFill>
            <a:blip r:embed="rId25" cstate="hqprint">
              <a:extLst>
                <a:ext uri="{28A0092B-C50C-407E-A947-70E740481C1C}">
                  <a14:useLocalDpi xmlns:a14="http://schemas.microsoft.com/office/drawing/2010/main"/>
                </a:ext>
              </a:extLst>
            </a:blip>
            <a:srcRect/>
            <a:stretch/>
          </p:blipFill>
          <p:spPr>
            <a:xfrm>
              <a:off x="10422272" y="4395153"/>
              <a:ext cx="329184" cy="329184"/>
            </a:xfrm>
            <a:prstGeom prst="rect">
              <a:avLst/>
            </a:prstGeom>
          </p:spPr>
        </p:pic>
      </p:grpSp>
    </p:spTree>
    <p:extLst>
      <p:ext uri="{BB962C8B-B14F-4D97-AF65-F5344CB8AC3E}">
        <p14:creationId xmlns:p14="http://schemas.microsoft.com/office/powerpoint/2010/main" val="1578797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fade">
                                      <p:cBhvr>
                                        <p:cTn id="7" dur="500"/>
                                        <p:tgtEl>
                                          <p:spTgt spid="139"/>
                                        </p:tgtEl>
                                      </p:cBhvr>
                                    </p:animEffect>
                                  </p:childTnLst>
                                </p:cTn>
                              </p:par>
                              <p:par>
                                <p:cTn id="8" presetID="64" presetClass="path" presetSubtype="0" accel="50000" decel="50000" fill="hold" nodeType="withEffect">
                                  <p:stCondLst>
                                    <p:cond delay="0"/>
                                  </p:stCondLst>
                                  <p:childTnLst>
                                    <p:animMotion origin="layout" path="M 8.33333E-7 0.06805 L 8.33333E-7 0.00023 " pathEditMode="relative" rAng="0" ptsTypes="AA">
                                      <p:cBhvr>
                                        <p:cTn id="9" dur="1000" fill="hold"/>
                                        <p:tgtEl>
                                          <p:spTgt spid="139"/>
                                        </p:tgtEl>
                                        <p:attrNameLst>
                                          <p:attrName>ppt_x</p:attrName>
                                          <p:attrName>ppt_y</p:attrName>
                                        </p:attrNameLst>
                                      </p:cBhvr>
                                      <p:rCtr x="0" y="-3403"/>
                                    </p:animMotion>
                                  </p:childTnLst>
                                </p:cTn>
                              </p:par>
                              <p:par>
                                <p:cTn id="10" presetID="10" presetClass="entr" presetSubtype="0" fill="hold" nodeType="withEffect">
                                  <p:stCondLst>
                                    <p:cond delay="0"/>
                                  </p:stCondLst>
                                  <p:childTnLst>
                                    <p:set>
                                      <p:cBhvr>
                                        <p:cTn id="11" dur="1" fill="hold">
                                          <p:stCondLst>
                                            <p:cond delay="0"/>
                                          </p:stCondLst>
                                        </p:cTn>
                                        <p:tgtEl>
                                          <p:spTgt spid="192"/>
                                        </p:tgtEl>
                                        <p:attrNameLst>
                                          <p:attrName>style.visibility</p:attrName>
                                        </p:attrNameLst>
                                      </p:cBhvr>
                                      <p:to>
                                        <p:strVal val="visible"/>
                                      </p:to>
                                    </p:set>
                                    <p:animEffect transition="in" filter="fade">
                                      <p:cBhvr>
                                        <p:cTn id="12" dur="500"/>
                                        <p:tgtEl>
                                          <p:spTgt spid="192"/>
                                        </p:tgtEl>
                                      </p:cBhvr>
                                    </p:animEffect>
                                  </p:childTnLst>
                                </p:cTn>
                              </p:par>
                              <p:par>
                                <p:cTn id="13" presetID="64" presetClass="path" presetSubtype="0" accel="50000" decel="50000" fill="hold" nodeType="withEffect">
                                  <p:stCondLst>
                                    <p:cond delay="0"/>
                                  </p:stCondLst>
                                  <p:childTnLst>
                                    <p:animMotion origin="layout" path="M 8.33333E-7 0.06805 L 8.33333E-7 0.00023 " pathEditMode="relative" rAng="0" ptsTypes="AA">
                                      <p:cBhvr>
                                        <p:cTn id="14" dur="1000" fill="hold"/>
                                        <p:tgtEl>
                                          <p:spTgt spid="192"/>
                                        </p:tgtEl>
                                        <p:attrNameLst>
                                          <p:attrName>ppt_x</p:attrName>
                                          <p:attrName>ppt_y</p:attrName>
                                        </p:attrNameLst>
                                      </p:cBhvr>
                                      <p:rCtr x="0" y="-3403"/>
                                    </p:animMotion>
                                  </p:childTnLst>
                                </p:cTn>
                              </p:par>
                              <p:par>
                                <p:cTn id="15" presetID="10" presetClass="entr" presetSubtype="0" fill="hold" nodeType="withEffect">
                                  <p:stCondLst>
                                    <p:cond delay="0"/>
                                  </p:stCondLst>
                                  <p:childTnLst>
                                    <p:set>
                                      <p:cBhvr>
                                        <p:cTn id="16" dur="1" fill="hold">
                                          <p:stCondLst>
                                            <p:cond delay="0"/>
                                          </p:stCondLst>
                                        </p:cTn>
                                        <p:tgtEl>
                                          <p:spTgt spid="162"/>
                                        </p:tgtEl>
                                        <p:attrNameLst>
                                          <p:attrName>style.visibility</p:attrName>
                                        </p:attrNameLst>
                                      </p:cBhvr>
                                      <p:to>
                                        <p:strVal val="visible"/>
                                      </p:to>
                                    </p:set>
                                    <p:animEffect transition="in" filter="fade">
                                      <p:cBhvr>
                                        <p:cTn id="17" dur="500"/>
                                        <p:tgtEl>
                                          <p:spTgt spid="162"/>
                                        </p:tgtEl>
                                      </p:cBhvr>
                                    </p:animEffect>
                                  </p:childTnLst>
                                </p:cTn>
                              </p:par>
                              <p:par>
                                <p:cTn id="18" presetID="64" presetClass="path" presetSubtype="0" accel="50000" decel="50000" fill="hold" nodeType="withEffect">
                                  <p:stCondLst>
                                    <p:cond delay="0"/>
                                  </p:stCondLst>
                                  <p:childTnLst>
                                    <p:animMotion origin="layout" path="M 8.33333E-7 0.06805 L 8.33333E-7 0.00023 " pathEditMode="relative" rAng="0" ptsTypes="AA">
                                      <p:cBhvr>
                                        <p:cTn id="19" dur="1000" fill="hold"/>
                                        <p:tgtEl>
                                          <p:spTgt spid="162"/>
                                        </p:tgtEl>
                                        <p:attrNameLst>
                                          <p:attrName>ppt_x</p:attrName>
                                          <p:attrName>ppt_y</p:attrName>
                                        </p:attrNameLst>
                                      </p:cBhvr>
                                      <p:rCtr x="0" y="-3403"/>
                                    </p:animMotion>
                                  </p:childTnLst>
                                </p:cTn>
                              </p:par>
                              <p:par>
                                <p:cTn id="20" presetID="10" presetClass="entr" presetSubtype="0" fill="hold" nodeType="withEffect">
                                  <p:stCondLst>
                                    <p:cond delay="0"/>
                                  </p:stCondLst>
                                  <p:childTnLst>
                                    <p:set>
                                      <p:cBhvr>
                                        <p:cTn id="21" dur="1" fill="hold">
                                          <p:stCondLst>
                                            <p:cond delay="0"/>
                                          </p:stCondLst>
                                        </p:cTn>
                                        <p:tgtEl>
                                          <p:spTgt spid="172"/>
                                        </p:tgtEl>
                                        <p:attrNameLst>
                                          <p:attrName>style.visibility</p:attrName>
                                        </p:attrNameLst>
                                      </p:cBhvr>
                                      <p:to>
                                        <p:strVal val="visible"/>
                                      </p:to>
                                    </p:set>
                                    <p:animEffect transition="in" filter="fade">
                                      <p:cBhvr>
                                        <p:cTn id="22" dur="500"/>
                                        <p:tgtEl>
                                          <p:spTgt spid="172"/>
                                        </p:tgtEl>
                                      </p:cBhvr>
                                    </p:animEffect>
                                  </p:childTnLst>
                                </p:cTn>
                              </p:par>
                              <p:par>
                                <p:cTn id="23" presetID="64" presetClass="path" presetSubtype="0" accel="50000" decel="50000" fill="hold" nodeType="withEffect">
                                  <p:stCondLst>
                                    <p:cond delay="0"/>
                                  </p:stCondLst>
                                  <p:childTnLst>
                                    <p:animMotion origin="layout" path="M 8.33333E-7 0.06805 L 8.33333E-7 0.00023 " pathEditMode="relative" rAng="0" ptsTypes="AA">
                                      <p:cBhvr>
                                        <p:cTn id="24" dur="1000" fill="hold"/>
                                        <p:tgtEl>
                                          <p:spTgt spid="172"/>
                                        </p:tgtEl>
                                        <p:attrNameLst>
                                          <p:attrName>ppt_x</p:attrName>
                                          <p:attrName>ppt_y</p:attrName>
                                        </p:attrNameLst>
                                      </p:cBhvr>
                                      <p:rCtr x="0" y="-3403"/>
                                    </p:animMotion>
                                  </p:childTnLst>
                                </p:cTn>
                              </p:par>
                              <p:par>
                                <p:cTn id="25" presetID="10" presetClass="entr" presetSubtype="0" fill="hold" nodeType="withEffect">
                                  <p:stCondLst>
                                    <p:cond delay="0"/>
                                  </p:stCondLst>
                                  <p:childTnLst>
                                    <p:set>
                                      <p:cBhvr>
                                        <p:cTn id="26" dur="1" fill="hold">
                                          <p:stCondLst>
                                            <p:cond delay="0"/>
                                          </p:stCondLst>
                                        </p:cTn>
                                        <p:tgtEl>
                                          <p:spTgt spid="207"/>
                                        </p:tgtEl>
                                        <p:attrNameLst>
                                          <p:attrName>style.visibility</p:attrName>
                                        </p:attrNameLst>
                                      </p:cBhvr>
                                      <p:to>
                                        <p:strVal val="visible"/>
                                      </p:to>
                                    </p:set>
                                    <p:animEffect transition="in" filter="fade">
                                      <p:cBhvr>
                                        <p:cTn id="27" dur="500"/>
                                        <p:tgtEl>
                                          <p:spTgt spid="207"/>
                                        </p:tgtEl>
                                      </p:cBhvr>
                                    </p:animEffect>
                                  </p:childTnLst>
                                </p:cTn>
                              </p:par>
                              <p:par>
                                <p:cTn id="28" presetID="64" presetClass="path" presetSubtype="0" accel="50000" decel="50000" fill="hold" nodeType="withEffect">
                                  <p:stCondLst>
                                    <p:cond delay="0"/>
                                  </p:stCondLst>
                                  <p:childTnLst>
                                    <p:animMotion origin="layout" path="M 8.33333E-7 0.06805 L 8.33333E-7 0.00023 " pathEditMode="relative" rAng="0" ptsTypes="AA">
                                      <p:cBhvr>
                                        <p:cTn id="29" dur="1000" fill="hold"/>
                                        <p:tgtEl>
                                          <p:spTgt spid="207"/>
                                        </p:tgtEl>
                                        <p:attrNameLst>
                                          <p:attrName>ppt_x</p:attrName>
                                          <p:attrName>ppt_y</p:attrName>
                                        </p:attrNameLst>
                                      </p:cBhvr>
                                      <p:rCtr x="0" y="-3403"/>
                                    </p:animMotion>
                                  </p:childTnLst>
                                </p:cTn>
                              </p:par>
                              <p:par>
                                <p:cTn id="30" presetID="10" presetClass="entr" presetSubtype="0" fill="hold" nodeType="withEffect">
                                  <p:stCondLst>
                                    <p:cond delay="0"/>
                                  </p:stCondLst>
                                  <p:childTnLst>
                                    <p:set>
                                      <p:cBhvr>
                                        <p:cTn id="31" dur="1" fill="hold">
                                          <p:stCondLst>
                                            <p:cond delay="0"/>
                                          </p:stCondLst>
                                        </p:cTn>
                                        <p:tgtEl>
                                          <p:spTgt spid="217"/>
                                        </p:tgtEl>
                                        <p:attrNameLst>
                                          <p:attrName>style.visibility</p:attrName>
                                        </p:attrNameLst>
                                      </p:cBhvr>
                                      <p:to>
                                        <p:strVal val="visible"/>
                                      </p:to>
                                    </p:set>
                                    <p:animEffect transition="in" filter="fade">
                                      <p:cBhvr>
                                        <p:cTn id="32" dur="500"/>
                                        <p:tgtEl>
                                          <p:spTgt spid="217"/>
                                        </p:tgtEl>
                                      </p:cBhvr>
                                    </p:animEffect>
                                  </p:childTnLst>
                                </p:cTn>
                              </p:par>
                              <p:par>
                                <p:cTn id="33" presetID="64" presetClass="path" presetSubtype="0" accel="50000" decel="50000" fill="hold" nodeType="withEffect">
                                  <p:stCondLst>
                                    <p:cond delay="0"/>
                                  </p:stCondLst>
                                  <p:childTnLst>
                                    <p:animMotion origin="layout" path="M 8.33333E-7 0.06805 L 8.33333E-7 0.00023 " pathEditMode="relative" rAng="0" ptsTypes="AA">
                                      <p:cBhvr>
                                        <p:cTn id="34" dur="1000" fill="hold"/>
                                        <p:tgtEl>
                                          <p:spTgt spid="217"/>
                                        </p:tgtEl>
                                        <p:attrNameLst>
                                          <p:attrName>ppt_x</p:attrName>
                                          <p:attrName>ppt_y</p:attrName>
                                        </p:attrNameLst>
                                      </p:cBhvr>
                                      <p:rCtr x="0" y="-3403"/>
                                    </p:animMotion>
                                  </p:childTnLst>
                                </p:cTn>
                              </p:par>
                              <p:par>
                                <p:cTn id="35" presetID="10" presetClass="entr" presetSubtype="0" fill="hold" nodeType="withEffect">
                                  <p:stCondLst>
                                    <p:cond delay="500"/>
                                  </p:stCondLst>
                                  <p:childTnLst>
                                    <p:set>
                                      <p:cBhvr>
                                        <p:cTn id="36" dur="1" fill="hold">
                                          <p:stCondLst>
                                            <p:cond delay="0"/>
                                          </p:stCondLst>
                                        </p:cTn>
                                        <p:tgtEl>
                                          <p:spTgt spid="187"/>
                                        </p:tgtEl>
                                        <p:attrNameLst>
                                          <p:attrName>style.visibility</p:attrName>
                                        </p:attrNameLst>
                                      </p:cBhvr>
                                      <p:to>
                                        <p:strVal val="visible"/>
                                      </p:to>
                                    </p:set>
                                    <p:animEffect transition="in" filter="fade">
                                      <p:cBhvr>
                                        <p:cTn id="37" dur="500"/>
                                        <p:tgtEl>
                                          <p:spTgt spid="187"/>
                                        </p:tgtEl>
                                      </p:cBhvr>
                                    </p:animEffect>
                                  </p:childTnLst>
                                </p:cTn>
                              </p:par>
                              <p:par>
                                <p:cTn id="38" presetID="64" presetClass="path" presetSubtype="0" accel="50000" decel="50000" fill="hold" nodeType="withEffect">
                                  <p:stCondLst>
                                    <p:cond delay="500"/>
                                  </p:stCondLst>
                                  <p:childTnLst>
                                    <p:animMotion origin="layout" path="M 8.33333E-7 0.06805 L 8.33333E-7 0.00023 " pathEditMode="relative" rAng="0" ptsTypes="AA">
                                      <p:cBhvr>
                                        <p:cTn id="39" dur="1000" fill="hold"/>
                                        <p:tgtEl>
                                          <p:spTgt spid="187"/>
                                        </p:tgtEl>
                                        <p:attrNameLst>
                                          <p:attrName>ppt_x</p:attrName>
                                          <p:attrName>ppt_y</p:attrName>
                                        </p:attrNameLst>
                                      </p:cBhvr>
                                      <p:rCtr x="0" y="-3403"/>
                                    </p:animMotion>
                                  </p:childTnLst>
                                </p:cTn>
                              </p:par>
                              <p:par>
                                <p:cTn id="40" presetID="10" presetClass="entr" presetSubtype="0" fill="hold" nodeType="withEffect">
                                  <p:stCondLst>
                                    <p:cond delay="500"/>
                                  </p:stCondLst>
                                  <p:childTnLst>
                                    <p:set>
                                      <p:cBhvr>
                                        <p:cTn id="41" dur="1" fill="hold">
                                          <p:stCondLst>
                                            <p:cond delay="0"/>
                                          </p:stCondLst>
                                        </p:cTn>
                                        <p:tgtEl>
                                          <p:spTgt spid="157"/>
                                        </p:tgtEl>
                                        <p:attrNameLst>
                                          <p:attrName>style.visibility</p:attrName>
                                        </p:attrNameLst>
                                      </p:cBhvr>
                                      <p:to>
                                        <p:strVal val="visible"/>
                                      </p:to>
                                    </p:set>
                                    <p:animEffect transition="in" filter="fade">
                                      <p:cBhvr>
                                        <p:cTn id="42" dur="500"/>
                                        <p:tgtEl>
                                          <p:spTgt spid="157"/>
                                        </p:tgtEl>
                                      </p:cBhvr>
                                    </p:animEffect>
                                  </p:childTnLst>
                                </p:cTn>
                              </p:par>
                              <p:par>
                                <p:cTn id="43" presetID="64" presetClass="path" presetSubtype="0" accel="50000" decel="50000" fill="hold" nodeType="withEffect">
                                  <p:stCondLst>
                                    <p:cond delay="500"/>
                                  </p:stCondLst>
                                  <p:childTnLst>
                                    <p:animMotion origin="layout" path="M 8.33333E-7 0.06805 L 8.33333E-7 0.00023 " pathEditMode="relative" rAng="0" ptsTypes="AA">
                                      <p:cBhvr>
                                        <p:cTn id="44" dur="1000" fill="hold"/>
                                        <p:tgtEl>
                                          <p:spTgt spid="157"/>
                                        </p:tgtEl>
                                        <p:attrNameLst>
                                          <p:attrName>ppt_x</p:attrName>
                                          <p:attrName>ppt_y</p:attrName>
                                        </p:attrNameLst>
                                      </p:cBhvr>
                                      <p:rCtr x="0" y="-3403"/>
                                    </p:animMotion>
                                  </p:childTnLst>
                                </p:cTn>
                              </p:par>
                              <p:par>
                                <p:cTn id="45" presetID="10" presetClass="entr" presetSubtype="0" fill="hold" nodeType="withEffect">
                                  <p:stCondLst>
                                    <p:cond delay="500"/>
                                  </p:stCondLst>
                                  <p:childTnLst>
                                    <p:set>
                                      <p:cBhvr>
                                        <p:cTn id="46" dur="1" fill="hold">
                                          <p:stCondLst>
                                            <p:cond delay="0"/>
                                          </p:stCondLst>
                                        </p:cTn>
                                        <p:tgtEl>
                                          <p:spTgt spid="182"/>
                                        </p:tgtEl>
                                        <p:attrNameLst>
                                          <p:attrName>style.visibility</p:attrName>
                                        </p:attrNameLst>
                                      </p:cBhvr>
                                      <p:to>
                                        <p:strVal val="visible"/>
                                      </p:to>
                                    </p:set>
                                    <p:animEffect transition="in" filter="fade">
                                      <p:cBhvr>
                                        <p:cTn id="47" dur="500"/>
                                        <p:tgtEl>
                                          <p:spTgt spid="182"/>
                                        </p:tgtEl>
                                      </p:cBhvr>
                                    </p:animEffect>
                                  </p:childTnLst>
                                </p:cTn>
                              </p:par>
                              <p:par>
                                <p:cTn id="48" presetID="64" presetClass="path" presetSubtype="0" accel="50000" decel="50000" fill="hold" nodeType="withEffect">
                                  <p:stCondLst>
                                    <p:cond delay="500"/>
                                  </p:stCondLst>
                                  <p:childTnLst>
                                    <p:animMotion origin="layout" path="M 8.33333E-7 0.06805 L 8.33333E-7 0.00023 " pathEditMode="relative" rAng="0" ptsTypes="AA">
                                      <p:cBhvr>
                                        <p:cTn id="49" dur="1000" fill="hold"/>
                                        <p:tgtEl>
                                          <p:spTgt spid="182"/>
                                        </p:tgtEl>
                                        <p:attrNameLst>
                                          <p:attrName>ppt_x</p:attrName>
                                          <p:attrName>ppt_y</p:attrName>
                                        </p:attrNameLst>
                                      </p:cBhvr>
                                      <p:rCtr x="0" y="-3403"/>
                                    </p:animMotion>
                                  </p:childTnLst>
                                </p:cTn>
                              </p:par>
                              <p:par>
                                <p:cTn id="50" presetID="10" presetClass="entr" presetSubtype="0" fill="hold" nodeType="withEffect">
                                  <p:stCondLst>
                                    <p:cond delay="1000"/>
                                  </p:stCondLst>
                                  <p:childTnLst>
                                    <p:set>
                                      <p:cBhvr>
                                        <p:cTn id="51" dur="1" fill="hold">
                                          <p:stCondLst>
                                            <p:cond delay="0"/>
                                          </p:stCondLst>
                                        </p:cTn>
                                        <p:tgtEl>
                                          <p:spTgt spid="197"/>
                                        </p:tgtEl>
                                        <p:attrNameLst>
                                          <p:attrName>style.visibility</p:attrName>
                                        </p:attrNameLst>
                                      </p:cBhvr>
                                      <p:to>
                                        <p:strVal val="visible"/>
                                      </p:to>
                                    </p:set>
                                    <p:animEffect transition="in" filter="fade">
                                      <p:cBhvr>
                                        <p:cTn id="52" dur="500"/>
                                        <p:tgtEl>
                                          <p:spTgt spid="197"/>
                                        </p:tgtEl>
                                      </p:cBhvr>
                                    </p:animEffect>
                                  </p:childTnLst>
                                </p:cTn>
                              </p:par>
                              <p:par>
                                <p:cTn id="53" presetID="64" presetClass="path" presetSubtype="0" accel="50000" decel="50000" fill="hold" nodeType="withEffect">
                                  <p:stCondLst>
                                    <p:cond delay="1000"/>
                                  </p:stCondLst>
                                  <p:childTnLst>
                                    <p:animMotion origin="layout" path="M 8.33333E-7 0.06805 L 8.33333E-7 0.00023 " pathEditMode="relative" rAng="0" ptsTypes="AA">
                                      <p:cBhvr>
                                        <p:cTn id="54" dur="1000" fill="hold"/>
                                        <p:tgtEl>
                                          <p:spTgt spid="197"/>
                                        </p:tgtEl>
                                        <p:attrNameLst>
                                          <p:attrName>ppt_x</p:attrName>
                                          <p:attrName>ppt_y</p:attrName>
                                        </p:attrNameLst>
                                      </p:cBhvr>
                                      <p:rCtr x="0" y="-3403"/>
                                    </p:animMotion>
                                  </p:childTnLst>
                                </p:cTn>
                              </p:par>
                              <p:par>
                                <p:cTn id="55" presetID="10" presetClass="entr" presetSubtype="0" fill="hold" nodeType="withEffect">
                                  <p:stCondLst>
                                    <p:cond delay="1000"/>
                                  </p:stCondLst>
                                  <p:childTnLst>
                                    <p:set>
                                      <p:cBhvr>
                                        <p:cTn id="56" dur="1" fill="hold">
                                          <p:stCondLst>
                                            <p:cond delay="0"/>
                                          </p:stCondLst>
                                        </p:cTn>
                                        <p:tgtEl>
                                          <p:spTgt spid="167"/>
                                        </p:tgtEl>
                                        <p:attrNameLst>
                                          <p:attrName>style.visibility</p:attrName>
                                        </p:attrNameLst>
                                      </p:cBhvr>
                                      <p:to>
                                        <p:strVal val="visible"/>
                                      </p:to>
                                    </p:set>
                                    <p:animEffect transition="in" filter="fade">
                                      <p:cBhvr>
                                        <p:cTn id="57" dur="500"/>
                                        <p:tgtEl>
                                          <p:spTgt spid="167"/>
                                        </p:tgtEl>
                                      </p:cBhvr>
                                    </p:animEffect>
                                  </p:childTnLst>
                                </p:cTn>
                              </p:par>
                              <p:par>
                                <p:cTn id="58" presetID="64" presetClass="path" presetSubtype="0" accel="50000" decel="50000" fill="hold" nodeType="withEffect">
                                  <p:stCondLst>
                                    <p:cond delay="1000"/>
                                  </p:stCondLst>
                                  <p:childTnLst>
                                    <p:animMotion origin="layout" path="M 8.33333E-7 0.06805 L 8.33333E-7 0.00023 " pathEditMode="relative" rAng="0" ptsTypes="AA">
                                      <p:cBhvr>
                                        <p:cTn id="59" dur="1000" fill="hold"/>
                                        <p:tgtEl>
                                          <p:spTgt spid="167"/>
                                        </p:tgtEl>
                                        <p:attrNameLst>
                                          <p:attrName>ppt_x</p:attrName>
                                          <p:attrName>ppt_y</p:attrName>
                                        </p:attrNameLst>
                                      </p:cBhvr>
                                      <p:rCtr x="0" y="-3403"/>
                                    </p:animMotion>
                                  </p:childTnLst>
                                </p:cTn>
                              </p:par>
                              <p:par>
                                <p:cTn id="60" presetID="10" presetClass="entr" presetSubtype="0" fill="hold" nodeType="withEffect">
                                  <p:stCondLst>
                                    <p:cond delay="1000"/>
                                  </p:stCondLst>
                                  <p:childTnLst>
                                    <p:set>
                                      <p:cBhvr>
                                        <p:cTn id="61" dur="1" fill="hold">
                                          <p:stCondLst>
                                            <p:cond delay="0"/>
                                          </p:stCondLst>
                                        </p:cTn>
                                        <p:tgtEl>
                                          <p:spTgt spid="177"/>
                                        </p:tgtEl>
                                        <p:attrNameLst>
                                          <p:attrName>style.visibility</p:attrName>
                                        </p:attrNameLst>
                                      </p:cBhvr>
                                      <p:to>
                                        <p:strVal val="visible"/>
                                      </p:to>
                                    </p:set>
                                    <p:animEffect transition="in" filter="fade">
                                      <p:cBhvr>
                                        <p:cTn id="62" dur="500"/>
                                        <p:tgtEl>
                                          <p:spTgt spid="177"/>
                                        </p:tgtEl>
                                      </p:cBhvr>
                                    </p:animEffect>
                                  </p:childTnLst>
                                </p:cTn>
                              </p:par>
                              <p:par>
                                <p:cTn id="63" presetID="64" presetClass="path" presetSubtype="0" accel="50000" decel="50000" fill="hold" nodeType="withEffect">
                                  <p:stCondLst>
                                    <p:cond delay="1000"/>
                                  </p:stCondLst>
                                  <p:childTnLst>
                                    <p:animMotion origin="layout" path="M 0 0.06805 L 0 0.00023 " pathEditMode="relative" rAng="0" ptsTypes="AA">
                                      <p:cBhvr>
                                        <p:cTn id="64" dur="1000" fill="hold"/>
                                        <p:tgtEl>
                                          <p:spTgt spid="177"/>
                                        </p:tgtEl>
                                        <p:attrNameLst>
                                          <p:attrName>ppt_x</p:attrName>
                                          <p:attrName>ppt_y</p:attrName>
                                        </p:attrNameLst>
                                      </p:cBhvr>
                                      <p:rCtr x="0" y="-3403"/>
                                    </p:animMotion>
                                  </p:childTnLst>
                                </p:cTn>
                              </p:par>
                              <p:par>
                                <p:cTn id="65" presetID="10" presetClass="entr" presetSubtype="0" fill="hold" nodeType="withEffect">
                                  <p:stCondLst>
                                    <p:cond delay="1000"/>
                                  </p:stCondLst>
                                  <p:childTnLst>
                                    <p:set>
                                      <p:cBhvr>
                                        <p:cTn id="66" dur="1" fill="hold">
                                          <p:stCondLst>
                                            <p:cond delay="0"/>
                                          </p:stCondLst>
                                        </p:cTn>
                                        <p:tgtEl>
                                          <p:spTgt spid="212"/>
                                        </p:tgtEl>
                                        <p:attrNameLst>
                                          <p:attrName>style.visibility</p:attrName>
                                        </p:attrNameLst>
                                      </p:cBhvr>
                                      <p:to>
                                        <p:strVal val="visible"/>
                                      </p:to>
                                    </p:set>
                                    <p:animEffect transition="in" filter="fade">
                                      <p:cBhvr>
                                        <p:cTn id="67" dur="500"/>
                                        <p:tgtEl>
                                          <p:spTgt spid="212"/>
                                        </p:tgtEl>
                                      </p:cBhvr>
                                    </p:animEffect>
                                  </p:childTnLst>
                                </p:cTn>
                              </p:par>
                              <p:par>
                                <p:cTn id="68" presetID="64" presetClass="path" presetSubtype="0" accel="50000" decel="50000" fill="hold" nodeType="withEffect">
                                  <p:stCondLst>
                                    <p:cond delay="1000"/>
                                  </p:stCondLst>
                                  <p:childTnLst>
                                    <p:animMotion origin="layout" path="M 8.33333E-7 0.06805 L 8.33333E-7 0.00023 " pathEditMode="relative" rAng="0" ptsTypes="AA">
                                      <p:cBhvr>
                                        <p:cTn id="69" dur="1000" fill="hold"/>
                                        <p:tgtEl>
                                          <p:spTgt spid="212"/>
                                        </p:tgtEl>
                                        <p:attrNameLst>
                                          <p:attrName>ppt_x</p:attrName>
                                          <p:attrName>ppt_y</p:attrName>
                                        </p:attrNameLst>
                                      </p:cBhvr>
                                      <p:rCtr x="0" y="-3403"/>
                                    </p:animMotion>
                                  </p:childTnLst>
                                </p:cTn>
                              </p:par>
                              <p:par>
                                <p:cTn id="70" presetID="10" presetClass="entr" presetSubtype="0" fill="hold" nodeType="withEffect">
                                  <p:stCondLst>
                                    <p:cond delay="1000"/>
                                  </p:stCondLst>
                                  <p:childTnLst>
                                    <p:set>
                                      <p:cBhvr>
                                        <p:cTn id="71" dur="1" fill="hold">
                                          <p:stCondLst>
                                            <p:cond delay="0"/>
                                          </p:stCondLst>
                                        </p:cTn>
                                        <p:tgtEl>
                                          <p:spTgt spid="227"/>
                                        </p:tgtEl>
                                        <p:attrNameLst>
                                          <p:attrName>style.visibility</p:attrName>
                                        </p:attrNameLst>
                                      </p:cBhvr>
                                      <p:to>
                                        <p:strVal val="visible"/>
                                      </p:to>
                                    </p:set>
                                    <p:animEffect transition="in" filter="fade">
                                      <p:cBhvr>
                                        <p:cTn id="72" dur="500"/>
                                        <p:tgtEl>
                                          <p:spTgt spid="227"/>
                                        </p:tgtEl>
                                      </p:cBhvr>
                                    </p:animEffect>
                                  </p:childTnLst>
                                </p:cTn>
                              </p:par>
                              <p:par>
                                <p:cTn id="73" presetID="64" presetClass="path" presetSubtype="0" accel="50000" decel="50000" fill="hold" nodeType="withEffect">
                                  <p:stCondLst>
                                    <p:cond delay="1000"/>
                                  </p:stCondLst>
                                  <p:childTnLst>
                                    <p:animMotion origin="layout" path="M 8.33333E-7 0.06805 L 8.33333E-7 0.00023 " pathEditMode="relative" rAng="0" ptsTypes="AA">
                                      <p:cBhvr>
                                        <p:cTn id="74" dur="1000" fill="hold"/>
                                        <p:tgtEl>
                                          <p:spTgt spid="227"/>
                                        </p:tgtEl>
                                        <p:attrNameLst>
                                          <p:attrName>ppt_x</p:attrName>
                                          <p:attrName>ppt_y</p:attrName>
                                        </p:attrNameLst>
                                      </p:cBhvr>
                                      <p:rCtr x="0" y="-3403"/>
                                    </p:animMotion>
                                  </p:childTnLst>
                                </p:cTn>
                              </p:par>
                              <p:par>
                                <p:cTn id="75" presetID="10" presetClass="entr" presetSubtype="0" fill="hold" grpId="0" nodeType="withEffect">
                                  <p:stCondLst>
                                    <p:cond delay="1500"/>
                                  </p:stCondLst>
                                  <p:childTnLst>
                                    <p:set>
                                      <p:cBhvr>
                                        <p:cTn id="76" dur="1" fill="hold">
                                          <p:stCondLst>
                                            <p:cond delay="0"/>
                                          </p:stCondLst>
                                        </p:cTn>
                                        <p:tgtEl>
                                          <p:spTgt spid="156"/>
                                        </p:tgtEl>
                                        <p:attrNameLst>
                                          <p:attrName>style.visibility</p:attrName>
                                        </p:attrNameLst>
                                      </p:cBhvr>
                                      <p:to>
                                        <p:strVal val="visible"/>
                                      </p:to>
                                    </p:set>
                                    <p:animEffect transition="in" filter="fade">
                                      <p:cBhvr>
                                        <p:cTn id="77" dur="500"/>
                                        <p:tgtEl>
                                          <p:spTgt spid="156"/>
                                        </p:tgtEl>
                                      </p:cBhvr>
                                    </p:animEffect>
                                  </p:childTnLst>
                                </p:cTn>
                              </p:par>
                              <p:par>
                                <p:cTn id="78" presetID="10" presetClass="entr" presetSubtype="0" fill="hold" nodeType="withEffect">
                                  <p:stCondLst>
                                    <p:cond delay="500"/>
                                  </p:stCondLst>
                                  <p:childTnLst>
                                    <p:set>
                                      <p:cBhvr>
                                        <p:cTn id="79" dur="1" fill="hold">
                                          <p:stCondLst>
                                            <p:cond delay="0"/>
                                          </p:stCondLst>
                                        </p:cTn>
                                        <p:tgtEl>
                                          <p:spTgt spid="202"/>
                                        </p:tgtEl>
                                        <p:attrNameLst>
                                          <p:attrName>style.visibility</p:attrName>
                                        </p:attrNameLst>
                                      </p:cBhvr>
                                      <p:to>
                                        <p:strVal val="visible"/>
                                      </p:to>
                                    </p:set>
                                    <p:animEffect transition="in" filter="fade">
                                      <p:cBhvr>
                                        <p:cTn id="80" dur="500"/>
                                        <p:tgtEl>
                                          <p:spTgt spid="202"/>
                                        </p:tgtEl>
                                      </p:cBhvr>
                                    </p:animEffect>
                                  </p:childTnLst>
                                </p:cTn>
                              </p:par>
                              <p:par>
                                <p:cTn id="81" presetID="64" presetClass="path" presetSubtype="0" accel="50000" decel="50000" fill="hold" nodeType="withEffect">
                                  <p:stCondLst>
                                    <p:cond delay="500"/>
                                  </p:stCondLst>
                                  <p:childTnLst>
                                    <p:animMotion origin="layout" path="M 8.33333E-7 0.06805 L 8.33333E-7 0.00023 " pathEditMode="relative" rAng="0" ptsTypes="AA">
                                      <p:cBhvr>
                                        <p:cTn id="82" dur="1000" fill="hold"/>
                                        <p:tgtEl>
                                          <p:spTgt spid="202"/>
                                        </p:tgtEl>
                                        <p:attrNameLst>
                                          <p:attrName>ppt_x</p:attrName>
                                          <p:attrName>ppt_y</p:attrName>
                                        </p:attrNameLst>
                                      </p:cBhvr>
                                      <p:rCtr x="0" y="-3403"/>
                                    </p:animMotion>
                                  </p:childTnLst>
                                </p:cTn>
                              </p:par>
                              <p:par>
                                <p:cTn id="83" presetID="10" presetClass="entr" presetSubtype="0" fill="hold" nodeType="withEffect">
                                  <p:stCondLst>
                                    <p:cond delay="500"/>
                                  </p:stCondLst>
                                  <p:childTnLst>
                                    <p:set>
                                      <p:cBhvr>
                                        <p:cTn id="84" dur="1" fill="hold">
                                          <p:stCondLst>
                                            <p:cond delay="0"/>
                                          </p:stCondLst>
                                        </p:cTn>
                                        <p:tgtEl>
                                          <p:spTgt spid="222"/>
                                        </p:tgtEl>
                                        <p:attrNameLst>
                                          <p:attrName>style.visibility</p:attrName>
                                        </p:attrNameLst>
                                      </p:cBhvr>
                                      <p:to>
                                        <p:strVal val="visible"/>
                                      </p:to>
                                    </p:set>
                                    <p:animEffect transition="in" filter="fade">
                                      <p:cBhvr>
                                        <p:cTn id="85" dur="500"/>
                                        <p:tgtEl>
                                          <p:spTgt spid="222"/>
                                        </p:tgtEl>
                                      </p:cBhvr>
                                    </p:animEffect>
                                  </p:childTnLst>
                                </p:cTn>
                              </p:par>
                              <p:par>
                                <p:cTn id="86" presetID="64" presetClass="path" presetSubtype="0" accel="50000" decel="50000" fill="hold" nodeType="withEffect">
                                  <p:stCondLst>
                                    <p:cond delay="500"/>
                                  </p:stCondLst>
                                  <p:childTnLst>
                                    <p:animMotion origin="layout" path="M 8.33333E-7 0.06805 L 8.33333E-7 0.00023 " pathEditMode="relative" rAng="0" ptsTypes="AA">
                                      <p:cBhvr>
                                        <p:cTn id="87" dur="1000" fill="hold"/>
                                        <p:tgtEl>
                                          <p:spTgt spid="222"/>
                                        </p:tgtEl>
                                        <p:attrNameLst>
                                          <p:attrName>ppt_x</p:attrName>
                                          <p:attrName>ppt_y</p:attrName>
                                        </p:attrNameLst>
                                      </p:cBhvr>
                                      <p:rCtr x="0" y="-340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Segoe UI" pitchFamily="34" charset="0"/>
              <a:cs typeface="Segoe UI" pitchFamily="34" charset="0"/>
            </a:endParaRPr>
          </a:p>
        </p:txBody>
      </p:sp>
      <p:pic>
        <p:nvPicPr>
          <p:cNvPr id="7" name="Picture 6" descr="Un código QR sobre fondo blanco">
            <a:extLst>
              <a:ext uri="{FF2B5EF4-FFF2-40B4-BE49-F238E27FC236}">
                <a16:creationId xmlns:a16="http://schemas.microsoft.com/office/drawing/2014/main" id="{73434B69-5AE9-898D-CD74-79C32E94922A}"/>
              </a:ext>
            </a:extLst>
          </p:cNvPr>
          <p:cNvPicPr>
            <a:picLocks noChangeAspect="1"/>
          </p:cNvPicPr>
          <p:nvPr/>
        </p:nvPicPr>
        <p:blipFill>
          <a:blip r:embed="rId3"/>
          <a:stretch>
            <a:fillRect/>
          </a:stretch>
        </p:blipFill>
        <p:spPr>
          <a:xfrm>
            <a:off x="971115" y="2441954"/>
            <a:ext cx="1810512" cy="1810512"/>
          </a:xfrm>
          <a:prstGeom prst="roundRect">
            <a:avLst>
              <a:gd name="adj" fmla="val 2933"/>
            </a:avLst>
          </a:prstGeom>
          <a:noFill/>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Sans Display"/>
                <a:ea typeface="+mn-ea"/>
                <a:cs typeface="+mn-cs"/>
              </a:endParaRPr>
            </a:p>
          </p:txBody>
        </p:sp>
      </p:grpSp>
      <p:pic>
        <p:nvPicPr>
          <p:cNvPr id="12" name="Picture 11" descr="Una imagen borrosa de un cielo naranja y rosa  El contenido generado por IA puede ser incorrecto.">
            <a:extLst>
              <a:ext uri="{FF2B5EF4-FFF2-40B4-BE49-F238E27FC236}">
                <a16:creationId xmlns:a16="http://schemas.microsoft.com/office/drawing/2014/main" id="{8B53E518-C6A8-9ECF-F889-F03B4CEBA56D}"/>
              </a:ext>
            </a:extLst>
          </p:cNvPr>
          <p:cNvPicPr>
            <a:picLocks noChangeAspect="1"/>
          </p:cNvPicPr>
          <p:nvPr/>
        </p:nvPicPr>
        <p:blipFill>
          <a:blip r:embed="rId4" cstate="email">
            <a:alphaModFix/>
            <a:extLst>
              <a:ext uri="{BEBA8EAE-BF5A-486C-A8C5-ECC9F3942E4B}">
                <a14:imgProps xmlns:a14="http://schemas.microsoft.com/office/drawing/2010/main">
                  <a14:imgLayer r:embed="rId5">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3711705" y="592098"/>
            <a:ext cx="8285404" cy="1255728"/>
          </a:xfrm>
          <a:prstGeom prst="rect">
            <a:avLst/>
          </a:prstGeom>
          <a:noFill/>
          <a:ln>
            <a:noFill/>
            <a:prstDash/>
          </a:ln>
          <a:effectLst/>
        </p:spPr>
        <p:txBody>
          <a:bodyPr wrap="square">
            <a:spAutoFit/>
          </a:bodyPr>
          <a:lstStyle/>
          <a:p>
            <a:pPr marL="0" marR="0" lvl="0" indent="0" algn="ctr" defTabSz="914367" rtl="0" eaLnBrk="1" fontAlgn="auto" latinLnBrk="0" hangingPunct="1">
              <a:lnSpc>
                <a:spcPct val="90000"/>
              </a:lnSpc>
              <a:spcBef>
                <a:spcPts val="0"/>
              </a:spcBef>
              <a:spcAft>
                <a:spcPts val="1800"/>
              </a:spcAft>
              <a:buClrTx/>
              <a:buSzTx/>
              <a:buFontTx/>
              <a:buNone/>
              <a:tabLst/>
              <a:defRPr/>
            </a:pPr>
            <a:r>
              <a:rPr kumimoji="0" lang="es-es" sz="2800" b="0" i="0" u="none" strike="noStrike" kern="1200" cap="none" spc="0" normalizeH="0" baseline="0" noProof="0" dirty="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Visita el </a:t>
            </a:r>
            <a:r>
              <a:rPr kumimoji="0" lang="es-ES" sz="2800" b="0" i="0" u="none" strike="noStrike" kern="1200" cap="none" spc="0" normalizeH="0" baseline="0" noProof="0" dirty="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hlinkClick r:id="rId6"/>
              </a:rPr>
              <a:t>sitio web del Centro de clientes</a:t>
            </a:r>
            <a:r>
              <a:rPr kumimoji="0" lang="es-ES" sz="2800" b="0" i="0" u="none" strike="noStrike" kern="1200" cap="none" spc="0" normalizeH="0" baseline="0" noProof="0" dirty="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 </a:t>
            </a:r>
            <a:r>
              <a:rPr kumimoji="0" lang="es-es" sz="2800" b="0" i="0" u="none" strike="noStrike" kern="1200" cap="none" spc="0" normalizeH="0" baseline="0" noProof="0" dirty="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para conocer las próximas sesiones, novedades </a:t>
            </a:r>
            <a:br>
              <a:rPr kumimoji="0" lang="es-es" sz="2800" b="0" i="0" u="none" strike="noStrike" kern="1200" cap="none" spc="0" normalizeH="0" baseline="0" noProof="0" dirty="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br>
            <a:r>
              <a:rPr kumimoji="0" lang="es-es" sz="2800" b="0" i="0" u="none" strike="noStrike" kern="1200" cap="none" spc="0" normalizeH="0" baseline="0" noProof="0" dirty="0">
                <a:ln w="3175">
                  <a:noFill/>
                </a:ln>
                <a:gradFill flip="none" rotWithShape="1">
                  <a:gsLst>
                    <a:gs pos="0">
                      <a:srgbClr val="94D8FE"/>
                    </a:gs>
                    <a:gs pos="100000">
                      <a:prstClr val="white"/>
                    </a:gs>
                  </a:gsLst>
                  <a:lin ang="13500000" scaled="1"/>
                  <a:tileRect/>
                </a:gradFill>
                <a:effectLst/>
                <a:uLnTx/>
                <a:uFillTx/>
                <a:latin typeface="Segoe Sans Display Semibold" pitchFamily="2" charset="0"/>
                <a:ea typeface="+mn-ea"/>
                <a:cs typeface="Segoe Sans Display Semibold" pitchFamily="2" charset="0"/>
              </a:rPr>
              <a:t>y contenido a demanda.</a:t>
            </a:r>
          </a:p>
        </p:txBody>
      </p:sp>
      <p:sp>
        <p:nvSpPr>
          <p:cNvPr id="14" name="Rectangle: Rounded Corners 13">
            <a:extLst>
              <a:ext uri="{FF2B5EF4-FFF2-40B4-BE49-F238E27FC236}">
                <a16:creationId xmlns:a16="http://schemas.microsoft.com/office/drawing/2014/main" id="{DE7ED2F4-D21B-084A-2A38-BC93B81F409C}"/>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Sans Display"/>
              <a:ea typeface="+mn-ea"/>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rgbClr val="091F2C"/>
                </a:solidFill>
                <a:effectLst/>
                <a:uLnTx/>
                <a:uFillTx/>
                <a:latin typeface="Segoe Sans Text"/>
                <a:ea typeface="+mn-ea"/>
                <a:cs typeface="+mn-cs"/>
                <a:hlinkClick r:id="rId6">
                  <a:extLst>
                    <a:ext uri="{A12FA001-AC4F-418D-AE19-62706E023703}">
                      <ahyp:hlinkClr xmlns:ahyp="http://schemas.microsoft.com/office/drawing/2018/hyperlinkcolor" val="tx"/>
                    </a:ext>
                  </a:extLst>
                </a:hlinkClick>
              </a:rPr>
              <a:t>https://aka.ms/CustomerHubSessions</a:t>
            </a:r>
            <a:r>
              <a:rPr kumimoji="0" lang="es-es" sz="1100" b="0" i="0" u="none" strike="noStrike" kern="1200" cap="none" spc="0" normalizeH="0" baseline="0" noProof="0">
                <a:ln>
                  <a:noFill/>
                </a:ln>
                <a:solidFill>
                  <a:srgbClr val="091F2C"/>
                </a:solidFill>
                <a:effectLst/>
                <a:uLnTx/>
                <a:uFillTx/>
                <a:latin typeface="Segoe Sans Text"/>
                <a:ea typeface="+mn-ea"/>
                <a:cs typeface="+mn-cs"/>
              </a:rPr>
              <a:t>​</a:t>
            </a:r>
          </a:p>
        </p:txBody>
      </p:sp>
      <p:pic>
        <p:nvPicPr>
          <p:cNvPr id="2" name="Graphic 7">
            <a:extLst>
              <a:ext uri="{FF2B5EF4-FFF2-40B4-BE49-F238E27FC236}">
                <a16:creationId xmlns:a16="http://schemas.microsoft.com/office/drawing/2014/main" id="{6F4EFC42-D7C6-C007-E658-B35DDBADFF79}"/>
              </a:ext>
            </a:extLst>
          </p:cNvPr>
          <p:cNvPicPr>
            <a:picLocks/>
          </p:cNvPicPr>
          <p:nvPr/>
        </p:nvPicPr>
        <p:blipFill>
          <a:blip r:embed="rId8"/>
          <a:srcRect/>
          <a:stretch/>
        </p:blipFill>
        <p:spPr>
          <a:xfrm>
            <a:off x="284218" y="858978"/>
            <a:ext cx="2971800" cy="704088"/>
          </a:xfrm>
          <a:prstGeom prst="rect">
            <a:avLst/>
          </a:prstGeom>
        </p:spPr>
      </p:pic>
    </p:spTree>
    <p:extLst>
      <p:ext uri="{BB962C8B-B14F-4D97-AF65-F5344CB8AC3E}">
        <p14:creationId xmlns:p14="http://schemas.microsoft.com/office/powerpoint/2010/main" val="224691423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E9414-67D2-7A6B-1036-6FF43603D5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2B0129-B0E3-3632-19FB-FCA195293662}"/>
              </a:ext>
            </a:extLst>
          </p:cNvPr>
          <p:cNvSpPr>
            <a:spLocks noGrp="1"/>
          </p:cNvSpPr>
          <p:nvPr>
            <p:ph type="title"/>
          </p:nvPr>
        </p:nvSpPr>
        <p:spPr>
          <a:xfrm>
            <a:off x="571500" y="2792795"/>
            <a:ext cx="4179404" cy="1661993"/>
          </a:xfrm>
          <a:prstGeom prst="rect">
            <a:avLst/>
          </a:prstGeom>
        </p:spPr>
        <p:txBody>
          <a:bodyPr/>
          <a:lstStyle/>
          <a:p>
            <a:r>
              <a:rPr lang="es-es" spc="0"/>
              <a:t>Descubre agentes que te resulten pertinentes</a:t>
            </a:r>
          </a:p>
        </p:txBody>
      </p:sp>
    </p:spTree>
    <p:extLst>
      <p:ext uri="{BB962C8B-B14F-4D97-AF65-F5344CB8AC3E}">
        <p14:creationId xmlns:p14="http://schemas.microsoft.com/office/powerpoint/2010/main" val="16194256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15AF2-E8EF-C412-4229-22CF042E350A}"/>
            </a:ext>
          </a:extLst>
        </p:cNvPr>
        <p:cNvGrpSpPr/>
        <p:nvPr/>
      </p:nvGrpSpPr>
      <p:grpSpPr>
        <a:xfrm>
          <a:off x="0" y="0"/>
          <a:ext cx="0" cy="0"/>
          <a:chOff x="0" y="0"/>
          <a:chExt cx="0" cy="0"/>
        </a:xfrm>
      </p:grpSpPr>
      <p:sp>
        <p:nvSpPr>
          <p:cNvPr id="4" name="Rectangle: Top Corners Rounded 22">
            <a:extLst>
              <a:ext uri="{FF2B5EF4-FFF2-40B4-BE49-F238E27FC236}">
                <a16:creationId xmlns:a16="http://schemas.microsoft.com/office/drawing/2014/main" id="{022DBF32-04C1-7B0C-13CB-E995F30CA4BD}"/>
              </a:ext>
              <a:ext uri="{C183D7F6-B498-43B3-948B-1728B52AA6E4}">
                <adec:decorative xmlns:adec="http://schemas.microsoft.com/office/drawing/2017/decorative" val="1"/>
              </a:ext>
            </a:extLst>
          </p:cNvPr>
          <p:cNvSpPr>
            <a:spLocks/>
          </p:cNvSpPr>
          <p:nvPr/>
        </p:nvSpPr>
        <p:spPr bwMode="auto">
          <a:xfrm rot="10800000">
            <a:off x="586899" y="4035966"/>
            <a:ext cx="11008836" cy="2364833"/>
          </a:xfrm>
          <a:prstGeom prst="round2SameRect">
            <a:avLst>
              <a:gd name="adj1" fmla="val 4552"/>
              <a:gd name="adj2" fmla="val 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 name="Rounded Rectangle 64">
            <a:extLst>
              <a:ext uri="{FF2B5EF4-FFF2-40B4-BE49-F238E27FC236}">
                <a16:creationId xmlns:a16="http://schemas.microsoft.com/office/drawing/2014/main" id="{4EE362DD-8310-76C0-06CF-21E3A8F94662}"/>
              </a:ext>
              <a:ext uri="{C183D7F6-B498-43B3-948B-1728B52AA6E4}">
                <adec:decorative xmlns:adec="http://schemas.microsoft.com/office/drawing/2017/decorative" val="1"/>
              </a:ext>
            </a:extLst>
          </p:cNvPr>
          <p:cNvSpPr>
            <a:spLocks/>
          </p:cNvSpPr>
          <p:nvPr/>
        </p:nvSpPr>
        <p:spPr bwMode="auto">
          <a:xfrm>
            <a:off x="587851" y="1318499"/>
            <a:ext cx="11017250" cy="5082301"/>
          </a:xfrm>
          <a:prstGeom prst="roundRect">
            <a:avLst>
              <a:gd name="adj" fmla="val 2401"/>
            </a:avLst>
          </a:prstGeom>
          <a:no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Segoe UI Variable Small Semibol" pitchFamily="2" charset="0"/>
              <a:ea typeface="+mn-ea"/>
              <a:cs typeface="+mn-cs"/>
            </a:endParaRPr>
          </a:p>
        </p:txBody>
      </p:sp>
      <p:cxnSp>
        <p:nvCxnSpPr>
          <p:cNvPr id="6" name="Straight Connector 5">
            <a:extLst>
              <a:ext uri="{FF2B5EF4-FFF2-40B4-BE49-F238E27FC236}">
                <a16:creationId xmlns:a16="http://schemas.microsoft.com/office/drawing/2014/main" id="{3E20F57C-507C-5DAB-6E43-721E56598217}"/>
              </a:ext>
              <a:ext uri="{C183D7F6-B498-43B3-948B-1728B52AA6E4}">
                <adec:decorative xmlns:adec="http://schemas.microsoft.com/office/drawing/2017/decorative" val="1"/>
              </a:ext>
            </a:extLst>
          </p:cNvPr>
          <p:cNvCxnSpPr>
            <a:cxnSpLocks/>
          </p:cNvCxnSpPr>
          <p:nvPr/>
        </p:nvCxnSpPr>
        <p:spPr>
          <a:xfrm>
            <a:off x="4288088" y="4246359"/>
            <a:ext cx="0" cy="192024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F6B1141-37A0-6D19-DDD1-2B2288864683}"/>
              </a:ext>
              <a:ext uri="{C183D7F6-B498-43B3-948B-1728B52AA6E4}">
                <adec:decorative xmlns:adec="http://schemas.microsoft.com/office/drawing/2017/decorative" val="1"/>
              </a:ext>
            </a:extLst>
          </p:cNvPr>
          <p:cNvCxnSpPr>
            <a:cxnSpLocks/>
          </p:cNvCxnSpPr>
          <p:nvPr/>
        </p:nvCxnSpPr>
        <p:spPr>
          <a:xfrm>
            <a:off x="7903911" y="4246359"/>
            <a:ext cx="0" cy="192024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9">
            <a:extLst>
              <a:ext uri="{FF2B5EF4-FFF2-40B4-BE49-F238E27FC236}">
                <a16:creationId xmlns:a16="http://schemas.microsoft.com/office/drawing/2014/main" id="{D9202121-5DFC-80AD-622D-22ABC6EAD6B7}"/>
              </a:ext>
            </a:extLst>
          </p:cNvPr>
          <p:cNvSpPr txBox="1">
            <a:spLocks noGrp="1"/>
          </p:cNvSpPr>
          <p:nvPr>
            <p:ph type="title" idx="4294967295"/>
          </p:nvPr>
        </p:nvSpPr>
        <p:spPr>
          <a:xfrm>
            <a:off x="628703" y="457200"/>
            <a:ext cx="11017250"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3600" b="1" i="0" u="none" strike="noStrike" kern="1200" cap="none" spc="-20" normalizeH="0" baseline="0" noProof="0" dirty="0">
                <a:ln>
                  <a:noFill/>
                </a:ln>
                <a:solidFill>
                  <a:srgbClr val="000000"/>
                </a:solidFill>
                <a:effectLst/>
                <a:uLnTx/>
                <a:uFillTx/>
                <a:latin typeface="Segoe Sans Display Semibold" pitchFamily="2" charset="0"/>
                <a:ea typeface="+mn-ea"/>
                <a:cs typeface="Segoe Sans Display Semibold" pitchFamily="2" charset="0"/>
              </a:rPr>
              <a:t>Agent Store</a:t>
            </a:r>
          </a:p>
        </p:txBody>
      </p:sp>
      <p:sp>
        <p:nvSpPr>
          <p:cNvPr id="8" name="TextBox 7">
            <a:extLst>
              <a:ext uri="{FF2B5EF4-FFF2-40B4-BE49-F238E27FC236}">
                <a16:creationId xmlns:a16="http://schemas.microsoft.com/office/drawing/2014/main" id="{AF1D1761-1518-4750-A0B5-ED7B0BF60115}"/>
              </a:ext>
            </a:extLst>
          </p:cNvPr>
          <p:cNvSpPr txBox="1"/>
          <p:nvPr/>
        </p:nvSpPr>
        <p:spPr>
          <a:xfrm>
            <a:off x="868680" y="4279392"/>
            <a:ext cx="321868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a:ln w="3175">
                  <a:noFill/>
                </a:ln>
                <a:solidFill>
                  <a:srgbClr val="0078D4"/>
                </a:solidFill>
                <a:effectLst/>
                <a:uLnTx/>
                <a:uFillTx/>
                <a:latin typeface="Segoe Sans Display Semibold" pitchFamily="2" charset="0"/>
                <a:ea typeface="+mn-ea"/>
                <a:cs typeface="Segoe Sans Display Semibold" pitchFamily="2" charset="0"/>
              </a:rPr>
              <a:t>Descubre agentes</a:t>
            </a:r>
          </a:p>
        </p:txBody>
      </p:sp>
      <p:sp>
        <p:nvSpPr>
          <p:cNvPr id="9" name="TextBox 8">
            <a:extLst>
              <a:ext uri="{FF2B5EF4-FFF2-40B4-BE49-F238E27FC236}">
                <a16:creationId xmlns:a16="http://schemas.microsoft.com/office/drawing/2014/main" id="{F4E4539B-D459-6AA8-6F95-40F34FCE854F}"/>
              </a:ext>
            </a:extLst>
          </p:cNvPr>
          <p:cNvSpPr txBox="1"/>
          <p:nvPr/>
        </p:nvSpPr>
        <p:spPr>
          <a:xfrm>
            <a:off x="4486656" y="4279392"/>
            <a:ext cx="3218688" cy="276999"/>
          </a:xfrm>
          <a:prstGeom prst="rect">
            <a:avLst/>
          </a:prstGeom>
          <a:noFill/>
        </p:spPr>
        <p:txBody>
          <a:bodyPr wrap="square" lIns="0" tIns="0" rIns="0" bIns="0" rtlCol="0" anchor="ctr">
            <a:noAutofit/>
          </a:bodyPr>
          <a:lstStyle>
            <a:defPPr>
              <a:defRPr lang="en-US"/>
            </a:defPPr>
            <a:lvl1pPr marR="0" lvl="0" indent="0" algn="ctr" fontAlgn="auto">
              <a:spcBef>
                <a:spcPts val="0"/>
              </a:spcBef>
              <a:spcAft>
                <a:spcPts val="0"/>
              </a:spcAft>
              <a:buClrTx/>
              <a:buSzTx/>
              <a:buFontTx/>
              <a:buNone/>
              <a:tabLst/>
              <a:defRPr kumimoji="0" sz="2000" b="1" u="none" strike="noStrike" cap="none" spc="0" normalizeH="0" baseline="0">
                <a:ln w="3175">
                  <a:noFill/>
                </a:ln>
                <a:solidFill>
                  <a:srgbClr val="865FC4"/>
                </a:solidFill>
                <a:effectLst/>
                <a:uLnTx/>
                <a:uFillTx/>
                <a:latin typeface="Segoe Sans Display Semibold" pitchFamily="2" charset="0"/>
                <a:cs typeface="Segoe Sans Display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w="3175">
                  <a:noFill/>
                </a:ln>
                <a:solidFill>
                  <a:srgbClr val="865FC4"/>
                </a:solidFill>
                <a:effectLst/>
                <a:uLnTx/>
                <a:uFillTx/>
                <a:latin typeface="Segoe Sans Display Semibold" pitchFamily="2" charset="0"/>
                <a:ea typeface="+mn-ea"/>
                <a:cs typeface="Segoe Sans Display Semibold" pitchFamily="2" charset="0"/>
              </a:rPr>
              <a:t>Implementa rápidamente</a:t>
            </a:r>
          </a:p>
        </p:txBody>
      </p:sp>
      <p:sp>
        <p:nvSpPr>
          <p:cNvPr id="10" name="TextBox 9">
            <a:extLst>
              <a:ext uri="{FF2B5EF4-FFF2-40B4-BE49-F238E27FC236}">
                <a16:creationId xmlns:a16="http://schemas.microsoft.com/office/drawing/2014/main" id="{7858E1BA-4FE5-0E3B-E6FF-52395D9C499E}"/>
              </a:ext>
            </a:extLst>
          </p:cNvPr>
          <p:cNvSpPr txBox="1"/>
          <p:nvPr/>
        </p:nvSpPr>
        <p:spPr>
          <a:xfrm>
            <a:off x="8101584" y="4279392"/>
            <a:ext cx="3218688" cy="276999"/>
          </a:xfrm>
          <a:prstGeom prst="rect">
            <a:avLst/>
          </a:prstGeom>
          <a:noFill/>
        </p:spPr>
        <p:txBody>
          <a:bodyPr wrap="square" lIns="0" tIns="0" rIns="0" bIns="0" rtlCol="0" anchor="ctr">
            <a:noAutofit/>
          </a:bodyPr>
          <a:lstStyle>
            <a:defPPr>
              <a:defRPr lang="en-US"/>
            </a:defPPr>
            <a:lvl1pPr marR="0" lvl="0" indent="0" algn="ctr" fontAlgn="auto">
              <a:spcBef>
                <a:spcPts val="0"/>
              </a:spcBef>
              <a:spcAft>
                <a:spcPts val="0"/>
              </a:spcAft>
              <a:buClrTx/>
              <a:buSzTx/>
              <a:buFontTx/>
              <a:buNone/>
              <a:tabLst/>
              <a:defRPr kumimoji="0" sz="2000" b="1" u="none" strike="noStrike" cap="none" spc="0" normalizeH="0" baseline="0">
                <a:ln w="3175">
                  <a:noFill/>
                </a:ln>
                <a:solidFill>
                  <a:srgbClr val="B447C8"/>
                </a:solidFill>
                <a:effectLst/>
                <a:uLnTx/>
                <a:uFillTx/>
                <a:latin typeface="Segoe Sans Display Semibold" pitchFamily="2" charset="0"/>
                <a:cs typeface="Segoe Sans Display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w="3175">
                  <a:noFill/>
                </a:ln>
                <a:solidFill>
                  <a:srgbClr val="B447C8"/>
                </a:solidFill>
                <a:effectLst/>
                <a:uLnTx/>
                <a:uFillTx/>
                <a:latin typeface="Segoe Sans Display Semibold" pitchFamily="2" charset="0"/>
                <a:ea typeface="+mn-ea"/>
                <a:cs typeface="Segoe Sans Display Semibold" pitchFamily="2" charset="0"/>
              </a:rPr>
              <a:t>Control de administrador </a:t>
            </a:r>
          </a:p>
        </p:txBody>
      </p:sp>
      <p:sp>
        <p:nvSpPr>
          <p:cNvPr id="27" name="Content Placeholder 26">
            <a:extLst>
              <a:ext uri="{FF2B5EF4-FFF2-40B4-BE49-F238E27FC236}">
                <a16:creationId xmlns:a16="http://schemas.microsoft.com/office/drawing/2014/main" id="{79637525-D0FE-62AB-CE18-DBCF765F1ECF}"/>
              </a:ext>
            </a:extLst>
          </p:cNvPr>
          <p:cNvSpPr txBox="1">
            <a:spLocks/>
          </p:cNvSpPr>
          <p:nvPr/>
        </p:nvSpPr>
        <p:spPr>
          <a:xfrm>
            <a:off x="868680" y="4736592"/>
            <a:ext cx="3218688" cy="1086901"/>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es-es" sz="1600" b="0" i="0" u="none" strike="noStrike" kern="1200" cap="none" spc="0" normalizeH="0" baseline="0" noProof="0" dirty="0">
                <a:ln>
                  <a:noFill/>
                </a:ln>
                <a:solidFill>
                  <a:srgbClr val="000000"/>
                </a:solidFill>
                <a:effectLst/>
                <a:uLnTx/>
                <a:uFillTx/>
                <a:latin typeface="Segoe Sans Display"/>
                <a:ea typeface="+mn-ea"/>
                <a:cs typeface="Segoe Sans Display"/>
              </a:rPr>
              <a:t>Experiencia personalizada en una plataforma integrada para descubrir agentes de Microsoft, socios </a:t>
            </a:r>
            <a:br>
              <a:rPr kumimoji="0" lang="es-es" sz="1600" b="0" i="0" u="none" strike="noStrike" kern="1200" cap="none" spc="0" normalizeH="0" baseline="0" noProof="0" dirty="0">
                <a:ln>
                  <a:noFill/>
                </a:ln>
                <a:solidFill>
                  <a:srgbClr val="000000"/>
                </a:solidFill>
                <a:effectLst/>
                <a:uLnTx/>
                <a:uFillTx/>
                <a:latin typeface="Segoe Sans Display"/>
                <a:ea typeface="+mn-ea"/>
                <a:cs typeface="Segoe Sans Display"/>
              </a:rPr>
            </a:br>
            <a:r>
              <a:rPr kumimoji="0" lang="es-es" sz="1600" b="0" i="0" u="none" strike="noStrike" kern="1200" cap="none" spc="0" normalizeH="0" baseline="0" noProof="0" dirty="0">
                <a:ln>
                  <a:noFill/>
                </a:ln>
                <a:solidFill>
                  <a:srgbClr val="000000"/>
                </a:solidFill>
                <a:effectLst/>
                <a:uLnTx/>
                <a:uFillTx/>
                <a:latin typeface="Segoe Sans Display"/>
                <a:ea typeface="+mn-ea"/>
                <a:cs typeface="Segoe Sans Display"/>
              </a:rPr>
              <a:t>y tu propia organización.</a:t>
            </a:r>
          </a:p>
        </p:txBody>
      </p:sp>
      <p:sp>
        <p:nvSpPr>
          <p:cNvPr id="28" name="Content Placeholder 26">
            <a:extLst>
              <a:ext uri="{FF2B5EF4-FFF2-40B4-BE49-F238E27FC236}">
                <a16:creationId xmlns:a16="http://schemas.microsoft.com/office/drawing/2014/main" id="{63F6A5CE-A4D0-C605-6711-686E50C56D3E}"/>
              </a:ext>
            </a:extLst>
          </p:cNvPr>
          <p:cNvSpPr txBox="1">
            <a:spLocks/>
          </p:cNvSpPr>
          <p:nvPr/>
        </p:nvSpPr>
        <p:spPr>
          <a:xfrm>
            <a:off x="4486656" y="4736592"/>
            <a:ext cx="3218688" cy="1086901"/>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es-es" sz="1600" b="0" i="0" u="none" strike="noStrike" kern="1200" cap="none" spc="0" normalizeH="0" baseline="0" noProof="0" dirty="0">
                <a:ln>
                  <a:noFill/>
                </a:ln>
                <a:solidFill>
                  <a:srgbClr val="000000"/>
                </a:solidFill>
                <a:effectLst/>
                <a:uLnTx/>
                <a:uFillTx/>
                <a:latin typeface="Segoe Sans Display"/>
                <a:ea typeface="+mn-ea"/>
                <a:cs typeface="Segoe Sans Display"/>
              </a:rPr>
              <a:t>Acelera los resultados con agentes listos para implementar que ayudan a aumentar la eficiencia y facilitan tomar decisiones más inteligentes. </a:t>
            </a:r>
          </a:p>
        </p:txBody>
      </p:sp>
      <p:sp>
        <p:nvSpPr>
          <p:cNvPr id="29" name="Content Placeholder 26">
            <a:extLst>
              <a:ext uri="{FF2B5EF4-FFF2-40B4-BE49-F238E27FC236}">
                <a16:creationId xmlns:a16="http://schemas.microsoft.com/office/drawing/2014/main" id="{F9F31F9D-75DD-CD78-8525-B79FC0806B02}"/>
              </a:ext>
            </a:extLst>
          </p:cNvPr>
          <p:cNvSpPr txBox="1">
            <a:spLocks/>
          </p:cNvSpPr>
          <p:nvPr/>
        </p:nvSpPr>
        <p:spPr>
          <a:xfrm>
            <a:off x="8101584" y="4736592"/>
            <a:ext cx="3218688" cy="1365117"/>
          </a:xfrm>
          <a:prstGeom prst="rect">
            <a:avLst/>
          </a:prstGeom>
        </p:spPr>
        <p:txBody>
          <a:bodyPr vert="horz" wrap="square" lIns="0" tIns="0" rIns="0" bIns="0" rtlCol="0" anchor="t">
            <a:spAutoFit/>
          </a:bodyPr>
          <a:lstStyle>
            <a:lvl1pPr marL="104400" indent="-105750" algn="l" defTabSz="914400" rtl="0" eaLnBrk="1" latinLnBrk="0" hangingPunct="1">
              <a:lnSpc>
                <a:spcPct val="113000"/>
              </a:lnSpc>
              <a:spcBef>
                <a:spcPts val="360"/>
              </a:spcBef>
              <a:spcAft>
                <a:spcPts val="600"/>
              </a:spcAft>
              <a:buClr>
                <a:srgbClr val="000000"/>
              </a:buClr>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1pPr>
            <a:lvl2pPr marL="3564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2pPr>
            <a:lvl3pPr marL="7416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3pPr>
            <a:lvl4pPr marL="11988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4pPr>
            <a:lvl5pPr marL="1656000" indent="-105750" algn="l" defTabSz="914400" rtl="0" eaLnBrk="1" latinLnBrk="0" hangingPunct="1">
              <a:lnSpc>
                <a:spcPct val="113000"/>
              </a:lnSpc>
              <a:spcBef>
                <a:spcPts val="360"/>
              </a:spcBef>
              <a:spcAft>
                <a:spcPts val="600"/>
              </a:spcAft>
              <a:buFont typeface="Arial" panose="020B0604020202020204" pitchFamily="34" charset="0"/>
              <a:buChar char="•"/>
              <a:defRPr sz="1500" b="0" i="0" kern="1200">
                <a:solidFill>
                  <a:srgbClr val="000000"/>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3000"/>
              </a:lnSpc>
              <a:spcBef>
                <a:spcPts val="600"/>
              </a:spcBef>
              <a:spcAft>
                <a:spcPts val="1200"/>
              </a:spcAft>
              <a:buClr>
                <a:srgbClr val="000000"/>
              </a:buClr>
              <a:buSzTx/>
              <a:buFont typeface="Arial" panose="020B0604020202020204" pitchFamily="34" charset="0"/>
              <a:buNone/>
              <a:tabLst/>
              <a:defRPr/>
            </a:pPr>
            <a:r>
              <a:rPr kumimoji="0" lang="es-es" sz="1600" b="0" i="0" u="none" strike="noStrike" kern="1200" cap="none" spc="0" normalizeH="0" baseline="0" noProof="0" dirty="0">
                <a:ln>
                  <a:noFill/>
                </a:ln>
                <a:solidFill>
                  <a:srgbClr val="000000"/>
                </a:solidFill>
                <a:effectLst/>
                <a:uLnTx/>
                <a:uFillTx/>
                <a:latin typeface="Segoe Sans Display"/>
                <a:ea typeface="+mn-ea"/>
                <a:cs typeface="Segoe Sans Display"/>
              </a:rPr>
              <a:t>Los agentes están validados en cuanto a seguridad, cumplimiento </a:t>
            </a:r>
            <a:br>
              <a:rPr kumimoji="0" lang="es-es" sz="1600" b="0" i="0" u="none" strike="noStrike" kern="1200" cap="none" spc="0" normalizeH="0" baseline="0" noProof="0" dirty="0">
                <a:ln>
                  <a:noFill/>
                </a:ln>
                <a:solidFill>
                  <a:srgbClr val="000000"/>
                </a:solidFill>
                <a:effectLst/>
                <a:uLnTx/>
                <a:uFillTx/>
                <a:latin typeface="Segoe Sans Display"/>
                <a:ea typeface="+mn-ea"/>
                <a:cs typeface="Segoe Sans Display"/>
              </a:rPr>
            </a:br>
            <a:r>
              <a:rPr kumimoji="0" lang="es-es" sz="1600" b="0" i="0" u="none" strike="noStrike" kern="1200" cap="none" spc="0" normalizeH="0" baseline="0" noProof="0" dirty="0">
                <a:ln>
                  <a:noFill/>
                </a:ln>
                <a:solidFill>
                  <a:srgbClr val="000000"/>
                </a:solidFill>
                <a:effectLst/>
                <a:uLnTx/>
                <a:uFillTx/>
                <a:latin typeface="Segoe Sans Display"/>
                <a:ea typeface="+mn-ea"/>
                <a:cs typeface="Segoe Sans Display"/>
              </a:rPr>
              <a:t>y rendimiento. El departamento </a:t>
            </a:r>
            <a:br>
              <a:rPr kumimoji="0" lang="es-es" sz="1600" b="0" i="0" u="none" strike="noStrike" kern="1200" cap="none" spc="0" normalizeH="0" baseline="0" noProof="0" dirty="0">
                <a:ln>
                  <a:noFill/>
                </a:ln>
                <a:solidFill>
                  <a:srgbClr val="000000"/>
                </a:solidFill>
                <a:effectLst/>
                <a:uLnTx/>
                <a:uFillTx/>
                <a:latin typeface="Segoe Sans Display"/>
                <a:ea typeface="+mn-ea"/>
                <a:cs typeface="Segoe Sans Display"/>
              </a:rPr>
            </a:br>
            <a:r>
              <a:rPr kumimoji="0" lang="es-es" sz="1600" b="0" i="0" u="none" strike="noStrike" kern="1200" cap="none" spc="0" normalizeH="0" baseline="0" noProof="0" dirty="0">
                <a:ln>
                  <a:noFill/>
                </a:ln>
                <a:solidFill>
                  <a:srgbClr val="000000"/>
                </a:solidFill>
                <a:effectLst/>
                <a:uLnTx/>
                <a:uFillTx/>
                <a:latin typeface="Segoe Sans Display"/>
                <a:ea typeface="+mn-ea"/>
                <a:cs typeface="Segoe Sans Display"/>
              </a:rPr>
              <a:t>de TI mantiene el control total </a:t>
            </a:r>
            <a:br>
              <a:rPr kumimoji="0" lang="es-es" sz="1600" b="0" i="0" u="none" strike="noStrike" kern="1200" cap="none" spc="0" normalizeH="0" baseline="0" noProof="0" dirty="0">
                <a:ln>
                  <a:noFill/>
                </a:ln>
                <a:solidFill>
                  <a:srgbClr val="000000"/>
                </a:solidFill>
                <a:effectLst/>
                <a:uLnTx/>
                <a:uFillTx/>
                <a:latin typeface="Segoe Sans Display"/>
                <a:ea typeface="+mn-ea"/>
                <a:cs typeface="Segoe Sans Display"/>
              </a:rPr>
            </a:br>
            <a:r>
              <a:rPr kumimoji="0" lang="es-es" sz="1600" b="0" i="0" u="none" strike="noStrike" kern="1200" cap="none" spc="0" normalizeH="0" baseline="0" noProof="0" dirty="0">
                <a:ln>
                  <a:noFill/>
                </a:ln>
                <a:solidFill>
                  <a:srgbClr val="000000"/>
                </a:solidFill>
                <a:effectLst/>
                <a:uLnTx/>
                <a:uFillTx/>
                <a:latin typeface="Segoe Sans Display"/>
                <a:ea typeface="+mn-ea"/>
                <a:cs typeface="Segoe Sans Display"/>
              </a:rPr>
              <a:t>y la supervisión completa.  </a:t>
            </a:r>
          </a:p>
        </p:txBody>
      </p:sp>
      <p:pic>
        <p:nvPicPr>
          <p:cNvPr id="2" name="Picture 1" descr="Una captura de pantalla de un ordenador  El contenido generado por IA puede ser incorrecto.">
            <a:extLst>
              <a:ext uri="{FF2B5EF4-FFF2-40B4-BE49-F238E27FC236}">
                <a16:creationId xmlns:a16="http://schemas.microsoft.com/office/drawing/2014/main" id="{3C6A1E38-931F-7F5E-F461-E14962EDB6D5}"/>
              </a:ext>
            </a:extLst>
          </p:cNvPr>
          <p:cNvPicPr>
            <a:picLocks noChangeAspect="1"/>
          </p:cNvPicPr>
          <p:nvPr/>
        </p:nvPicPr>
        <p:blipFill>
          <a:blip r:embed="rId3"/>
          <a:stretch>
            <a:fillRect/>
          </a:stretch>
        </p:blipFill>
        <p:spPr>
          <a:xfrm>
            <a:off x="981399" y="1758454"/>
            <a:ext cx="3057652" cy="1749789"/>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pic>
        <p:nvPicPr>
          <p:cNvPr id="30" name="Picture 29" descr="Una captura de pantalla de un ordenador  El contenido generado por IA puede ser incorrecto.">
            <a:extLst>
              <a:ext uri="{FF2B5EF4-FFF2-40B4-BE49-F238E27FC236}">
                <a16:creationId xmlns:a16="http://schemas.microsoft.com/office/drawing/2014/main" id="{5482E007-D8D9-3CFA-0950-1B7354E8287E}"/>
              </a:ext>
            </a:extLst>
          </p:cNvPr>
          <p:cNvPicPr>
            <a:picLocks noChangeAspect="1"/>
          </p:cNvPicPr>
          <p:nvPr/>
        </p:nvPicPr>
        <p:blipFill>
          <a:blip r:embed="rId4"/>
          <a:stretch>
            <a:fillRect/>
          </a:stretch>
        </p:blipFill>
        <p:spPr>
          <a:xfrm>
            <a:off x="8098650" y="1769115"/>
            <a:ext cx="3138211" cy="1728467"/>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pic>
        <p:nvPicPr>
          <p:cNvPr id="31" name="Picture 30" descr="Captura de pantalla de una página web  El contenido generado por IA puede ser incorrecto.">
            <a:extLst>
              <a:ext uri="{FF2B5EF4-FFF2-40B4-BE49-F238E27FC236}">
                <a16:creationId xmlns:a16="http://schemas.microsoft.com/office/drawing/2014/main" id="{44D20025-30F6-F5DD-0FFA-209F26D11A0D}"/>
              </a:ext>
            </a:extLst>
          </p:cNvPr>
          <p:cNvPicPr>
            <a:picLocks noChangeAspect="1"/>
          </p:cNvPicPr>
          <p:nvPr/>
        </p:nvPicPr>
        <p:blipFill>
          <a:blip r:embed="rId5"/>
          <a:stretch>
            <a:fillRect/>
          </a:stretch>
        </p:blipFill>
        <p:spPr>
          <a:xfrm>
            <a:off x="5399308" y="1562158"/>
            <a:ext cx="1393385" cy="2142383"/>
          </a:xfrm>
          <a:prstGeom prst="roundRect">
            <a:avLst>
              <a:gd name="adj" fmla="val 1531"/>
            </a:avLst>
          </a:prstGeom>
          <a:solidFill>
            <a:sysClr val="window" lastClr="FFFFFF"/>
          </a:solidFill>
          <a:effectLst>
            <a:outerShdw blurRad="120303" dist="87506" dir="3600000" sx="102443" sy="102443" algn="tl" rotWithShape="0">
              <a:prstClr val="black">
                <a:alpha val="8000"/>
              </a:prstClr>
            </a:outerShdw>
          </a:effectLst>
        </p:spPr>
      </p:pic>
      <p:sp>
        <p:nvSpPr>
          <p:cNvPr id="11" name="Rectangle: Rounded Corners 5">
            <a:extLst>
              <a:ext uri="{FF2B5EF4-FFF2-40B4-BE49-F238E27FC236}">
                <a16:creationId xmlns:a16="http://schemas.microsoft.com/office/drawing/2014/main" id="{3A08A90C-8C1B-8D39-E67F-435B04AFEB03}"/>
              </a:ext>
              <a:ext uri="{C183D7F6-B498-43B3-948B-1728B52AA6E4}">
                <adec:decorative xmlns:adec="http://schemas.microsoft.com/office/drawing/2017/decorative" val="1"/>
              </a:ext>
            </a:extLst>
          </p:cNvPr>
          <p:cNvSpPr>
            <a:spLocks/>
          </p:cNvSpPr>
          <p:nvPr/>
        </p:nvSpPr>
        <p:spPr bwMode="auto">
          <a:xfrm flipV="1">
            <a:off x="838200" y="4009519"/>
            <a:ext cx="10515600" cy="45720"/>
          </a:xfrm>
          <a:prstGeom prst="roundRect">
            <a:avLst>
              <a:gd name="adj" fmla="val 50000"/>
            </a:avLst>
          </a:prstGeom>
          <a:gradFill flip="none" rotWithShape="1">
            <a:gsLst>
              <a:gs pos="8000">
                <a:srgbClr val="3E76D4"/>
              </a:gs>
              <a:gs pos="59000">
                <a:srgbClr val="8661C5"/>
              </a:gs>
              <a:gs pos="94000">
                <a:srgbClr val="C73ECC"/>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highlight>
                <a:srgbClr val="FF0000"/>
              </a:highligh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7042FE27-E91D-DC08-F061-48D866455EF1}"/>
              </a:ext>
              <a:ext uri="{C183D7F6-B498-43B3-948B-1728B52AA6E4}">
                <adec:decorative xmlns:adec="http://schemas.microsoft.com/office/drawing/2017/decorative" val="1"/>
              </a:ext>
            </a:extLst>
          </p:cNvPr>
          <p:cNvSpPr/>
          <p:nvPr/>
        </p:nvSpPr>
        <p:spPr bwMode="auto">
          <a:xfrm>
            <a:off x="2409121" y="3956770"/>
            <a:ext cx="142112" cy="142112"/>
          </a:xfrm>
          <a:prstGeom prst="ellipse">
            <a:avLst/>
          </a:prstGeom>
          <a:solidFill>
            <a:srgbClr val="516FCE"/>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3" name="Oval 12">
            <a:extLst>
              <a:ext uri="{FF2B5EF4-FFF2-40B4-BE49-F238E27FC236}">
                <a16:creationId xmlns:a16="http://schemas.microsoft.com/office/drawing/2014/main" id="{326E1F45-5C15-2FA8-43D2-639B9D0F045F}"/>
              </a:ext>
              <a:ext uri="{C183D7F6-B498-43B3-948B-1728B52AA6E4}">
                <adec:decorative xmlns:adec="http://schemas.microsoft.com/office/drawing/2017/decorative" val="1"/>
              </a:ext>
            </a:extLst>
          </p:cNvPr>
          <p:cNvSpPr/>
          <p:nvPr/>
        </p:nvSpPr>
        <p:spPr bwMode="auto">
          <a:xfrm>
            <a:off x="6024944" y="3966396"/>
            <a:ext cx="142112" cy="142112"/>
          </a:xfrm>
          <a:prstGeom prst="ellipse">
            <a:avLst/>
          </a:prstGeom>
          <a:solidFill>
            <a:srgbClr val="865FC4"/>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4" name="Oval 13">
            <a:extLst>
              <a:ext uri="{FF2B5EF4-FFF2-40B4-BE49-F238E27FC236}">
                <a16:creationId xmlns:a16="http://schemas.microsoft.com/office/drawing/2014/main" id="{09A2D021-DDE5-3AB3-7BE0-ED11B748A26F}"/>
              </a:ext>
              <a:ext uri="{C183D7F6-B498-43B3-948B-1728B52AA6E4}">
                <adec:decorative xmlns:adec="http://schemas.microsoft.com/office/drawing/2017/decorative" val="1"/>
              </a:ext>
            </a:extLst>
          </p:cNvPr>
          <p:cNvSpPr/>
          <p:nvPr/>
        </p:nvSpPr>
        <p:spPr bwMode="auto">
          <a:xfrm>
            <a:off x="9640767" y="3963329"/>
            <a:ext cx="142112" cy="142112"/>
          </a:xfrm>
          <a:prstGeom prst="ellipse">
            <a:avLst/>
          </a:prstGeom>
          <a:solidFill>
            <a:srgbClr val="B447C8"/>
          </a:solidFill>
          <a:ln w="31750">
            <a:solidFill>
              <a:schemeClr val="bg1"/>
            </a:solidFill>
            <a:headEnd type="none" w="med" len="med"/>
            <a:tailEnd type="none" w="med" len="med"/>
          </a:ln>
          <a:effectLst>
            <a:outerShdw blurRad="317500" sx="102000" sy="102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407653727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18D9E-C28B-B8AF-9A56-86729AD266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B50429-2B2A-3D7B-C4B3-D8A6D3957B75}"/>
              </a:ext>
            </a:extLst>
          </p:cNvPr>
          <p:cNvSpPr>
            <a:spLocks noGrp="1"/>
          </p:cNvSpPr>
          <p:nvPr>
            <p:ph type="title"/>
          </p:nvPr>
        </p:nvSpPr>
        <p:spPr>
          <a:xfrm>
            <a:off x="571499" y="2792795"/>
            <a:ext cx="5062947" cy="2308324"/>
          </a:xfrm>
          <a:prstGeom prst="rect">
            <a:avLst/>
          </a:prstGeom>
        </p:spPr>
        <p:txBody>
          <a:bodyPr/>
          <a:lstStyle/>
          <a:p>
            <a:r>
              <a:rPr lang="es-es" spc="0" dirty="0"/>
              <a:t>Presentación de las plantillas de agentes en el </a:t>
            </a:r>
            <a:r>
              <a:rPr lang="es-es" dirty="0"/>
              <a:t>generador de agentes </a:t>
            </a:r>
          </a:p>
          <a:p>
            <a:r>
              <a:rPr lang="es-es" spc="0" dirty="0"/>
              <a:t>de </a:t>
            </a:r>
            <a:r>
              <a:rPr lang="es-es" spc="0" dirty="0" err="1"/>
              <a:t>Copilot</a:t>
            </a:r>
            <a:r>
              <a:rPr lang="es-es" spc="0" dirty="0"/>
              <a:t> Studio</a:t>
            </a:r>
          </a:p>
        </p:txBody>
      </p:sp>
    </p:spTree>
    <p:extLst>
      <p:ext uri="{BB962C8B-B14F-4D97-AF65-F5344CB8AC3E}">
        <p14:creationId xmlns:p14="http://schemas.microsoft.com/office/powerpoint/2010/main" val="108851660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02426-9614-AEB5-A26F-E16A46E832C0}"/>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5FFF8217-2FB4-BAEC-ECF9-751D8D629A47}"/>
              </a:ext>
            </a:extLst>
          </p:cNvPr>
          <p:cNvSpPr txBox="1">
            <a:spLocks noGrp="1"/>
          </p:cNvSpPr>
          <p:nvPr>
            <p:ph type="title"/>
          </p:nvPr>
        </p:nvSpPr>
        <p:spPr>
          <a:xfrm>
            <a:off x="588263" y="36448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s-es" sz="3200" dirty="0">
                <a:cs typeface="Segoe UI"/>
              </a:rPr>
              <a:t>Empieza a crear agentes mediante plantillas de agentes </a:t>
            </a:r>
            <a:endParaRPr lang="en-US" sz="3200" b="0" i="0" u="none" strike="noStrike" kern="1200" cap="none" spc="-50" normalizeH="0" baseline="0" noProof="0" dirty="0">
              <a:ln w="3175">
                <a:noFill/>
              </a:ln>
              <a:solidFill>
                <a:srgbClr val="000000"/>
              </a:solidFill>
              <a:effectLst/>
              <a:uLnTx/>
              <a:uFillTx/>
              <a:latin typeface="Segoe UI Semibold"/>
              <a:cs typeface="Segoe UI"/>
            </a:endParaRPr>
          </a:p>
        </p:txBody>
      </p:sp>
      <p:sp>
        <p:nvSpPr>
          <p:cNvPr id="19" name="TextBox 18">
            <a:extLst>
              <a:ext uri="{FF2B5EF4-FFF2-40B4-BE49-F238E27FC236}">
                <a16:creationId xmlns:a16="http://schemas.microsoft.com/office/drawing/2014/main" id="{155CF905-F19F-5BBD-2201-3DBB9C8DE01A}"/>
              </a:ext>
            </a:extLst>
          </p:cNvPr>
          <p:cNvSpPr txBox="1"/>
          <p:nvPr/>
        </p:nvSpPr>
        <p:spPr>
          <a:xfrm>
            <a:off x="527431" y="860814"/>
            <a:ext cx="11079351" cy="138499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Segoe UI"/>
                <a:ea typeface="+mn-ea"/>
                <a:cs typeface="+mn-cs"/>
                <a:hlinkClick r:id="rId3"/>
              </a:rPr>
              <a:t>Las plantillas de agentes</a:t>
            </a:r>
            <a:r>
              <a:rPr kumimoji="0" lang="es-es" sz="1400" b="0" i="0" u="none" strike="noStrike" kern="1200" cap="none" spc="0" normalizeH="0" baseline="0" noProof="0" dirty="0">
                <a:ln>
                  <a:noFill/>
                </a:ln>
                <a:solidFill>
                  <a:srgbClr val="000000"/>
                </a:solidFill>
                <a:effectLst/>
                <a:uLnTx/>
                <a:uFillTx/>
                <a:latin typeface="Segoe UI"/>
                <a:ea typeface="+mn-ea"/>
                <a:cs typeface="+mn-cs"/>
              </a:rPr>
              <a:t> forman parte del generador de agentes de Copilot Studio </a:t>
            </a:r>
            <a:endParaRPr lang="en-US" sz="1400" b="0" i="0" u="none" strike="noStrike" kern="1200" cap="none" spc="0" normalizeH="0" baseline="0" noProof="0" dirty="0">
              <a:ln>
                <a:noFill/>
              </a:ln>
              <a:solidFill>
                <a:srgbClr val="000000"/>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dirty="0">
              <a:ln>
                <a:noFill/>
              </a:ln>
              <a:solidFill>
                <a:srgbClr val="000000"/>
              </a:solidFill>
              <a:effectLst/>
              <a:uLnTx/>
              <a:uFillTx/>
              <a:latin typeface="Segoe UI"/>
              <a:cs typeface="Segoe UI"/>
            </a:endParaRPr>
          </a:p>
          <a:p>
            <a:pPr defTabSz="914400">
              <a:defRPr/>
            </a:pPr>
            <a:r>
              <a:rPr kumimoji="0" lang="es-es" sz="1400" b="0" i="0" u="none" strike="noStrike" kern="1200" cap="none" spc="0" normalizeH="0" baseline="0" noProof="0" dirty="0">
                <a:ln>
                  <a:noFill/>
                </a:ln>
                <a:solidFill>
                  <a:srgbClr val="000000"/>
                </a:solidFill>
                <a:effectLst/>
                <a:uLnTx/>
                <a:uFillTx/>
                <a:latin typeface="Segoe Sans Display Semibold"/>
                <a:cs typeface="Segoe Sans Display Semibold"/>
              </a:rPr>
              <a:t>Comienza con las plantillas de agentes </a:t>
            </a:r>
            <a:r>
              <a:rPr kumimoji="0" lang="es-es" sz="1400" b="0" i="0" u="none" strike="noStrike" kern="1200" cap="none" spc="0" normalizeH="0" baseline="0" noProof="0" dirty="0">
                <a:ln>
                  <a:noFill/>
                </a:ln>
                <a:solidFill>
                  <a:srgbClr val="000000"/>
                </a:solidFill>
                <a:effectLst/>
                <a:uLnTx/>
                <a:uFillTx/>
                <a:latin typeface="Segoe UI"/>
                <a:ea typeface="+mn-ea"/>
                <a:cs typeface="+mn-cs"/>
              </a:rPr>
              <a:t>seleccionando “</a:t>
            </a:r>
            <a:r>
              <a:rPr lang="es-es" sz="1400" dirty="0">
                <a:solidFill>
                  <a:srgbClr val="000000"/>
                </a:solidFill>
                <a:latin typeface="Segoe UI"/>
              </a:rPr>
              <a:t>Nuevo agente</a:t>
            </a:r>
            <a:r>
              <a:rPr kumimoji="0" lang="es-es" sz="1400" b="0" i="0" u="none" strike="noStrike" kern="1200" cap="none" spc="0" normalizeH="0" baseline="0" noProof="0" dirty="0">
                <a:ln>
                  <a:noFill/>
                </a:ln>
                <a:solidFill>
                  <a:srgbClr val="000000"/>
                </a:solidFill>
                <a:effectLst/>
                <a:uLnTx/>
                <a:uFillTx/>
                <a:latin typeface="Segoe UI"/>
                <a:ea typeface="+mn-ea"/>
                <a:cs typeface="+mn-cs"/>
              </a:rPr>
              <a:t>” en el panel izquierdo de Copilot Chat. Busca una plantilla específica o navega por la biblioteca.</a:t>
            </a:r>
            <a:endParaRPr lang="en-US" sz="1400" b="0" i="0" u="none" strike="noStrike" kern="1200" cap="none" spc="0" normalizeH="0" baseline="0" noProof="0" dirty="0">
              <a:ln>
                <a:noFill/>
              </a:ln>
              <a:solidFill>
                <a:srgbClr val="000000"/>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dirty="0">
              <a:ln>
                <a:noFill/>
              </a:ln>
              <a:solidFill>
                <a:srgbClr val="000000"/>
              </a:solidFill>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Segoe UI"/>
                <a:ea typeface="+mn-ea"/>
                <a:cs typeface="+mn-cs"/>
              </a:rPr>
              <a:t>Plantillas de agentes de Microsoft para probar hoy:</a:t>
            </a:r>
            <a:endParaRPr lang="en-US" sz="1400" b="0" i="0" u="none" strike="noStrike" kern="1200" cap="none" spc="0" normalizeH="0" baseline="0" noProof="0" dirty="0">
              <a:ln>
                <a:noFill/>
              </a:ln>
              <a:solidFill>
                <a:srgbClr val="000000"/>
              </a:solidFill>
              <a:effectLst/>
              <a:uLnTx/>
              <a:uFillTx/>
              <a:latin typeface="Segoe UI"/>
              <a:cs typeface="Segoe UI"/>
            </a:endParaRPr>
          </a:p>
        </p:txBody>
      </p:sp>
      <p:sp>
        <p:nvSpPr>
          <p:cNvPr id="20" name="TextBox 19">
            <a:extLst>
              <a:ext uri="{FF2B5EF4-FFF2-40B4-BE49-F238E27FC236}">
                <a16:creationId xmlns:a16="http://schemas.microsoft.com/office/drawing/2014/main" id="{7E3809A7-8471-BA42-034A-C7F3F82A205E}"/>
              </a:ext>
            </a:extLst>
          </p:cNvPr>
          <p:cNvSpPr txBox="1"/>
          <p:nvPr/>
        </p:nvSpPr>
        <p:spPr>
          <a:xfrm>
            <a:off x="6894513" y="5401638"/>
            <a:ext cx="5184276" cy="64633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000000"/>
                </a:solidFill>
                <a:effectLst/>
                <a:uLnTx/>
                <a:uFillTx/>
                <a:latin typeface="Segoe UI"/>
                <a:ea typeface="+mn-ea"/>
                <a:cs typeface="+mn-cs"/>
              </a:rPr>
              <a:t>Además de los agentes de Microsoft, tu organización puede haber creado agentes para que los utilices. Puedes verlos en la sección "Creado para tu organización" en la biblioteca de agentes.</a:t>
            </a:r>
          </a:p>
        </p:txBody>
      </p:sp>
      <p:grpSp>
        <p:nvGrpSpPr>
          <p:cNvPr id="41" name="Group 40">
            <a:extLst>
              <a:ext uri="{FF2B5EF4-FFF2-40B4-BE49-F238E27FC236}">
                <a16:creationId xmlns:a16="http://schemas.microsoft.com/office/drawing/2014/main" id="{6A5029FA-28AA-A193-9727-69FA362C3B58}"/>
              </a:ext>
            </a:extLst>
          </p:cNvPr>
          <p:cNvGrpSpPr/>
          <p:nvPr/>
        </p:nvGrpSpPr>
        <p:grpSpPr>
          <a:xfrm>
            <a:off x="429058" y="2285994"/>
            <a:ext cx="1943110" cy="1388333"/>
            <a:chOff x="379835" y="2543538"/>
            <a:chExt cx="2503730" cy="1799860"/>
          </a:xfrm>
        </p:grpSpPr>
        <p:sp>
          <p:nvSpPr>
            <p:cNvPr id="16" name="Rectangle: Rounded Corners 15">
              <a:extLst>
                <a:ext uri="{FF2B5EF4-FFF2-40B4-BE49-F238E27FC236}">
                  <a16:creationId xmlns:a16="http://schemas.microsoft.com/office/drawing/2014/main" id="{3B049F25-3B27-8CAA-AE9F-88082ADA1C2C}"/>
                </a:ext>
                <a:ext uri="{C183D7F6-B498-43B3-948B-1728B52AA6E4}">
                  <adec:decorative xmlns:adec="http://schemas.microsoft.com/office/drawing/2017/decorative" val="1"/>
                </a:ext>
              </a:extLst>
            </p:cNvPr>
            <p:cNvSpPr/>
            <p:nvPr/>
          </p:nvSpPr>
          <p:spPr bwMode="auto">
            <a:xfrm>
              <a:off x="563374" y="2636414"/>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TextBox 16">
              <a:extLst>
                <a:ext uri="{FF2B5EF4-FFF2-40B4-BE49-F238E27FC236}">
                  <a16:creationId xmlns:a16="http://schemas.microsoft.com/office/drawing/2014/main" id="{702AA0C8-0C33-84E5-A39B-F05299BC6FA6}"/>
                </a:ext>
              </a:extLst>
            </p:cNvPr>
            <p:cNvSpPr txBox="1"/>
            <p:nvPr/>
          </p:nvSpPr>
          <p:spPr>
            <a:xfrm>
              <a:off x="379835" y="2543538"/>
              <a:ext cx="2503730" cy="558610"/>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sistente de indicacione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18" name="TextBox 17">
              <a:extLst>
                <a:ext uri="{FF2B5EF4-FFF2-40B4-BE49-F238E27FC236}">
                  <a16:creationId xmlns:a16="http://schemas.microsoft.com/office/drawing/2014/main" id="{67368448-E8AF-4D53-5C76-7CAF501E0254}"/>
                </a:ext>
              </a:extLst>
            </p:cNvPr>
            <p:cNvSpPr txBox="1"/>
            <p:nvPr/>
          </p:nvSpPr>
          <p:spPr>
            <a:xfrm>
              <a:off x="563374" y="3889338"/>
              <a:ext cx="2072113" cy="39900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Crea indicaciones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efectivas de </a:t>
              </a:r>
              <a:r>
                <a:rPr kumimoji="0" lang="es-es" sz="1000" b="0" i="0" u="none" strike="noStrike" kern="1200" cap="none" spc="0" normalizeH="0" baseline="0" noProof="0" dirty="0" err="1">
                  <a:ln>
                    <a:noFill/>
                  </a:ln>
                  <a:solidFill>
                    <a:srgbClr val="000000"/>
                  </a:solidFill>
                  <a:effectLst/>
                  <a:uLnTx/>
                  <a:uFillTx/>
                  <a:latin typeface="Segoe UI"/>
                  <a:ea typeface="+mn-ea"/>
                  <a:cs typeface="Segoe UI"/>
                </a:rPr>
                <a:t>Copilot</a:t>
              </a:r>
              <a:endParaRPr kumimoji="0" lang="es-es" sz="1000" b="0" i="0" u="none" strike="noStrike" kern="1200" cap="none" spc="0" normalizeH="0" baseline="0" noProof="0" dirty="0">
                <a:ln>
                  <a:noFill/>
                </a:ln>
                <a:solidFill>
                  <a:srgbClr val="000000"/>
                </a:solidFill>
                <a:effectLst/>
                <a:uLnTx/>
                <a:uFillTx/>
                <a:latin typeface="Segoe UI"/>
                <a:ea typeface="+mn-ea"/>
                <a:cs typeface="Segoe UI"/>
              </a:endParaRPr>
            </a:p>
          </p:txBody>
        </p:sp>
        <p:pic>
          <p:nvPicPr>
            <p:cNvPr id="21" name="Picture 20">
              <a:extLst>
                <a:ext uri="{FF2B5EF4-FFF2-40B4-BE49-F238E27FC236}">
                  <a16:creationId xmlns:a16="http://schemas.microsoft.com/office/drawing/2014/main" id="{1A340503-8726-A8CD-1A05-1B5E6ECD0E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1318348" y="3012475"/>
              <a:ext cx="626706" cy="626704"/>
            </a:xfrm>
            <a:prstGeom prst="rect">
              <a:avLst/>
            </a:prstGeom>
          </p:spPr>
        </p:pic>
      </p:grpSp>
      <p:grpSp>
        <p:nvGrpSpPr>
          <p:cNvPr id="43" name="Group 42">
            <a:extLst>
              <a:ext uri="{FF2B5EF4-FFF2-40B4-BE49-F238E27FC236}">
                <a16:creationId xmlns:a16="http://schemas.microsoft.com/office/drawing/2014/main" id="{AC47EBC7-946E-7786-69CA-F31F6ECEB20E}"/>
              </a:ext>
            </a:extLst>
          </p:cNvPr>
          <p:cNvGrpSpPr/>
          <p:nvPr/>
        </p:nvGrpSpPr>
        <p:grpSpPr>
          <a:xfrm>
            <a:off x="571500" y="5250295"/>
            <a:ext cx="1666217" cy="1314017"/>
            <a:chOff x="2791130" y="2636414"/>
            <a:chExt cx="2158060" cy="1706985"/>
          </a:xfrm>
        </p:grpSpPr>
        <p:sp>
          <p:nvSpPr>
            <p:cNvPr id="7" name="Rectangle: Rounded Corners 6">
              <a:extLst>
                <a:ext uri="{FF2B5EF4-FFF2-40B4-BE49-F238E27FC236}">
                  <a16:creationId xmlns:a16="http://schemas.microsoft.com/office/drawing/2014/main" id="{E486E66E-3F7E-404D-952E-EEE9947F5A8F}"/>
                </a:ext>
                <a:ext uri="{C183D7F6-B498-43B3-948B-1728B52AA6E4}">
                  <adec:decorative xmlns:adec="http://schemas.microsoft.com/office/drawing/2017/decorative" val="1"/>
                </a:ext>
              </a:extLst>
            </p:cNvPr>
            <p:cNvSpPr/>
            <p:nvPr/>
          </p:nvSpPr>
          <p:spPr bwMode="auto">
            <a:xfrm>
              <a:off x="2791130" y="2636414"/>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867D0A2E-AF10-7BAB-CD6F-CC75299D2334}"/>
                </a:ext>
              </a:extLst>
            </p:cNvPr>
            <p:cNvSpPr txBox="1"/>
            <p:nvPr/>
          </p:nvSpPr>
          <p:spPr>
            <a:xfrm>
              <a:off x="3022073" y="2652915"/>
              <a:ext cx="1696175" cy="339847"/>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sesor de idea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9" name="TextBox 8">
              <a:extLst>
                <a:ext uri="{FF2B5EF4-FFF2-40B4-BE49-F238E27FC236}">
                  <a16:creationId xmlns:a16="http://schemas.microsoft.com/office/drawing/2014/main" id="{B2583EF5-23D8-3E47-C434-62AC7A9F38A9}"/>
                </a:ext>
              </a:extLst>
            </p:cNvPr>
            <p:cNvSpPr txBox="1"/>
            <p:nvPr/>
          </p:nvSpPr>
          <p:spPr>
            <a:xfrm>
              <a:off x="2858419" y="3889335"/>
              <a:ext cx="2015548" cy="399820"/>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Obtén ayuda para hacer lluvia de ideas</a:t>
              </a:r>
            </a:p>
          </p:txBody>
        </p:sp>
        <p:pic>
          <p:nvPicPr>
            <p:cNvPr id="22" name="Picture 21">
              <a:extLst>
                <a:ext uri="{FF2B5EF4-FFF2-40B4-BE49-F238E27FC236}">
                  <a16:creationId xmlns:a16="http://schemas.microsoft.com/office/drawing/2014/main" id="{43439102-8CD1-E058-FCEC-EF5DDF9ABDD0}"/>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3549625" y="3012475"/>
              <a:ext cx="626706" cy="626704"/>
            </a:xfrm>
            <a:prstGeom prst="rect">
              <a:avLst/>
            </a:prstGeom>
          </p:spPr>
        </p:pic>
      </p:grpSp>
      <p:grpSp>
        <p:nvGrpSpPr>
          <p:cNvPr id="45" name="Group 44">
            <a:extLst>
              <a:ext uri="{FF2B5EF4-FFF2-40B4-BE49-F238E27FC236}">
                <a16:creationId xmlns:a16="http://schemas.microsoft.com/office/drawing/2014/main" id="{8F66D76B-FE59-52DC-3390-FAC719589F5D}"/>
              </a:ext>
            </a:extLst>
          </p:cNvPr>
          <p:cNvGrpSpPr/>
          <p:nvPr/>
        </p:nvGrpSpPr>
        <p:grpSpPr>
          <a:xfrm>
            <a:off x="2667000" y="3740751"/>
            <a:ext cx="1675510" cy="1394097"/>
            <a:chOff x="5029590" y="2544900"/>
            <a:chExt cx="2158060" cy="1798499"/>
          </a:xfrm>
        </p:grpSpPr>
        <p:sp>
          <p:nvSpPr>
            <p:cNvPr id="10" name="Rectangle: Rounded Corners 9">
              <a:extLst>
                <a:ext uri="{FF2B5EF4-FFF2-40B4-BE49-F238E27FC236}">
                  <a16:creationId xmlns:a16="http://schemas.microsoft.com/office/drawing/2014/main" id="{37F5A6F3-D4B7-58F5-6474-683CEFBC9ADA}"/>
                </a:ext>
                <a:ext uri="{C183D7F6-B498-43B3-948B-1728B52AA6E4}">
                  <adec:decorative xmlns:adec="http://schemas.microsoft.com/office/drawing/2017/decorative" val="1"/>
                </a:ext>
              </a:extLst>
            </p:cNvPr>
            <p:cNvSpPr/>
            <p:nvPr/>
          </p:nvSpPr>
          <p:spPr bwMode="auto">
            <a:xfrm>
              <a:off x="502959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50A724CE-84AB-DEF4-2C65-862C549BB132}"/>
                </a:ext>
              </a:extLst>
            </p:cNvPr>
            <p:cNvSpPr txBox="1"/>
            <p:nvPr/>
          </p:nvSpPr>
          <p:spPr>
            <a:xfrm>
              <a:off x="5159448" y="2544900"/>
              <a:ext cx="1865792" cy="55587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sesor de escritura</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12" name="TextBox 11">
              <a:extLst>
                <a:ext uri="{FF2B5EF4-FFF2-40B4-BE49-F238E27FC236}">
                  <a16:creationId xmlns:a16="http://schemas.microsoft.com/office/drawing/2014/main" id="{664F87FA-5CF4-26CA-866F-6FD2B8F919E0}"/>
                </a:ext>
              </a:extLst>
            </p:cNvPr>
            <p:cNvSpPr txBox="1"/>
            <p:nvPr/>
          </p:nvSpPr>
          <p:spPr>
            <a:xfrm>
              <a:off x="5166575" y="4008628"/>
              <a:ext cx="1884090" cy="198528"/>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Refina tu escritura</a:t>
              </a:r>
            </a:p>
          </p:txBody>
        </p:sp>
        <p:pic>
          <p:nvPicPr>
            <p:cNvPr id="23" name="Picture 22">
              <a:extLst>
                <a:ext uri="{FF2B5EF4-FFF2-40B4-BE49-F238E27FC236}">
                  <a16:creationId xmlns:a16="http://schemas.microsoft.com/office/drawing/2014/main" id="{110AFED3-DDDE-0A31-F64D-68B983AFFDC0}"/>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5807884" y="3107489"/>
              <a:ext cx="616698" cy="616696"/>
            </a:xfrm>
            <a:prstGeom prst="rect">
              <a:avLst/>
            </a:prstGeom>
          </p:spPr>
        </p:pic>
      </p:grpSp>
      <p:grpSp>
        <p:nvGrpSpPr>
          <p:cNvPr id="48" name="Group 47">
            <a:extLst>
              <a:ext uri="{FF2B5EF4-FFF2-40B4-BE49-F238E27FC236}">
                <a16:creationId xmlns:a16="http://schemas.microsoft.com/office/drawing/2014/main" id="{21C915CA-D8F4-1B1B-A30A-8C3FA1029CD3}"/>
              </a:ext>
            </a:extLst>
          </p:cNvPr>
          <p:cNvGrpSpPr/>
          <p:nvPr/>
        </p:nvGrpSpPr>
        <p:grpSpPr>
          <a:xfrm>
            <a:off x="4800600" y="2363887"/>
            <a:ext cx="1702941" cy="1323158"/>
            <a:chOff x="7268050" y="2636415"/>
            <a:chExt cx="2193391" cy="1706984"/>
          </a:xfrm>
        </p:grpSpPr>
        <p:sp>
          <p:nvSpPr>
            <p:cNvPr id="4" name="Rectangle: Rounded Corners 3">
              <a:extLst>
                <a:ext uri="{FF2B5EF4-FFF2-40B4-BE49-F238E27FC236}">
                  <a16:creationId xmlns:a16="http://schemas.microsoft.com/office/drawing/2014/main" id="{0611CB60-C9C2-B44F-41C5-A70DF99AA806}"/>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TextBox 4">
              <a:extLst>
                <a:ext uri="{FF2B5EF4-FFF2-40B4-BE49-F238E27FC236}">
                  <a16:creationId xmlns:a16="http://schemas.microsoft.com/office/drawing/2014/main" id="{A91106F2-9D2E-F632-EC0C-D9EEDD77342F}"/>
                </a:ext>
              </a:extLst>
            </p:cNvPr>
            <p:cNvSpPr txBox="1"/>
            <p:nvPr/>
          </p:nvSpPr>
          <p:spPr>
            <a:xfrm>
              <a:off x="7318896" y="2654089"/>
              <a:ext cx="2056366" cy="337498"/>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sesor de carrera</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6" name="TextBox 5">
              <a:extLst>
                <a:ext uri="{FF2B5EF4-FFF2-40B4-BE49-F238E27FC236}">
                  <a16:creationId xmlns:a16="http://schemas.microsoft.com/office/drawing/2014/main" id="{1F58609A-EFBB-30D4-51F1-46188E3C80BB}"/>
                </a:ext>
              </a:extLst>
            </p:cNvPr>
            <p:cNvSpPr txBox="1"/>
            <p:nvPr/>
          </p:nvSpPr>
          <p:spPr>
            <a:xfrm>
              <a:off x="7277975" y="3701063"/>
              <a:ext cx="2183466" cy="59558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Obtén asesoramiento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de carrera personalizado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y planes de acción</a:t>
              </a:r>
            </a:p>
          </p:txBody>
        </p:sp>
        <p:pic>
          <p:nvPicPr>
            <p:cNvPr id="24" name="Picture 23">
              <a:extLst>
                <a:ext uri="{FF2B5EF4-FFF2-40B4-BE49-F238E27FC236}">
                  <a16:creationId xmlns:a16="http://schemas.microsoft.com/office/drawing/2014/main" id="{4B2D9936-F4F1-0835-5309-D8CEBBBBF6C9}"/>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8033727" y="3014709"/>
              <a:ext cx="626706" cy="626704"/>
            </a:xfrm>
            <a:prstGeom prst="rect">
              <a:avLst/>
            </a:prstGeom>
          </p:spPr>
        </p:pic>
      </p:grpSp>
      <p:grpSp>
        <p:nvGrpSpPr>
          <p:cNvPr id="52" name="Group 51">
            <a:extLst>
              <a:ext uri="{FF2B5EF4-FFF2-40B4-BE49-F238E27FC236}">
                <a16:creationId xmlns:a16="http://schemas.microsoft.com/office/drawing/2014/main" id="{B6A2D1DD-B058-AF6E-1105-F58D3059AF2B}"/>
              </a:ext>
            </a:extLst>
          </p:cNvPr>
          <p:cNvGrpSpPr/>
          <p:nvPr/>
        </p:nvGrpSpPr>
        <p:grpSpPr>
          <a:xfrm>
            <a:off x="4787756" y="5196280"/>
            <a:ext cx="1688353" cy="1394099"/>
            <a:chOff x="9489967" y="2544899"/>
            <a:chExt cx="2174602" cy="1798501"/>
          </a:xfrm>
        </p:grpSpPr>
        <p:sp>
          <p:nvSpPr>
            <p:cNvPr id="13" name="Rectangle: Rounded Corners 12">
              <a:extLst>
                <a:ext uri="{FF2B5EF4-FFF2-40B4-BE49-F238E27FC236}">
                  <a16:creationId xmlns:a16="http://schemas.microsoft.com/office/drawing/2014/main" id="{AA8FB9B7-F64E-F948-1B6D-F729FBF4E108}"/>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AF4A868A-B191-B77E-CCA8-E6C7C6C88E84}"/>
                </a:ext>
              </a:extLst>
            </p:cNvPr>
            <p:cNvSpPr txBox="1"/>
            <p:nvPr/>
          </p:nvSpPr>
          <p:spPr>
            <a:xfrm>
              <a:off x="9525750" y="2544899"/>
              <a:ext cx="2034586" cy="55587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sesor de aprendizaje</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15" name="TextBox 14">
              <a:extLst>
                <a:ext uri="{FF2B5EF4-FFF2-40B4-BE49-F238E27FC236}">
                  <a16:creationId xmlns:a16="http://schemas.microsoft.com/office/drawing/2014/main" id="{199012D7-B5F8-C2D7-8AD9-566CBE81FA04}"/>
                </a:ext>
              </a:extLst>
            </p:cNvPr>
            <p:cNvSpPr txBox="1"/>
            <p:nvPr/>
          </p:nvSpPr>
          <p:spPr>
            <a:xfrm>
              <a:off x="9489967" y="3889338"/>
              <a:ext cx="2170234" cy="397057"/>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Aprende sobre temas y mejora tus habilidades</a:t>
              </a:r>
            </a:p>
          </p:txBody>
        </p:sp>
        <p:pic>
          <p:nvPicPr>
            <p:cNvPr id="25" name="Picture 24">
              <a:extLst>
                <a:ext uri="{FF2B5EF4-FFF2-40B4-BE49-F238E27FC236}">
                  <a16:creationId xmlns:a16="http://schemas.microsoft.com/office/drawing/2014/main" id="{20E3A827-4E93-6F31-2785-D320C2BE922A}"/>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10272186" y="3012475"/>
              <a:ext cx="626706" cy="626704"/>
            </a:xfrm>
            <a:prstGeom prst="rect">
              <a:avLst/>
            </a:prstGeom>
          </p:spPr>
        </p:pic>
      </p:grpSp>
      <p:sp>
        <p:nvSpPr>
          <p:cNvPr id="2" name="TextBox 1">
            <a:extLst>
              <a:ext uri="{FF2B5EF4-FFF2-40B4-BE49-F238E27FC236}">
                <a16:creationId xmlns:a16="http://schemas.microsoft.com/office/drawing/2014/main" id="{E425060D-37E8-175A-9EEB-C129AE76F3DE}"/>
              </a:ext>
            </a:extLst>
          </p:cNvPr>
          <p:cNvSpPr txBox="1"/>
          <p:nvPr/>
        </p:nvSpPr>
        <p:spPr>
          <a:xfrm>
            <a:off x="6904037" y="6269038"/>
            <a:ext cx="4321311"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30000" noProof="0" dirty="0">
                <a:ln>
                  <a:noFill/>
                </a:ln>
                <a:solidFill>
                  <a:srgbClr val="091F2C"/>
                </a:solidFill>
                <a:effectLst/>
                <a:uLnTx/>
                <a:uFillTx/>
                <a:latin typeface="Segoe Sans Display"/>
                <a:ea typeface="+mn-ea"/>
                <a:cs typeface="+mn-cs"/>
              </a:rPr>
              <a:t>1</a:t>
            </a:r>
            <a:r>
              <a:rPr kumimoji="0" lang="es-es" sz="1200" b="0" i="0" u="none" strike="noStrike" kern="1200" cap="none" spc="0" normalizeH="0" baseline="0" noProof="0" dirty="0">
                <a:ln>
                  <a:noFill/>
                </a:ln>
                <a:solidFill>
                  <a:srgbClr val="091F2C"/>
                </a:solidFill>
                <a:effectLst/>
                <a:uLnTx/>
                <a:uFillTx/>
                <a:latin typeface="Segoe Sans Display"/>
                <a:ea typeface="+mn-ea"/>
                <a:cs typeface="+mn-cs"/>
              </a:rPr>
              <a:t>La creación de agentes solo está disponible si el administrador de tu organización ha habilitado esta capacidad.</a:t>
            </a:r>
          </a:p>
        </p:txBody>
      </p:sp>
      <p:grpSp>
        <p:nvGrpSpPr>
          <p:cNvPr id="42" name="Group 41">
            <a:extLst>
              <a:ext uri="{FF2B5EF4-FFF2-40B4-BE49-F238E27FC236}">
                <a16:creationId xmlns:a16="http://schemas.microsoft.com/office/drawing/2014/main" id="{90601F29-7FD6-C58F-6876-8D73AE83331E}"/>
              </a:ext>
            </a:extLst>
          </p:cNvPr>
          <p:cNvGrpSpPr/>
          <p:nvPr/>
        </p:nvGrpSpPr>
        <p:grpSpPr>
          <a:xfrm>
            <a:off x="571500" y="3813014"/>
            <a:ext cx="1665616" cy="1309544"/>
            <a:chOff x="557513" y="4415392"/>
            <a:chExt cx="2158060" cy="1706984"/>
          </a:xfrm>
        </p:grpSpPr>
        <p:sp>
          <p:nvSpPr>
            <p:cNvPr id="29" name="Rectangle: Rounded Corners 28">
              <a:extLst>
                <a:ext uri="{FF2B5EF4-FFF2-40B4-BE49-F238E27FC236}">
                  <a16:creationId xmlns:a16="http://schemas.microsoft.com/office/drawing/2014/main" id="{3C620FA8-E592-A553-D046-4C5462EC9909}"/>
                </a:ext>
                <a:ext uri="{C183D7F6-B498-43B3-948B-1728B52AA6E4}">
                  <adec:decorative xmlns:adec="http://schemas.microsoft.com/office/drawing/2017/decorative" val="1"/>
                </a:ext>
              </a:extLst>
            </p:cNvPr>
            <p:cNvSpPr/>
            <p:nvPr/>
          </p:nvSpPr>
          <p:spPr bwMode="auto">
            <a:xfrm>
              <a:off x="557513" y="4415392"/>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681E6C0D-56C2-2AD3-F48A-31BA481FC4CB}"/>
                </a:ext>
              </a:extLst>
            </p:cNvPr>
            <p:cNvSpPr txBox="1"/>
            <p:nvPr/>
          </p:nvSpPr>
          <p:spPr>
            <a:xfrm>
              <a:off x="557513" y="4442531"/>
              <a:ext cx="2155386" cy="341007"/>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Información del cliente</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32" name="TextBox 31">
              <a:extLst>
                <a:ext uri="{FF2B5EF4-FFF2-40B4-BE49-F238E27FC236}">
                  <a16:creationId xmlns:a16="http://schemas.microsoft.com/office/drawing/2014/main" id="{588169A4-4812-438F-45CA-BF5129D1492F}"/>
                </a:ext>
              </a:extLst>
            </p:cNvPr>
            <p:cNvSpPr txBox="1"/>
            <p:nvPr/>
          </p:nvSpPr>
          <p:spPr>
            <a:xfrm>
              <a:off x="683794" y="5804540"/>
              <a:ext cx="1957308" cy="200592"/>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Conoce a tus clientes </a:t>
              </a:r>
            </a:p>
          </p:txBody>
        </p:sp>
        <p:pic>
          <p:nvPicPr>
            <p:cNvPr id="47" name="Picture 46">
              <a:extLst>
                <a:ext uri="{FF2B5EF4-FFF2-40B4-BE49-F238E27FC236}">
                  <a16:creationId xmlns:a16="http://schemas.microsoft.com/office/drawing/2014/main" id="{0C43CBAF-9881-5A33-0A5F-D2C2E79E5B4D}"/>
                </a:ext>
              </a:extLst>
            </p:cNvPr>
            <p:cNvPicPr>
              <a:picLocks noChangeAspect="1"/>
            </p:cNvPicPr>
            <p:nvPr/>
          </p:nvPicPr>
          <p:blipFill>
            <a:blip r:embed="rId9">
              <a:clrChange>
                <a:clrFrom>
                  <a:srgbClr val="FDFDFD"/>
                </a:clrFrom>
                <a:clrTo>
                  <a:srgbClr val="FDFDFD">
                    <a:alpha val="0"/>
                  </a:srgbClr>
                </a:clrTo>
              </a:clrChange>
            </a:blip>
            <a:stretch>
              <a:fillRect/>
            </a:stretch>
          </p:blipFill>
          <p:spPr>
            <a:xfrm>
              <a:off x="1110507" y="4868414"/>
              <a:ext cx="847971" cy="712296"/>
            </a:xfrm>
            <a:prstGeom prst="rect">
              <a:avLst/>
            </a:prstGeom>
          </p:spPr>
        </p:pic>
      </p:grpSp>
      <p:grpSp>
        <p:nvGrpSpPr>
          <p:cNvPr id="44" name="Group 43">
            <a:extLst>
              <a:ext uri="{FF2B5EF4-FFF2-40B4-BE49-F238E27FC236}">
                <a16:creationId xmlns:a16="http://schemas.microsoft.com/office/drawing/2014/main" id="{4741602C-2F72-4218-71B0-31458B252C8E}"/>
              </a:ext>
            </a:extLst>
          </p:cNvPr>
          <p:cNvGrpSpPr/>
          <p:nvPr/>
        </p:nvGrpSpPr>
        <p:grpSpPr>
          <a:xfrm>
            <a:off x="2583466" y="2303887"/>
            <a:ext cx="1837763" cy="1381425"/>
            <a:chOff x="2668086" y="4340166"/>
            <a:chExt cx="2392426" cy="1782211"/>
          </a:xfrm>
        </p:grpSpPr>
        <p:sp>
          <p:nvSpPr>
            <p:cNvPr id="28" name="Rectangle: Rounded Corners 27">
              <a:extLst>
                <a:ext uri="{FF2B5EF4-FFF2-40B4-BE49-F238E27FC236}">
                  <a16:creationId xmlns:a16="http://schemas.microsoft.com/office/drawing/2014/main" id="{E0B2EDAE-1C90-F6D3-752B-A3118CD86FFE}"/>
                </a:ext>
                <a:ext uri="{C183D7F6-B498-43B3-948B-1728B52AA6E4}">
                  <adec:decorative xmlns:adec="http://schemas.microsoft.com/office/drawing/2017/decorative" val="1"/>
                </a:ext>
              </a:extLst>
            </p:cNvPr>
            <p:cNvSpPr/>
            <p:nvPr/>
          </p:nvSpPr>
          <p:spPr bwMode="auto">
            <a:xfrm>
              <a:off x="2785269" y="4415392"/>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TextBox 32">
              <a:extLst>
                <a:ext uri="{FF2B5EF4-FFF2-40B4-BE49-F238E27FC236}">
                  <a16:creationId xmlns:a16="http://schemas.microsoft.com/office/drawing/2014/main" id="{1A74AA6A-27D9-F16F-2DF5-750F1FFAF6A5}"/>
                </a:ext>
              </a:extLst>
            </p:cNvPr>
            <p:cNvSpPr txBox="1"/>
            <p:nvPr/>
          </p:nvSpPr>
          <p:spPr>
            <a:xfrm>
              <a:off x="2668086" y="4340166"/>
              <a:ext cx="2392426" cy="555898"/>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Preguntas de entrevista</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34" name="TextBox 33">
              <a:extLst>
                <a:ext uri="{FF2B5EF4-FFF2-40B4-BE49-F238E27FC236}">
                  <a16:creationId xmlns:a16="http://schemas.microsoft.com/office/drawing/2014/main" id="{8060D92D-7B64-2A5F-C4ED-9A7D2B52D054}"/>
                </a:ext>
              </a:extLst>
            </p:cNvPr>
            <p:cNvSpPr txBox="1"/>
            <p:nvPr/>
          </p:nvSpPr>
          <p:spPr>
            <a:xfrm>
              <a:off x="2852558" y="5668315"/>
              <a:ext cx="2009119" cy="397070"/>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Genera preguntas de entrevista profesionales</a:t>
              </a:r>
            </a:p>
          </p:txBody>
        </p:sp>
        <p:pic>
          <p:nvPicPr>
            <p:cNvPr id="49" name="Picture 48">
              <a:extLst>
                <a:ext uri="{FF2B5EF4-FFF2-40B4-BE49-F238E27FC236}">
                  <a16:creationId xmlns:a16="http://schemas.microsoft.com/office/drawing/2014/main" id="{1B476D0B-73CF-EEAD-6627-32772CB8BC2A}"/>
                </a:ext>
              </a:extLst>
            </p:cNvPr>
            <p:cNvPicPr>
              <a:picLocks noChangeAspect="1"/>
            </p:cNvPicPr>
            <p:nvPr/>
          </p:nvPicPr>
          <p:blipFill>
            <a:blip r:embed="rId10">
              <a:clrChange>
                <a:clrFrom>
                  <a:srgbClr val="FDFDFD"/>
                </a:clrFrom>
                <a:clrTo>
                  <a:srgbClr val="FDFDFD">
                    <a:alpha val="0"/>
                  </a:srgbClr>
                </a:clrTo>
              </a:clrChange>
            </a:blip>
            <a:stretch>
              <a:fillRect/>
            </a:stretch>
          </p:blipFill>
          <p:spPr>
            <a:xfrm>
              <a:off x="3369955" y="4899563"/>
              <a:ext cx="887997" cy="751382"/>
            </a:xfrm>
            <a:prstGeom prst="rect">
              <a:avLst/>
            </a:prstGeom>
          </p:spPr>
        </p:pic>
      </p:grpSp>
      <p:grpSp>
        <p:nvGrpSpPr>
          <p:cNvPr id="46" name="Group 45">
            <a:extLst>
              <a:ext uri="{FF2B5EF4-FFF2-40B4-BE49-F238E27FC236}">
                <a16:creationId xmlns:a16="http://schemas.microsoft.com/office/drawing/2014/main" id="{DE73B963-921E-32D1-B63C-A3B7E5345034}"/>
              </a:ext>
            </a:extLst>
          </p:cNvPr>
          <p:cNvGrpSpPr/>
          <p:nvPr/>
        </p:nvGrpSpPr>
        <p:grpSpPr>
          <a:xfrm>
            <a:off x="2667001" y="5188550"/>
            <a:ext cx="1689100" cy="1385819"/>
            <a:chOff x="5006226" y="4321912"/>
            <a:chExt cx="2175564" cy="1800465"/>
          </a:xfrm>
        </p:grpSpPr>
        <p:sp>
          <p:nvSpPr>
            <p:cNvPr id="30" name="Rectangle: Rounded Corners 29">
              <a:extLst>
                <a:ext uri="{FF2B5EF4-FFF2-40B4-BE49-F238E27FC236}">
                  <a16:creationId xmlns:a16="http://schemas.microsoft.com/office/drawing/2014/main" id="{F8F6D93F-E8D1-AA2B-7B31-E9EE53A75D52}"/>
                </a:ext>
                <a:ext uri="{C183D7F6-B498-43B3-948B-1728B52AA6E4}">
                  <adec:decorative xmlns:adec="http://schemas.microsoft.com/office/drawing/2017/decorative" val="1"/>
                </a:ext>
              </a:extLst>
            </p:cNvPr>
            <p:cNvSpPr/>
            <p:nvPr/>
          </p:nvSpPr>
          <p:spPr bwMode="auto">
            <a:xfrm>
              <a:off x="502372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2DD42566-9538-ABC8-8120-2676EBA134D3}"/>
                </a:ext>
              </a:extLst>
            </p:cNvPr>
            <p:cNvSpPr txBox="1"/>
            <p:nvPr/>
          </p:nvSpPr>
          <p:spPr>
            <a:xfrm>
              <a:off x="5060298" y="4321912"/>
              <a:ext cx="2052370" cy="559811"/>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sesor de reunione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36" name="TextBox 35">
              <a:extLst>
                <a:ext uri="{FF2B5EF4-FFF2-40B4-BE49-F238E27FC236}">
                  <a16:creationId xmlns:a16="http://schemas.microsoft.com/office/drawing/2014/main" id="{CCF8D806-AE1D-2FC5-08B2-C6EA3005DE29}"/>
                </a:ext>
              </a:extLst>
            </p:cNvPr>
            <p:cNvSpPr txBox="1"/>
            <p:nvPr/>
          </p:nvSpPr>
          <p:spPr>
            <a:xfrm>
              <a:off x="5006226" y="5668316"/>
              <a:ext cx="2175564" cy="399866"/>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Crea y gestiona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reuniones efectivas </a:t>
              </a:r>
            </a:p>
          </p:txBody>
        </p:sp>
        <p:pic>
          <p:nvPicPr>
            <p:cNvPr id="51" name="Picture 50">
              <a:extLst>
                <a:ext uri="{FF2B5EF4-FFF2-40B4-BE49-F238E27FC236}">
                  <a16:creationId xmlns:a16="http://schemas.microsoft.com/office/drawing/2014/main" id="{883D87C3-4F4C-CEA3-6046-5223FB65941C}"/>
                </a:ext>
              </a:extLst>
            </p:cNvPr>
            <p:cNvPicPr>
              <a:picLocks noChangeAspect="1"/>
            </p:cNvPicPr>
            <p:nvPr/>
          </p:nvPicPr>
          <p:blipFill>
            <a:blip r:embed="rId11">
              <a:clrChange>
                <a:clrFrom>
                  <a:srgbClr val="FDFDFD"/>
                </a:clrFrom>
                <a:clrTo>
                  <a:srgbClr val="FDFDFD">
                    <a:alpha val="0"/>
                  </a:srgbClr>
                </a:clrTo>
              </a:clrChange>
            </a:blip>
            <a:stretch>
              <a:fillRect/>
            </a:stretch>
          </p:blipFill>
          <p:spPr>
            <a:xfrm>
              <a:off x="5593055" y="4816154"/>
              <a:ext cx="847979" cy="761745"/>
            </a:xfrm>
            <a:prstGeom prst="rect">
              <a:avLst/>
            </a:prstGeom>
          </p:spPr>
        </p:pic>
      </p:grpSp>
      <p:grpSp>
        <p:nvGrpSpPr>
          <p:cNvPr id="50" name="Group 49">
            <a:extLst>
              <a:ext uri="{FF2B5EF4-FFF2-40B4-BE49-F238E27FC236}">
                <a16:creationId xmlns:a16="http://schemas.microsoft.com/office/drawing/2014/main" id="{83584D83-38C5-29AE-51EE-8A25732AAB4C}"/>
              </a:ext>
            </a:extLst>
          </p:cNvPr>
          <p:cNvGrpSpPr/>
          <p:nvPr/>
        </p:nvGrpSpPr>
        <p:grpSpPr>
          <a:xfrm>
            <a:off x="4760472" y="3746609"/>
            <a:ext cx="1746470" cy="1385822"/>
            <a:chOff x="7210217" y="4321911"/>
            <a:chExt cx="2262003" cy="1800466"/>
          </a:xfrm>
        </p:grpSpPr>
        <p:sp>
          <p:nvSpPr>
            <p:cNvPr id="27" name="Rectangle: Rounded Corners 26">
              <a:extLst>
                <a:ext uri="{FF2B5EF4-FFF2-40B4-BE49-F238E27FC236}">
                  <a16:creationId xmlns:a16="http://schemas.microsoft.com/office/drawing/2014/main" id="{2AC5E2DC-19D2-7609-8DD6-4CD7E7A69DA7}"/>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TextBox 36">
              <a:extLst>
                <a:ext uri="{FF2B5EF4-FFF2-40B4-BE49-F238E27FC236}">
                  <a16:creationId xmlns:a16="http://schemas.microsoft.com/office/drawing/2014/main" id="{BEF6D9AA-91DB-91AC-74E2-D829ED4BEAE7}"/>
                </a:ext>
              </a:extLst>
            </p:cNvPr>
            <p:cNvSpPr txBox="1"/>
            <p:nvPr/>
          </p:nvSpPr>
          <p:spPr>
            <a:xfrm>
              <a:off x="7210217" y="4321911"/>
              <a:ext cx="2262003" cy="559811"/>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Tutor de cuestionario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38" name="TextBox 37">
              <a:extLst>
                <a:ext uri="{FF2B5EF4-FFF2-40B4-BE49-F238E27FC236}">
                  <a16:creationId xmlns:a16="http://schemas.microsoft.com/office/drawing/2014/main" id="{42C43ADC-831C-F1EA-09A7-0BDB8DC5AC9B}"/>
                </a:ext>
              </a:extLst>
            </p:cNvPr>
            <p:cNvSpPr txBox="1"/>
            <p:nvPr/>
          </p:nvSpPr>
          <p:spPr>
            <a:xfrm>
              <a:off x="7272171" y="5645685"/>
              <a:ext cx="2129110" cy="399865"/>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Crea preguntas de </a:t>
              </a:r>
              <a:r>
                <a:rPr kumimoji="0" lang="es-es" sz="1000" b="0" i="0" u="none" strike="noStrike" kern="1200" cap="none" spc="0" normalizeH="0" baseline="0" noProof="0" dirty="0" err="1">
                  <a:ln>
                    <a:noFill/>
                  </a:ln>
                  <a:solidFill>
                    <a:srgbClr val="000000"/>
                  </a:solidFill>
                  <a:effectLst/>
                  <a:uLnTx/>
                  <a:uFillTx/>
                  <a:latin typeface="Segoe UI"/>
                  <a:ea typeface="+mn-ea"/>
                  <a:cs typeface="Segoe UI"/>
                </a:rPr>
                <a:t>cuestio-nario</a:t>
              </a:r>
              <a:r>
                <a:rPr kumimoji="0" lang="es-es" sz="1000" b="0" i="0" u="none" strike="noStrike" kern="1200" cap="none" spc="0" normalizeH="0" baseline="0" noProof="0" dirty="0">
                  <a:ln>
                    <a:noFill/>
                  </a:ln>
                  <a:solidFill>
                    <a:srgbClr val="000000"/>
                  </a:solidFill>
                  <a:effectLst/>
                  <a:uLnTx/>
                  <a:uFillTx/>
                  <a:latin typeface="Segoe UI"/>
                  <a:ea typeface="+mn-ea"/>
                  <a:cs typeface="Segoe UI"/>
                </a:rPr>
                <a:t> divertidas</a:t>
              </a:r>
              <a:r>
                <a:rPr lang="es-es" sz="1000" dirty="0">
                  <a:solidFill>
                    <a:srgbClr val="000000"/>
                  </a:solidFill>
                  <a:latin typeface="Segoe UI"/>
                  <a:cs typeface="Segoe UI"/>
                </a:rPr>
                <a:t> </a:t>
              </a:r>
              <a:r>
                <a:rPr kumimoji="0" lang="es-es" sz="1000" b="0" i="0" u="none" strike="noStrike" kern="1200" cap="none" spc="0" normalizeH="0" baseline="0" noProof="0" dirty="0">
                  <a:ln>
                    <a:noFill/>
                  </a:ln>
                  <a:solidFill>
                    <a:srgbClr val="000000"/>
                  </a:solidFill>
                  <a:effectLst/>
                  <a:uLnTx/>
                  <a:uFillTx/>
                  <a:latin typeface="Segoe UI"/>
                  <a:ea typeface="+mn-ea"/>
                  <a:cs typeface="Segoe UI"/>
                </a:rPr>
                <a:t>y atractivas </a:t>
              </a:r>
            </a:p>
          </p:txBody>
        </p:sp>
        <p:pic>
          <p:nvPicPr>
            <p:cNvPr id="53" name="Picture 52">
              <a:extLst>
                <a:ext uri="{FF2B5EF4-FFF2-40B4-BE49-F238E27FC236}">
                  <a16:creationId xmlns:a16="http://schemas.microsoft.com/office/drawing/2014/main" id="{B08E1F5F-5F5B-996B-5454-34552EDE4676}"/>
                </a:ext>
              </a:extLst>
            </p:cNvPr>
            <p:cNvPicPr>
              <a:picLocks noChangeAspect="1"/>
            </p:cNvPicPr>
            <p:nvPr/>
          </p:nvPicPr>
          <p:blipFill>
            <a:blip r:embed="rId12">
              <a:clrChange>
                <a:clrFrom>
                  <a:srgbClr val="FDFDFD"/>
                </a:clrFrom>
                <a:clrTo>
                  <a:srgbClr val="FDFDFD">
                    <a:alpha val="0"/>
                  </a:srgbClr>
                </a:clrTo>
              </a:clrChange>
            </a:blip>
            <a:stretch>
              <a:fillRect/>
            </a:stretch>
          </p:blipFill>
          <p:spPr>
            <a:xfrm>
              <a:off x="8025831" y="4881090"/>
              <a:ext cx="717721" cy="717721"/>
            </a:xfrm>
            <a:prstGeom prst="rect">
              <a:avLst/>
            </a:prstGeom>
          </p:spPr>
        </p:pic>
      </p:grpSp>
      <p:grpSp>
        <p:nvGrpSpPr>
          <p:cNvPr id="58" name="Group 57">
            <a:extLst>
              <a:ext uri="{FF2B5EF4-FFF2-40B4-BE49-F238E27FC236}">
                <a16:creationId xmlns:a16="http://schemas.microsoft.com/office/drawing/2014/main" id="{CC4E093D-8895-BC16-9E0E-E9EF3FDAECDE}"/>
              </a:ext>
            </a:extLst>
          </p:cNvPr>
          <p:cNvGrpSpPr/>
          <p:nvPr/>
        </p:nvGrpSpPr>
        <p:grpSpPr>
          <a:xfrm>
            <a:off x="6894513" y="2363889"/>
            <a:ext cx="1675510" cy="1323160"/>
            <a:chOff x="7268050" y="2636415"/>
            <a:chExt cx="2158060" cy="1706984"/>
          </a:xfrm>
        </p:grpSpPr>
        <p:sp>
          <p:nvSpPr>
            <p:cNvPr id="59" name="Rectangle: Rounded Corners 58">
              <a:extLst>
                <a:ext uri="{FF2B5EF4-FFF2-40B4-BE49-F238E27FC236}">
                  <a16:creationId xmlns:a16="http://schemas.microsoft.com/office/drawing/2014/main" id="{4CF760CF-E814-EF3D-CD60-CFB37F388153}"/>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 name="TextBox 59">
              <a:extLst>
                <a:ext uri="{FF2B5EF4-FFF2-40B4-BE49-F238E27FC236}">
                  <a16:creationId xmlns:a16="http://schemas.microsoft.com/office/drawing/2014/main" id="{A457D711-9A29-5DA9-2FDE-5CB6A69F32BC}"/>
                </a:ext>
              </a:extLst>
            </p:cNvPr>
            <p:cNvSpPr txBox="1"/>
            <p:nvPr/>
          </p:nvSpPr>
          <p:spPr>
            <a:xfrm>
              <a:off x="7268050" y="2654089"/>
              <a:ext cx="2112178" cy="337498"/>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sistente de scrum</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61" name="TextBox 60">
              <a:extLst>
                <a:ext uri="{FF2B5EF4-FFF2-40B4-BE49-F238E27FC236}">
                  <a16:creationId xmlns:a16="http://schemas.microsoft.com/office/drawing/2014/main" id="{938EA604-2A02-CF4C-C982-C326BD27FF2C}"/>
                </a:ext>
              </a:extLst>
            </p:cNvPr>
            <p:cNvSpPr txBox="1"/>
            <p:nvPr/>
          </p:nvSpPr>
          <p:spPr>
            <a:xfrm>
              <a:off x="7268050" y="3794103"/>
              <a:ext cx="2112178" cy="397057"/>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Apoyo al </a:t>
              </a:r>
              <a:br>
                <a:rPr sz="1000" dirty="0"/>
              </a:br>
              <a:r>
                <a:rPr kumimoji="0" lang="es-es" sz="1000" b="0" i="0" u="none" strike="noStrike" kern="1200" cap="none" spc="0" normalizeH="0" baseline="0" noProof="0" dirty="0">
                  <a:ln>
                    <a:noFill/>
                  </a:ln>
                  <a:solidFill>
                    <a:srgbClr val="000000"/>
                  </a:solidFill>
                  <a:effectLst/>
                  <a:uLnTx/>
                  <a:uFillTx/>
                  <a:latin typeface="Segoe UI"/>
                  <a:ea typeface="+mn-ea"/>
                  <a:cs typeface="Segoe UI"/>
                </a:rPr>
                <a:t>equipo de scrum.</a:t>
              </a:r>
            </a:p>
          </p:txBody>
        </p:sp>
      </p:grpSp>
      <p:pic>
        <p:nvPicPr>
          <p:cNvPr id="63" name="Picture 62">
            <a:extLst>
              <a:ext uri="{FF2B5EF4-FFF2-40B4-BE49-F238E27FC236}">
                <a16:creationId xmlns:a16="http://schemas.microsoft.com/office/drawing/2014/main" id="{1842936B-B9B4-096A-7C99-0B26F422125F}"/>
              </a:ext>
            </a:extLst>
          </p:cNvPr>
          <p:cNvPicPr>
            <a:picLocks noChangeAspect="1"/>
          </p:cNvPicPr>
          <p:nvPr/>
        </p:nvPicPr>
        <p:blipFill>
          <a:blip r:embed="rId13">
            <a:clrChange>
              <a:clrFrom>
                <a:srgbClr val="FDFDFD"/>
              </a:clrFrom>
              <a:clrTo>
                <a:srgbClr val="FDFDFD">
                  <a:alpha val="0"/>
                </a:srgbClr>
              </a:clrTo>
            </a:clrChange>
          </a:blip>
          <a:stretch>
            <a:fillRect/>
          </a:stretch>
        </p:blipFill>
        <p:spPr>
          <a:xfrm>
            <a:off x="7363544" y="2699056"/>
            <a:ext cx="627017" cy="548640"/>
          </a:xfrm>
          <a:prstGeom prst="rect">
            <a:avLst/>
          </a:prstGeom>
        </p:spPr>
      </p:pic>
      <p:grpSp>
        <p:nvGrpSpPr>
          <p:cNvPr id="64" name="Group 63">
            <a:extLst>
              <a:ext uri="{FF2B5EF4-FFF2-40B4-BE49-F238E27FC236}">
                <a16:creationId xmlns:a16="http://schemas.microsoft.com/office/drawing/2014/main" id="{B34F949E-A2C8-7412-0358-97FE6B7BBD61}"/>
              </a:ext>
            </a:extLst>
          </p:cNvPr>
          <p:cNvGrpSpPr/>
          <p:nvPr/>
        </p:nvGrpSpPr>
        <p:grpSpPr>
          <a:xfrm>
            <a:off x="6812517" y="3756139"/>
            <a:ext cx="1803876" cy="1378709"/>
            <a:chOff x="7162440" y="2564752"/>
            <a:chExt cx="2323396" cy="1778647"/>
          </a:xfrm>
        </p:grpSpPr>
        <p:sp>
          <p:nvSpPr>
            <p:cNvPr id="65" name="Rectangle: Rounded Corners 64">
              <a:extLst>
                <a:ext uri="{FF2B5EF4-FFF2-40B4-BE49-F238E27FC236}">
                  <a16:creationId xmlns:a16="http://schemas.microsoft.com/office/drawing/2014/main" id="{4BF95294-FA54-2D43-3529-D52110FD74B6}"/>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 name="TextBox 65">
              <a:extLst>
                <a:ext uri="{FF2B5EF4-FFF2-40B4-BE49-F238E27FC236}">
                  <a16:creationId xmlns:a16="http://schemas.microsoft.com/office/drawing/2014/main" id="{7C127E14-97F7-9BAC-575C-9A0D4DC68FFD}"/>
                </a:ext>
              </a:extLst>
            </p:cNvPr>
            <p:cNvSpPr txBox="1"/>
            <p:nvPr/>
          </p:nvSpPr>
          <p:spPr>
            <a:xfrm>
              <a:off x="7162440" y="2564752"/>
              <a:ext cx="2323396" cy="774260"/>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Generador de solicitudes de propuesta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67" name="TextBox 66">
              <a:extLst>
                <a:ext uri="{FF2B5EF4-FFF2-40B4-BE49-F238E27FC236}">
                  <a16:creationId xmlns:a16="http://schemas.microsoft.com/office/drawing/2014/main" id="{B3B984E6-E031-117B-08C4-8490A3AA36AC}"/>
                </a:ext>
              </a:extLst>
            </p:cNvPr>
            <p:cNvSpPr txBox="1"/>
            <p:nvPr/>
          </p:nvSpPr>
          <p:spPr>
            <a:xfrm>
              <a:off x="7268050" y="3886886"/>
              <a:ext cx="2112178" cy="397057"/>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Acelera la creación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de propuestas</a:t>
              </a:r>
            </a:p>
          </p:txBody>
        </p:sp>
      </p:grpSp>
      <p:pic>
        <p:nvPicPr>
          <p:cNvPr id="68" name="Picture 67" descr="Avatar del Generador de solicitudes de propuestas">
            <a:extLst>
              <a:ext uri="{FF2B5EF4-FFF2-40B4-BE49-F238E27FC236}">
                <a16:creationId xmlns:a16="http://schemas.microsoft.com/office/drawing/2014/main" id="{789F2D2F-A389-BB8F-2A31-7B97FF204318}"/>
              </a:ext>
            </a:extLst>
          </p:cNvPr>
          <p:cNvPicPr>
            <a:picLocks noChangeAspect="1"/>
          </p:cNvPicPr>
          <p:nvPr/>
        </p:nvPicPr>
        <p:blipFill>
          <a:blip r:embed="rId14"/>
          <a:stretch>
            <a:fillRect/>
          </a:stretch>
        </p:blipFill>
        <p:spPr>
          <a:xfrm>
            <a:off x="7479689" y="4267200"/>
            <a:ext cx="431411" cy="431411"/>
          </a:xfrm>
          <a:prstGeom prst="rect">
            <a:avLst/>
          </a:prstGeom>
        </p:spPr>
      </p:pic>
      <p:grpSp>
        <p:nvGrpSpPr>
          <p:cNvPr id="26" name="Group 25">
            <a:extLst>
              <a:ext uri="{FF2B5EF4-FFF2-40B4-BE49-F238E27FC236}">
                <a16:creationId xmlns:a16="http://schemas.microsoft.com/office/drawing/2014/main" id="{DE081646-8514-01D2-282C-B434A80FE7AF}"/>
              </a:ext>
            </a:extLst>
          </p:cNvPr>
          <p:cNvGrpSpPr/>
          <p:nvPr/>
        </p:nvGrpSpPr>
        <p:grpSpPr>
          <a:xfrm>
            <a:off x="8857510" y="3810004"/>
            <a:ext cx="1984264" cy="1313867"/>
            <a:chOff x="6722322" y="5257799"/>
            <a:chExt cx="1984264" cy="1313867"/>
          </a:xfrm>
        </p:grpSpPr>
        <p:grpSp>
          <p:nvGrpSpPr>
            <p:cNvPr id="69" name="Group 68">
              <a:extLst>
                <a:ext uri="{FF2B5EF4-FFF2-40B4-BE49-F238E27FC236}">
                  <a16:creationId xmlns:a16="http://schemas.microsoft.com/office/drawing/2014/main" id="{4481B5F6-49AA-47F3-5A9B-D7F249C61F3C}"/>
                </a:ext>
              </a:extLst>
            </p:cNvPr>
            <p:cNvGrpSpPr/>
            <p:nvPr/>
          </p:nvGrpSpPr>
          <p:grpSpPr>
            <a:xfrm>
              <a:off x="6722322" y="5257799"/>
              <a:ext cx="1984264" cy="1313867"/>
              <a:chOff x="7039172" y="4415393"/>
              <a:chExt cx="2569991" cy="1706984"/>
            </a:xfrm>
          </p:grpSpPr>
          <p:sp>
            <p:nvSpPr>
              <p:cNvPr id="70" name="Rectangle: Rounded Corners 69">
                <a:extLst>
                  <a:ext uri="{FF2B5EF4-FFF2-40B4-BE49-F238E27FC236}">
                    <a16:creationId xmlns:a16="http://schemas.microsoft.com/office/drawing/2014/main" id="{119790E5-FC52-408B-9CC7-055D32FAFFD1}"/>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2A52361F-BA6C-82D5-3985-5A16CEA0333E}"/>
                  </a:ext>
                </a:extLst>
              </p:cNvPr>
              <p:cNvSpPr txBox="1"/>
              <p:nvPr/>
            </p:nvSpPr>
            <p:spPr>
              <a:xfrm>
                <a:off x="7039172" y="4455383"/>
                <a:ext cx="2569991" cy="559811"/>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Creador de comunica-</a:t>
                </a:r>
                <a:r>
                  <a:rPr kumimoji="0" lang="es-es" sz="1100" b="0" i="0" u="none" strike="noStrike" kern="1200" cap="none" spc="0" normalizeH="0" baseline="0" noProof="0" dirty="0" err="1">
                    <a:ln>
                      <a:noFill/>
                    </a:ln>
                    <a:solidFill>
                      <a:srgbClr val="0078D4"/>
                    </a:solidFill>
                    <a:effectLst/>
                    <a:uLnTx/>
                    <a:uFillTx/>
                    <a:latin typeface="Segoe UI Semibold"/>
                    <a:ea typeface="+mn-ea"/>
                    <a:cs typeface="Segoe UI"/>
                  </a:rPr>
                  <a:t>ciones</a:t>
                </a: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 corporativa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72" name="TextBox 71">
                <a:extLst>
                  <a:ext uri="{FF2B5EF4-FFF2-40B4-BE49-F238E27FC236}">
                    <a16:creationId xmlns:a16="http://schemas.microsoft.com/office/drawing/2014/main" id="{9E7CFE9C-C235-0DF5-CE72-8F726F782AD1}"/>
                  </a:ext>
                </a:extLst>
              </p:cNvPr>
              <p:cNvSpPr txBox="1"/>
              <p:nvPr/>
            </p:nvSpPr>
            <p:spPr>
              <a:xfrm>
                <a:off x="7262190" y="5668316"/>
                <a:ext cx="2181619" cy="39986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Crea comunicaciones alineadas con la marca</a:t>
                </a:r>
              </a:p>
            </p:txBody>
          </p:sp>
        </p:grpSp>
        <p:pic>
          <p:nvPicPr>
            <p:cNvPr id="74" name="Picture 73" descr="Avatar del Creador de comunicaciones corporativas">
              <a:extLst>
                <a:ext uri="{FF2B5EF4-FFF2-40B4-BE49-F238E27FC236}">
                  <a16:creationId xmlns:a16="http://schemas.microsoft.com/office/drawing/2014/main" id="{9BEAF61B-E54B-CF76-011D-A985A17967BC}"/>
                </a:ext>
              </a:extLst>
            </p:cNvPr>
            <p:cNvPicPr>
              <a:picLocks noChangeAspect="1"/>
            </p:cNvPicPr>
            <p:nvPr/>
          </p:nvPicPr>
          <p:blipFill>
            <a:blip r:embed="rId15"/>
            <a:stretch>
              <a:fillRect/>
            </a:stretch>
          </p:blipFill>
          <p:spPr>
            <a:xfrm>
              <a:off x="7508854" y="5711536"/>
              <a:ext cx="484440" cy="484440"/>
            </a:xfrm>
            <a:prstGeom prst="rect">
              <a:avLst/>
            </a:prstGeom>
          </p:spPr>
        </p:pic>
      </p:grpSp>
      <p:grpSp>
        <p:nvGrpSpPr>
          <p:cNvPr id="75" name="Group 74">
            <a:extLst>
              <a:ext uri="{FF2B5EF4-FFF2-40B4-BE49-F238E27FC236}">
                <a16:creationId xmlns:a16="http://schemas.microsoft.com/office/drawing/2014/main" id="{FEC5C8EA-935D-540B-089C-FCE5BA4F1344}"/>
              </a:ext>
            </a:extLst>
          </p:cNvPr>
          <p:cNvGrpSpPr/>
          <p:nvPr/>
        </p:nvGrpSpPr>
        <p:grpSpPr>
          <a:xfrm>
            <a:off x="9029700" y="2369045"/>
            <a:ext cx="1666217" cy="1313866"/>
            <a:chOff x="7262189" y="4415393"/>
            <a:chExt cx="2158060" cy="1706984"/>
          </a:xfrm>
        </p:grpSpPr>
        <p:sp>
          <p:nvSpPr>
            <p:cNvPr id="76" name="Rectangle: Rounded Corners 75">
              <a:extLst>
                <a:ext uri="{FF2B5EF4-FFF2-40B4-BE49-F238E27FC236}">
                  <a16:creationId xmlns:a16="http://schemas.microsoft.com/office/drawing/2014/main" id="{095B116C-8CB9-7307-0DAB-66356CD1CFF8}"/>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7" name="TextBox 76">
              <a:extLst>
                <a:ext uri="{FF2B5EF4-FFF2-40B4-BE49-F238E27FC236}">
                  <a16:creationId xmlns:a16="http://schemas.microsoft.com/office/drawing/2014/main" id="{1EB2C7FE-87CE-8C4D-DCBB-95E31FDD6D35}"/>
                </a:ext>
              </a:extLst>
            </p:cNvPr>
            <p:cNvSpPr txBox="1"/>
            <p:nvPr/>
          </p:nvSpPr>
          <p:spPr>
            <a:xfrm>
              <a:off x="7262189" y="4471906"/>
              <a:ext cx="2123958" cy="33988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Traductor de texto</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78" name="TextBox 77">
              <a:extLst>
                <a:ext uri="{FF2B5EF4-FFF2-40B4-BE49-F238E27FC236}">
                  <a16:creationId xmlns:a16="http://schemas.microsoft.com/office/drawing/2014/main" id="{8A0CECDC-3467-0A15-E1CC-EF8416C6C3ED}"/>
                </a:ext>
              </a:extLst>
            </p:cNvPr>
            <p:cNvSpPr txBox="1"/>
            <p:nvPr/>
          </p:nvSpPr>
          <p:spPr>
            <a:xfrm>
              <a:off x="7315648" y="5668316"/>
              <a:ext cx="2062276" cy="39986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Traduce texto de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un idioma a otro</a:t>
              </a:r>
            </a:p>
          </p:txBody>
        </p:sp>
      </p:grpSp>
      <p:pic>
        <p:nvPicPr>
          <p:cNvPr id="79" name="Picture 78" descr="Avatar del traductor de texto">
            <a:extLst>
              <a:ext uri="{FF2B5EF4-FFF2-40B4-BE49-F238E27FC236}">
                <a16:creationId xmlns:a16="http://schemas.microsoft.com/office/drawing/2014/main" id="{FED69482-B92A-6273-CE13-43D597B7FD4D}"/>
              </a:ext>
            </a:extLst>
          </p:cNvPr>
          <p:cNvPicPr>
            <a:picLocks noChangeAspect="1"/>
          </p:cNvPicPr>
          <p:nvPr/>
        </p:nvPicPr>
        <p:blipFill>
          <a:blip r:embed="rId16"/>
          <a:stretch>
            <a:fillRect/>
          </a:stretch>
        </p:blipFill>
        <p:spPr>
          <a:xfrm>
            <a:off x="9599360" y="2689132"/>
            <a:ext cx="567775" cy="567775"/>
          </a:xfrm>
          <a:prstGeom prst="rect">
            <a:avLst/>
          </a:prstGeom>
        </p:spPr>
      </p:pic>
    </p:spTree>
    <p:extLst>
      <p:ext uri="{BB962C8B-B14F-4D97-AF65-F5344CB8AC3E}">
        <p14:creationId xmlns:p14="http://schemas.microsoft.com/office/powerpoint/2010/main" val="206430510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0B7757-9D6B-142B-8982-59D666DB361E}"/>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5ECAB4ED-8A6D-4092-336D-E4EBADCE6119}"/>
              </a:ext>
            </a:extLst>
          </p:cNvPr>
          <p:cNvSpPr txBox="1">
            <a:spLocks noGrp="1"/>
          </p:cNvSpPr>
          <p:nvPr>
            <p:ph type="title"/>
          </p:nvPr>
        </p:nvSpPr>
        <p:spPr>
          <a:xfrm>
            <a:off x="588263" y="494585"/>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s-es" dirty="0"/>
              <a:t>C</a:t>
            </a:r>
            <a:r>
              <a:rPr lang="es-es" sz="3600" dirty="0"/>
              <a:t>reación de agentes mediante plantillas de agentes </a:t>
            </a:r>
            <a:endParaRPr kumimoji="0" lang="en-US" sz="3600" b="0" i="0" u="none" strike="noStrike" kern="1200" cap="none" spc="-50" normalizeH="0" baseline="0" noProof="0" dirty="0">
              <a:ln w="3175">
                <a:noFill/>
              </a:ln>
              <a:solidFill>
                <a:srgbClr val="000000"/>
              </a:solidFill>
              <a:effectLst/>
              <a:uLnTx/>
              <a:uFillTx/>
              <a:latin typeface="Segoe UI Semibold"/>
              <a:ea typeface="+mn-ea"/>
              <a:cs typeface="Segoe UI Semibold"/>
            </a:endParaRPr>
          </a:p>
        </p:txBody>
      </p:sp>
      <p:graphicFrame>
        <p:nvGraphicFramePr>
          <p:cNvPr id="41" name="Diagram 40">
            <a:extLst>
              <a:ext uri="{FF2B5EF4-FFF2-40B4-BE49-F238E27FC236}">
                <a16:creationId xmlns:a16="http://schemas.microsoft.com/office/drawing/2014/main" id="{FC1B3FFE-DD4F-7C92-7761-F74104E4C3B7}"/>
              </a:ext>
            </a:extLst>
          </p:cNvPr>
          <p:cNvGraphicFramePr/>
          <p:nvPr>
            <p:extLst>
              <p:ext uri="{D42A27DB-BD31-4B8C-83A1-F6EECF244321}">
                <p14:modId xmlns:p14="http://schemas.microsoft.com/office/powerpoint/2010/main" val="1163071819"/>
              </p:ext>
            </p:extLst>
          </p:nvPr>
        </p:nvGraphicFramePr>
        <p:xfrm>
          <a:off x="588263" y="1137424"/>
          <a:ext cx="11112412" cy="20819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E94CF77A-6F53-07B0-5076-9A13B4B6A05E}"/>
              </a:ext>
            </a:extLst>
          </p:cNvPr>
          <p:cNvPicPr>
            <a:picLocks noChangeAspect="1"/>
          </p:cNvPicPr>
          <p:nvPr/>
        </p:nvPicPr>
        <p:blipFill>
          <a:blip r:embed="rId8"/>
          <a:stretch>
            <a:fillRect/>
          </a:stretch>
        </p:blipFill>
        <p:spPr>
          <a:xfrm>
            <a:off x="170053" y="3219412"/>
            <a:ext cx="2994500" cy="3055162"/>
          </a:xfrm>
          <a:prstGeom prst="roundRect">
            <a:avLst>
              <a:gd name="adj" fmla="val 4114"/>
            </a:avLst>
          </a:prstGeom>
          <a:ln>
            <a:noFill/>
          </a:ln>
          <a:effectLst>
            <a:outerShdw blurRad="292100" dist="139700" dir="2700000" algn="tl" rotWithShape="0">
              <a:srgbClr val="333333">
                <a:alpha val="65000"/>
              </a:srgbClr>
            </a:outerShdw>
          </a:effectLst>
        </p:spPr>
      </p:pic>
      <p:sp>
        <p:nvSpPr>
          <p:cNvPr id="5" name="TextBox 4">
            <a:extLst>
              <a:ext uri="{FF2B5EF4-FFF2-40B4-BE49-F238E27FC236}">
                <a16:creationId xmlns:a16="http://schemas.microsoft.com/office/drawing/2014/main" id="{AC39A7B8-2AE6-E82D-8491-2727221A9D86}"/>
              </a:ext>
            </a:extLst>
          </p:cNvPr>
          <p:cNvSpPr txBox="1"/>
          <p:nvPr/>
        </p:nvSpPr>
        <p:spPr>
          <a:xfrm>
            <a:off x="3556850" y="3638589"/>
            <a:ext cx="2250619" cy="2154436"/>
          </a:xfrm>
          <a:prstGeom prst="rect">
            <a:avLst/>
          </a:prstGeom>
          <a:noFill/>
        </p:spPr>
        <p:txBody>
          <a:bodyPr wrap="square" lIns="0" tIns="0" rIns="0" bIns="0" rtlCol="0">
            <a:spAutoFit/>
          </a:bodyPr>
          <a:lstStyle/>
          <a:p>
            <a:pPr algn="l"/>
            <a:r>
              <a:rPr lang="es-es" sz="2000" dirty="0"/>
              <a:t>Perfecciona:</a:t>
            </a:r>
          </a:p>
          <a:p>
            <a:pPr marL="457200" indent="-457200" algn="l">
              <a:buFont typeface="+mj-lt"/>
              <a:buAutoNum type="arabicPeriod"/>
            </a:pPr>
            <a:r>
              <a:rPr lang="es-es" sz="2000" dirty="0"/>
              <a:t>Detalles</a:t>
            </a:r>
          </a:p>
          <a:p>
            <a:pPr marL="457200" indent="-457200" algn="l">
              <a:buFont typeface="+mj-lt"/>
              <a:buAutoNum type="arabicPeriod"/>
            </a:pPr>
            <a:r>
              <a:rPr lang="es-es" sz="2000" dirty="0"/>
              <a:t>Instrucciones</a:t>
            </a:r>
          </a:p>
          <a:p>
            <a:pPr marL="457200" indent="-457200" algn="l">
              <a:buFont typeface="+mj-lt"/>
              <a:buAutoNum type="arabicPeriod"/>
            </a:pPr>
            <a:r>
              <a:rPr lang="es-es" sz="2000" dirty="0"/>
              <a:t>Conocimientos</a:t>
            </a:r>
          </a:p>
          <a:p>
            <a:pPr marL="457200" indent="-457200" algn="l">
              <a:buFont typeface="+mj-lt"/>
              <a:buAutoNum type="arabicPeriod"/>
            </a:pPr>
            <a:r>
              <a:rPr lang="es-es" sz="2000" dirty="0"/>
              <a:t>Capacidades</a:t>
            </a:r>
          </a:p>
          <a:p>
            <a:pPr marL="457200" indent="-457200" algn="l">
              <a:buFont typeface="+mj-lt"/>
              <a:buAutoNum type="arabicPeriod"/>
            </a:pPr>
            <a:r>
              <a:rPr lang="es-es" sz="2000" dirty="0"/>
              <a:t>Indicaciones sugeridas</a:t>
            </a:r>
          </a:p>
        </p:txBody>
      </p:sp>
      <p:pic>
        <p:nvPicPr>
          <p:cNvPr id="7" name="Picture 6">
            <a:extLst>
              <a:ext uri="{FF2B5EF4-FFF2-40B4-BE49-F238E27FC236}">
                <a16:creationId xmlns:a16="http://schemas.microsoft.com/office/drawing/2014/main" id="{457905E2-01D6-393B-D54A-F913952A94BE}"/>
              </a:ext>
            </a:extLst>
          </p:cNvPr>
          <p:cNvPicPr>
            <a:picLocks noChangeAspect="1"/>
          </p:cNvPicPr>
          <p:nvPr/>
        </p:nvPicPr>
        <p:blipFill>
          <a:blip r:embed="rId9"/>
          <a:stretch>
            <a:fillRect/>
          </a:stretch>
        </p:blipFill>
        <p:spPr>
          <a:xfrm>
            <a:off x="6096001" y="3219412"/>
            <a:ext cx="2771212" cy="3055162"/>
          </a:xfrm>
          <a:prstGeom prst="roundRect">
            <a:avLst>
              <a:gd name="adj" fmla="val 4114"/>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FDEC98CB-70D0-B6D2-B016-A9A2E3ED029A}"/>
              </a:ext>
            </a:extLst>
          </p:cNvPr>
          <p:cNvPicPr>
            <a:picLocks noChangeAspect="1"/>
          </p:cNvPicPr>
          <p:nvPr/>
        </p:nvPicPr>
        <p:blipFill>
          <a:blip r:embed="rId10"/>
          <a:srcRect l="1148" t="931" r="1874" b="2503"/>
          <a:stretch>
            <a:fillRect/>
          </a:stretch>
        </p:blipFill>
        <p:spPr>
          <a:xfrm>
            <a:off x="9155745" y="3696452"/>
            <a:ext cx="2771212" cy="2096573"/>
          </a:xfrm>
          <a:prstGeom prst="roundRect">
            <a:avLst>
              <a:gd name="adj" fmla="val 4114"/>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4491248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DCEDB8-754C-8F21-F880-154B600C04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FDDAB4-B1A3-8D19-2F2C-16576C48B41D}"/>
              </a:ext>
            </a:extLst>
          </p:cNvPr>
          <p:cNvSpPr>
            <a:spLocks noGrp="1"/>
          </p:cNvSpPr>
          <p:nvPr>
            <p:ph type="title"/>
          </p:nvPr>
        </p:nvSpPr>
        <p:spPr>
          <a:xfrm>
            <a:off x="461527" y="400655"/>
            <a:ext cx="6514039" cy="1036033"/>
          </a:xfrm>
        </p:spPr>
        <p:txBody>
          <a:bodyPr>
            <a:noAutofit/>
          </a:bodyPr>
          <a:lstStyle/>
          <a:p>
            <a:r>
              <a:rPr lang="es-es" sz="3000" dirty="0">
                <a:solidFill>
                  <a:schemeClr val="tx1"/>
                </a:solidFill>
              </a:rPr>
              <a:t>Opciones y valores de configuración </a:t>
            </a:r>
            <a:br>
              <a:rPr lang="es-es" sz="3000" dirty="0">
                <a:solidFill>
                  <a:schemeClr val="tx1"/>
                </a:solidFill>
              </a:rPr>
            </a:br>
            <a:r>
              <a:rPr lang="es-es" sz="3000" dirty="0">
                <a:solidFill>
                  <a:schemeClr val="tx1"/>
                </a:solidFill>
              </a:rPr>
              <a:t>en Generador de agentes</a:t>
            </a:r>
            <a:endParaRPr lang="en-US" sz="3000" dirty="0">
              <a:solidFill>
                <a:schemeClr val="tx1"/>
              </a:solidFill>
            </a:endParaRPr>
          </a:p>
        </p:txBody>
      </p:sp>
      <p:sp>
        <p:nvSpPr>
          <p:cNvPr id="5" name="TextBox 4">
            <a:extLst>
              <a:ext uri="{FF2B5EF4-FFF2-40B4-BE49-F238E27FC236}">
                <a16:creationId xmlns:a16="http://schemas.microsoft.com/office/drawing/2014/main" id="{F4D2EA84-D08A-8881-E75A-8944392EBAC8}"/>
              </a:ext>
            </a:extLst>
          </p:cNvPr>
          <p:cNvSpPr txBox="1"/>
          <p:nvPr/>
        </p:nvSpPr>
        <p:spPr>
          <a:xfrm>
            <a:off x="461528" y="1570305"/>
            <a:ext cx="6125703" cy="5136021"/>
          </a:xfrm>
          <a:prstGeom prst="rect">
            <a:avLst/>
          </a:prstGeom>
          <a:noFill/>
        </p:spPr>
        <p:txBody>
          <a:bodyPr wrap="square">
            <a:spAutoFit/>
          </a:bodyPr>
          <a:lstStyle/>
          <a:p>
            <a:pPr marL="0" marR="0" lvl="0" indent="0" algn="l" defTabSz="932472" rtl="0" eaLnBrk="1" fontAlgn="auto" latinLnBrk="0" hangingPunct="1">
              <a:lnSpc>
                <a:spcPct val="95000"/>
              </a:lnSpc>
              <a:spcBef>
                <a:spcPct val="0"/>
              </a:spcBef>
              <a:spcAft>
                <a:spcPct val="0"/>
              </a:spcAft>
              <a:buClrTx/>
              <a:buSzTx/>
              <a:buFontTx/>
              <a:buNone/>
              <a:tabLst/>
              <a:defRPr/>
            </a:pPr>
            <a:r>
              <a:rPr lang="es-es" sz="1900" b="1" dirty="0">
                <a:solidFill>
                  <a:srgbClr val="1E1E1E"/>
                </a:solidFill>
                <a:latin typeface="+mj-lt"/>
                <a:cs typeface="Segoe Sans Display" pitchFamily="2" charset="0"/>
              </a:rPr>
              <a:t>Descripción:</a:t>
            </a:r>
            <a:r>
              <a:rPr kumimoji="0" lang="es-es" sz="1900" b="1" i="0" u="none" strike="noStrike" kern="1200" cap="none" spc="0" normalizeH="0" baseline="0" noProof="0" dirty="0">
                <a:ln>
                  <a:noFill/>
                </a:ln>
                <a:solidFill>
                  <a:srgbClr val="1E1E1E"/>
                </a:solidFill>
                <a:effectLst/>
                <a:uLnTx/>
                <a:uFillTx/>
                <a:latin typeface="Segoe UI"/>
                <a:ea typeface="+mn-ea"/>
                <a:cs typeface="Segoe Sans Display" pitchFamily="2" charset="0"/>
              </a:rPr>
              <a:t> </a:t>
            </a:r>
            <a:r>
              <a:rPr kumimoji="0" lang="es-es" sz="1900" i="0" u="none" strike="noStrike" kern="1200" cap="none" spc="0" normalizeH="0" baseline="0" noProof="0" dirty="0">
                <a:ln>
                  <a:noFill/>
                </a:ln>
                <a:solidFill>
                  <a:srgbClr val="1E1E1E"/>
                </a:solidFill>
                <a:effectLst/>
                <a:uLnTx/>
                <a:uFillTx/>
                <a:latin typeface="Segoe UI"/>
                <a:ea typeface="+mn-ea"/>
                <a:cs typeface="Segoe Sans Display" pitchFamily="2" charset="0"/>
              </a:rPr>
              <a:t>describe el propósito de tu agente</a:t>
            </a:r>
          </a:p>
          <a:p>
            <a:pPr marL="0" marR="0" lvl="0" indent="0" algn="l" defTabSz="932472" rtl="0" eaLnBrk="1" fontAlgn="auto" latinLnBrk="0" hangingPunct="1">
              <a:lnSpc>
                <a:spcPct val="95000"/>
              </a:lnSpc>
              <a:spcBef>
                <a:spcPct val="0"/>
              </a:spcBef>
              <a:spcAft>
                <a:spcPct val="0"/>
              </a:spcAft>
              <a:buClrTx/>
              <a:buSzTx/>
              <a:buFontTx/>
              <a:buNone/>
              <a:tabLst/>
              <a:defRPr/>
            </a:pPr>
            <a:endParaRPr lang="en-US" sz="1400" b="1" dirty="0">
              <a:solidFill>
                <a:srgbClr val="1E1E1E"/>
              </a:solidFill>
              <a:latin typeface="Segoe UI"/>
              <a:cs typeface="Segoe Sans Display" pitchFamily="2" charset="0"/>
            </a:endParaRPr>
          </a:p>
          <a:p>
            <a:pPr marL="0" marR="0" lvl="0" indent="0" algn="l" defTabSz="932472" rtl="0" eaLnBrk="1" fontAlgn="auto" latinLnBrk="0" hangingPunct="1">
              <a:lnSpc>
                <a:spcPct val="95000"/>
              </a:lnSpc>
              <a:spcBef>
                <a:spcPct val="0"/>
              </a:spcBef>
              <a:spcAft>
                <a:spcPct val="0"/>
              </a:spcAft>
              <a:buClrTx/>
              <a:buSzTx/>
              <a:buFontTx/>
              <a:buNone/>
              <a:tabLst/>
              <a:defRPr/>
            </a:pPr>
            <a:r>
              <a:rPr lang="es-es" sz="1900" b="1" dirty="0">
                <a:solidFill>
                  <a:srgbClr val="1E1E1E"/>
                </a:solidFill>
                <a:latin typeface="+mj-lt"/>
                <a:cs typeface="Segoe Sans Display" pitchFamily="2" charset="0"/>
              </a:rPr>
              <a:t>Instrucciones:</a:t>
            </a:r>
            <a:r>
              <a:rPr kumimoji="0" lang="es-es" sz="1900" b="1" i="0" u="none" strike="noStrike" kern="1200" cap="none" spc="0" normalizeH="0" baseline="0" noProof="0" dirty="0">
                <a:ln>
                  <a:noFill/>
                </a:ln>
                <a:solidFill>
                  <a:srgbClr val="1E1E1E"/>
                </a:solidFill>
                <a:effectLst/>
                <a:uLnTx/>
                <a:uFillTx/>
                <a:latin typeface="Segoe UI"/>
                <a:ea typeface="+mn-ea"/>
                <a:cs typeface="Segoe Sans Display" pitchFamily="2" charset="0"/>
              </a:rPr>
              <a:t> </a:t>
            </a:r>
            <a:r>
              <a:rPr kumimoji="0" lang="es-es" sz="1900" i="0" u="none" strike="noStrike" kern="1200" cap="none" spc="0" normalizeH="0" baseline="0" noProof="0" dirty="0">
                <a:ln>
                  <a:noFill/>
                </a:ln>
                <a:solidFill>
                  <a:srgbClr val="1E1E1E"/>
                </a:solidFill>
                <a:effectLst/>
                <a:uLnTx/>
                <a:uFillTx/>
                <a:latin typeface="Segoe UI"/>
                <a:ea typeface="+mn-ea"/>
                <a:cs typeface="Segoe Sans Display" pitchFamily="2" charset="0"/>
              </a:rPr>
              <a:t>define cómo debe operar el agente para alcanzar sus objetivos específicos</a:t>
            </a:r>
          </a:p>
          <a:p>
            <a:pPr marL="0" marR="0" lvl="0" indent="0" algn="l" defTabSz="932472" rtl="0" eaLnBrk="1" fontAlgn="auto" latinLnBrk="0" hangingPunct="1">
              <a:lnSpc>
                <a:spcPct val="95000"/>
              </a:lnSpc>
              <a:spcBef>
                <a:spcPct val="0"/>
              </a:spcBef>
              <a:spcAft>
                <a:spcPct val="0"/>
              </a:spcAft>
              <a:buClrTx/>
              <a:buSzTx/>
              <a:buFontTx/>
              <a:buNone/>
              <a:tabLst/>
              <a:defRPr/>
            </a:pPr>
            <a:endParaRPr lang="en-US" sz="1400" b="1" dirty="0">
              <a:solidFill>
                <a:srgbClr val="1E1E1E"/>
              </a:solidFill>
              <a:latin typeface="Segoe UI"/>
              <a:cs typeface="Segoe Sans Display" pitchFamily="2" charset="0"/>
            </a:endParaRPr>
          </a:p>
          <a:p>
            <a:pPr marL="0" marR="0" lvl="0" indent="0" algn="l" defTabSz="932472" rtl="0" eaLnBrk="1" fontAlgn="auto" latinLnBrk="0" hangingPunct="1">
              <a:lnSpc>
                <a:spcPct val="95000"/>
              </a:lnSpc>
              <a:spcBef>
                <a:spcPct val="0"/>
              </a:spcBef>
              <a:spcAft>
                <a:spcPct val="0"/>
              </a:spcAft>
              <a:buClrTx/>
              <a:buSzTx/>
              <a:buFontTx/>
              <a:buNone/>
              <a:tabLst/>
              <a:defRPr/>
            </a:pPr>
            <a:r>
              <a:rPr lang="es-es" sz="1900" b="1" dirty="0">
                <a:solidFill>
                  <a:srgbClr val="1E1E1E"/>
                </a:solidFill>
                <a:latin typeface="+mj-lt"/>
                <a:cs typeface="Segoe Sans Display" pitchFamily="2" charset="0"/>
              </a:rPr>
              <a:t>Conocimientos:</a:t>
            </a:r>
            <a:r>
              <a:rPr kumimoji="0" lang="es-es" sz="1900" b="1" i="0" u="none" strike="noStrike" kern="1200" cap="none" spc="0" normalizeH="0" baseline="0" noProof="0" dirty="0">
                <a:ln>
                  <a:noFill/>
                </a:ln>
                <a:solidFill>
                  <a:srgbClr val="1E1E1E"/>
                </a:solidFill>
                <a:effectLst/>
                <a:uLnTx/>
                <a:uFillTx/>
                <a:latin typeface="Segoe UI"/>
                <a:ea typeface="+mn-ea"/>
                <a:cs typeface="Segoe Sans Display" pitchFamily="2" charset="0"/>
              </a:rPr>
              <a:t> </a:t>
            </a:r>
            <a:r>
              <a:rPr kumimoji="0" lang="es-es" sz="1900" i="0" u="none" strike="noStrike" kern="1200" cap="none" spc="0" normalizeH="0" baseline="0" noProof="0" dirty="0">
                <a:ln>
                  <a:noFill/>
                </a:ln>
                <a:solidFill>
                  <a:srgbClr val="1E1E1E"/>
                </a:solidFill>
                <a:effectLst/>
                <a:uLnTx/>
                <a:uFillTx/>
                <a:latin typeface="Segoe UI"/>
                <a:ea typeface="+mn-ea"/>
                <a:cs typeface="Segoe Sans Display" pitchFamily="2" charset="0"/>
              </a:rPr>
              <a:t>datos o contenido que utiliza </a:t>
            </a:r>
            <a:br>
              <a:rPr kumimoji="0" lang="es-es" sz="1900" i="0" u="none" strike="noStrike" kern="1200" cap="none" spc="0" normalizeH="0" baseline="0" noProof="0" dirty="0">
                <a:ln>
                  <a:noFill/>
                </a:ln>
                <a:solidFill>
                  <a:srgbClr val="1E1E1E"/>
                </a:solidFill>
                <a:effectLst/>
                <a:uLnTx/>
                <a:uFillTx/>
                <a:latin typeface="Segoe UI"/>
                <a:ea typeface="+mn-ea"/>
                <a:cs typeface="Segoe Sans Display" pitchFamily="2" charset="0"/>
              </a:rPr>
            </a:br>
            <a:r>
              <a:rPr kumimoji="0" lang="es-es" sz="1900" i="0" u="none" strike="noStrike" kern="1200" cap="none" spc="0" normalizeH="0" baseline="0" noProof="0" dirty="0">
                <a:ln>
                  <a:noFill/>
                </a:ln>
                <a:solidFill>
                  <a:srgbClr val="1E1E1E"/>
                </a:solidFill>
                <a:effectLst/>
                <a:uLnTx/>
                <a:uFillTx/>
                <a:latin typeface="Segoe UI"/>
                <a:ea typeface="+mn-ea"/>
                <a:cs typeface="Segoe Sans Display" pitchFamily="2" charset="0"/>
              </a:rPr>
              <a:t>el agente para proporcionar respuestas basadas </a:t>
            </a:r>
            <a:br>
              <a:rPr kumimoji="0" lang="es-es" sz="1900" i="0" u="none" strike="noStrike" kern="1200" cap="none" spc="0" normalizeH="0" baseline="0" noProof="0" dirty="0">
                <a:ln>
                  <a:noFill/>
                </a:ln>
                <a:solidFill>
                  <a:srgbClr val="1E1E1E"/>
                </a:solidFill>
                <a:effectLst/>
                <a:uLnTx/>
                <a:uFillTx/>
                <a:latin typeface="Segoe UI"/>
                <a:ea typeface="+mn-ea"/>
                <a:cs typeface="Segoe Sans Display" pitchFamily="2" charset="0"/>
              </a:rPr>
            </a:br>
            <a:r>
              <a:rPr kumimoji="0" lang="es-es" sz="1900" i="0" u="none" strike="noStrike" kern="1200" cap="none" spc="0" normalizeH="0" baseline="0" noProof="0" dirty="0">
                <a:ln>
                  <a:noFill/>
                </a:ln>
                <a:solidFill>
                  <a:srgbClr val="1E1E1E"/>
                </a:solidFill>
                <a:effectLst/>
                <a:uLnTx/>
                <a:uFillTx/>
                <a:latin typeface="Segoe UI"/>
                <a:ea typeface="+mn-ea"/>
                <a:cs typeface="Segoe Sans Display" pitchFamily="2" charset="0"/>
              </a:rPr>
              <a:t>en el contexto de la solicitud del usuario</a:t>
            </a:r>
          </a:p>
          <a:p>
            <a:pPr marL="0" marR="0" lvl="0" indent="0" algn="l" defTabSz="932472" rtl="0" eaLnBrk="1" fontAlgn="auto" latinLnBrk="0" hangingPunct="1">
              <a:lnSpc>
                <a:spcPct val="95000"/>
              </a:lnSpc>
              <a:spcBef>
                <a:spcPct val="0"/>
              </a:spcBef>
              <a:spcAft>
                <a:spcPct val="0"/>
              </a:spcAft>
              <a:buClrTx/>
              <a:buSzTx/>
              <a:buFontTx/>
              <a:buNone/>
              <a:tabLst/>
              <a:defRPr/>
            </a:pPr>
            <a:endParaRPr lang="en-US" sz="1400" dirty="0">
              <a:solidFill>
                <a:srgbClr val="1E1E1E"/>
              </a:solidFill>
              <a:latin typeface="Segoe UI"/>
              <a:cs typeface="Segoe Sans Display" pitchFamily="2" charset="0"/>
            </a:endParaRPr>
          </a:p>
          <a:p>
            <a:pPr marL="0" marR="0" lvl="0" indent="0" algn="l" defTabSz="932472" rtl="0" eaLnBrk="1" fontAlgn="auto" latinLnBrk="0" hangingPunct="1">
              <a:lnSpc>
                <a:spcPct val="95000"/>
              </a:lnSpc>
              <a:spcBef>
                <a:spcPct val="0"/>
              </a:spcBef>
              <a:spcAft>
                <a:spcPct val="0"/>
              </a:spcAft>
              <a:buClrTx/>
              <a:buSzTx/>
              <a:buFontTx/>
              <a:buNone/>
              <a:tabLst/>
              <a:defRPr/>
            </a:pPr>
            <a:r>
              <a:rPr lang="es-es" sz="1900" b="1" dirty="0">
                <a:solidFill>
                  <a:srgbClr val="1E1E1E"/>
                </a:solidFill>
                <a:latin typeface="+mj-lt"/>
                <a:cs typeface="Segoe Sans Display" pitchFamily="2" charset="0"/>
              </a:rPr>
              <a:t>Capacidades:</a:t>
            </a:r>
          </a:p>
          <a:p>
            <a:pPr marL="342900" marR="0" lvl="0" indent="-342900" algn="l" defTabSz="932472" rtl="0" eaLnBrk="1" fontAlgn="auto" latinLnBrk="0" hangingPunct="1">
              <a:lnSpc>
                <a:spcPct val="95000"/>
              </a:lnSpc>
              <a:spcBef>
                <a:spcPct val="0"/>
              </a:spcBef>
              <a:spcAft>
                <a:spcPct val="0"/>
              </a:spcAft>
              <a:buClrTx/>
              <a:buSzTx/>
              <a:buFont typeface="Arial" panose="020B0604020202020204" pitchFamily="34" charset="0"/>
              <a:buChar char="•"/>
              <a:tabLst/>
              <a:defRPr/>
            </a:pPr>
            <a:r>
              <a:rPr lang="es-es" sz="1900" dirty="0">
                <a:solidFill>
                  <a:srgbClr val="1E1E1E"/>
                </a:solidFill>
                <a:latin typeface="+mj-lt"/>
                <a:cs typeface="Segoe Sans Display" pitchFamily="2" charset="0"/>
              </a:rPr>
              <a:t>Intérprete de código: </a:t>
            </a:r>
            <a:r>
              <a:rPr kumimoji="0" lang="es-es" sz="1900" i="0" u="none" strike="noStrike" kern="1200" cap="none" spc="0" normalizeH="0" baseline="0" noProof="0" dirty="0">
                <a:ln>
                  <a:noFill/>
                </a:ln>
                <a:solidFill>
                  <a:srgbClr val="1E1E1E"/>
                </a:solidFill>
                <a:effectLst/>
                <a:uLnTx/>
                <a:uFillTx/>
                <a:latin typeface="Segoe UI"/>
                <a:ea typeface="+mn-ea"/>
                <a:cs typeface="Segoe Sans Display" pitchFamily="2" charset="0"/>
              </a:rPr>
              <a:t>convierte lenguaje natural </a:t>
            </a:r>
            <a:br>
              <a:rPr kumimoji="0" lang="es-es" sz="1900" i="0" u="none" strike="noStrike" kern="1200" cap="none" spc="0" normalizeH="0" baseline="0" noProof="0" dirty="0">
                <a:ln>
                  <a:noFill/>
                </a:ln>
                <a:solidFill>
                  <a:srgbClr val="1E1E1E"/>
                </a:solidFill>
                <a:effectLst/>
                <a:uLnTx/>
                <a:uFillTx/>
                <a:latin typeface="Segoe UI"/>
                <a:ea typeface="+mn-ea"/>
                <a:cs typeface="Segoe Sans Display" pitchFamily="2" charset="0"/>
              </a:rPr>
            </a:br>
            <a:r>
              <a:rPr kumimoji="0" lang="es-es" sz="1900" i="0" u="none" strike="noStrike" kern="1200" cap="none" spc="0" normalizeH="0" baseline="0" noProof="0" dirty="0">
                <a:ln>
                  <a:noFill/>
                </a:ln>
                <a:solidFill>
                  <a:srgbClr val="1E1E1E"/>
                </a:solidFill>
                <a:effectLst/>
                <a:uLnTx/>
                <a:uFillTx/>
                <a:latin typeface="Segoe UI"/>
                <a:ea typeface="+mn-ea"/>
                <a:cs typeface="Segoe Sans Display" pitchFamily="2" charset="0"/>
              </a:rPr>
              <a:t>en código para crear visualizaciones, resolver problemas matemáticos y analizar datos.</a:t>
            </a:r>
          </a:p>
          <a:p>
            <a:pPr marL="342900" marR="0" lvl="0" indent="-342900" algn="l" defTabSz="932472" rtl="0" eaLnBrk="1" fontAlgn="auto" latinLnBrk="0" hangingPunct="1">
              <a:lnSpc>
                <a:spcPct val="95000"/>
              </a:lnSpc>
              <a:spcBef>
                <a:spcPct val="0"/>
              </a:spcBef>
              <a:spcAft>
                <a:spcPct val="0"/>
              </a:spcAft>
              <a:buClrTx/>
              <a:buSzTx/>
              <a:buFont typeface="Arial" panose="020B0604020202020204" pitchFamily="34" charset="0"/>
              <a:buChar char="•"/>
              <a:tabLst/>
              <a:defRPr/>
            </a:pPr>
            <a:r>
              <a:rPr lang="es-es" sz="1900" dirty="0">
                <a:solidFill>
                  <a:srgbClr val="1E1E1E"/>
                </a:solidFill>
                <a:latin typeface="+mj-lt"/>
                <a:cs typeface="Segoe Sans Display" pitchFamily="2" charset="0"/>
              </a:rPr>
              <a:t>Generación de imágenes: </a:t>
            </a:r>
            <a:r>
              <a:rPr lang="es-es" sz="1900" dirty="0">
                <a:solidFill>
                  <a:srgbClr val="1E1E1E"/>
                </a:solidFill>
                <a:latin typeface="Segoe UI"/>
                <a:cs typeface="Segoe Sans Display" pitchFamily="2" charset="0"/>
              </a:rPr>
              <a:t>crea materiales </a:t>
            </a:r>
            <a:br>
              <a:rPr lang="es-es" sz="1900" dirty="0">
                <a:solidFill>
                  <a:srgbClr val="1E1E1E"/>
                </a:solidFill>
                <a:latin typeface="Segoe UI"/>
                <a:cs typeface="Segoe Sans Display" pitchFamily="2" charset="0"/>
              </a:rPr>
            </a:br>
            <a:r>
              <a:rPr lang="es-es" sz="1900" dirty="0">
                <a:solidFill>
                  <a:srgbClr val="1E1E1E"/>
                </a:solidFill>
                <a:latin typeface="Segoe UI"/>
                <a:cs typeface="Segoe Sans Display" pitchFamily="2" charset="0"/>
              </a:rPr>
              <a:t>visuales (como imágenes y arte) en respuesta </a:t>
            </a:r>
            <a:br>
              <a:rPr lang="es-es" sz="1900" dirty="0">
                <a:solidFill>
                  <a:srgbClr val="1E1E1E"/>
                </a:solidFill>
                <a:latin typeface="Segoe UI"/>
                <a:cs typeface="Segoe Sans Display" pitchFamily="2" charset="0"/>
              </a:rPr>
            </a:br>
            <a:r>
              <a:rPr lang="es-es" sz="1900" dirty="0">
                <a:solidFill>
                  <a:srgbClr val="1E1E1E"/>
                </a:solidFill>
                <a:latin typeface="Segoe UI"/>
                <a:cs typeface="Segoe Sans Display" pitchFamily="2" charset="0"/>
              </a:rPr>
              <a:t>a las indicaciones del usuario.</a:t>
            </a:r>
            <a:endParaRPr kumimoji="0" lang="en-US" sz="1900" i="0" u="none" strike="noStrike" kern="1200" cap="none" spc="0" normalizeH="0" baseline="0" noProof="0" dirty="0">
              <a:ln>
                <a:noFill/>
              </a:ln>
              <a:solidFill>
                <a:srgbClr val="1E1E1E"/>
              </a:solidFill>
              <a:effectLst/>
              <a:uLnTx/>
              <a:uFillTx/>
              <a:latin typeface="Segoe UI"/>
              <a:ea typeface="+mn-ea"/>
              <a:cs typeface="Segoe Sans Display" pitchFamily="2" charset="0"/>
            </a:endParaRPr>
          </a:p>
          <a:p>
            <a:pPr marL="0" marR="0" lvl="0" indent="0" algn="l" defTabSz="932472" rtl="0" eaLnBrk="1" fontAlgn="auto" latinLnBrk="0" hangingPunct="1">
              <a:lnSpc>
                <a:spcPct val="95000"/>
              </a:lnSpc>
              <a:spcBef>
                <a:spcPct val="0"/>
              </a:spcBef>
              <a:spcAft>
                <a:spcPct val="0"/>
              </a:spcAft>
              <a:buClrTx/>
              <a:buSzTx/>
              <a:buFontTx/>
              <a:buNone/>
              <a:tabLst/>
              <a:defRPr/>
            </a:pPr>
            <a:endParaRPr lang="en-US" sz="1400" dirty="0">
              <a:solidFill>
                <a:srgbClr val="1E1E1E"/>
              </a:solidFill>
              <a:latin typeface="Segoe UI"/>
              <a:cs typeface="Segoe Sans Display" pitchFamily="2" charset="0"/>
            </a:endParaRPr>
          </a:p>
          <a:p>
            <a:pPr marL="0" marR="0" lvl="0" indent="0" algn="l" defTabSz="932472" rtl="0" eaLnBrk="1" fontAlgn="auto" latinLnBrk="0" hangingPunct="1">
              <a:lnSpc>
                <a:spcPct val="95000"/>
              </a:lnSpc>
              <a:spcBef>
                <a:spcPct val="0"/>
              </a:spcBef>
              <a:spcAft>
                <a:spcPct val="0"/>
              </a:spcAft>
              <a:buClrTx/>
              <a:buSzTx/>
              <a:buFontTx/>
              <a:buNone/>
              <a:tabLst/>
              <a:defRPr/>
            </a:pPr>
            <a:r>
              <a:rPr kumimoji="0" lang="es-es" sz="1900" b="1" i="0" u="none" strike="noStrike" kern="1200" cap="none" spc="0" normalizeH="0" baseline="0" noProof="0" dirty="0">
                <a:ln>
                  <a:noFill/>
                </a:ln>
                <a:solidFill>
                  <a:srgbClr val="1E1E1E"/>
                </a:solidFill>
                <a:effectLst/>
                <a:uLnTx/>
                <a:uFillTx/>
                <a:latin typeface="+mj-lt"/>
                <a:ea typeface="+mn-ea"/>
                <a:cs typeface="Segoe Sans Display" pitchFamily="2" charset="0"/>
              </a:rPr>
              <a:t>Indicaciones sugeridas: </a:t>
            </a:r>
            <a:r>
              <a:rPr kumimoji="0" lang="es-es" sz="1900" i="0" u="none" strike="noStrike" kern="1200" cap="none" spc="0" normalizeH="0" baseline="0" noProof="0" dirty="0">
                <a:ln>
                  <a:noFill/>
                </a:ln>
                <a:solidFill>
                  <a:srgbClr val="1E1E1E"/>
                </a:solidFill>
                <a:effectLst/>
                <a:uLnTx/>
                <a:uFillTx/>
                <a:latin typeface="Segoe UI"/>
                <a:ea typeface="+mn-ea"/>
                <a:cs typeface="Segoe Sans Display" pitchFamily="2" charset="0"/>
              </a:rPr>
              <a:t>sugiere formas de iniciar conversaciones con el agente</a:t>
            </a:r>
          </a:p>
        </p:txBody>
      </p:sp>
      <p:pic>
        <p:nvPicPr>
          <p:cNvPr id="8" name="Picture 7">
            <a:extLst>
              <a:ext uri="{FF2B5EF4-FFF2-40B4-BE49-F238E27FC236}">
                <a16:creationId xmlns:a16="http://schemas.microsoft.com/office/drawing/2014/main" id="{1632C8DC-1BD8-2592-0175-8A889A17A222}"/>
              </a:ext>
            </a:extLst>
          </p:cNvPr>
          <p:cNvPicPr>
            <a:picLocks noChangeAspect="1"/>
          </p:cNvPicPr>
          <p:nvPr/>
        </p:nvPicPr>
        <p:blipFill>
          <a:blip r:embed="rId3"/>
          <a:srcRect t="15266" b="11707"/>
          <a:stretch>
            <a:fillRect/>
          </a:stretch>
        </p:blipFill>
        <p:spPr>
          <a:xfrm>
            <a:off x="7140757" y="34608"/>
            <a:ext cx="5043109" cy="2058352"/>
          </a:xfrm>
          <a:prstGeom prst="roundRect">
            <a:avLst>
              <a:gd name="adj" fmla="val 9357"/>
            </a:avLst>
          </a:prstGeom>
          <a:ln w="28575">
            <a:solidFill>
              <a:schemeClr val="bg1"/>
            </a:solidFill>
          </a:ln>
          <a:effectLst>
            <a:outerShdw blurRad="63500" sx="102000" sy="102000" algn="ctr" rotWithShape="0">
              <a:prstClr val="black">
                <a:alpha val="40000"/>
              </a:prstClr>
            </a:outerShdw>
          </a:effectLst>
        </p:spPr>
      </p:pic>
      <p:pic>
        <p:nvPicPr>
          <p:cNvPr id="10" name="Picture 9">
            <a:extLst>
              <a:ext uri="{FF2B5EF4-FFF2-40B4-BE49-F238E27FC236}">
                <a16:creationId xmlns:a16="http://schemas.microsoft.com/office/drawing/2014/main" id="{8582FA99-BC7E-15C3-8CBE-F629349F8503}"/>
              </a:ext>
            </a:extLst>
          </p:cNvPr>
          <p:cNvPicPr>
            <a:picLocks noChangeAspect="1"/>
          </p:cNvPicPr>
          <p:nvPr/>
        </p:nvPicPr>
        <p:blipFill>
          <a:blip r:embed="rId4"/>
          <a:srcRect l="1667" t="9561" r="-1" b="38662"/>
          <a:stretch>
            <a:fillRect/>
          </a:stretch>
        </p:blipFill>
        <p:spPr>
          <a:xfrm>
            <a:off x="6839815" y="1701754"/>
            <a:ext cx="5040070" cy="2756611"/>
          </a:xfrm>
          <a:prstGeom prst="roundRect">
            <a:avLst>
              <a:gd name="adj" fmla="val 9357"/>
            </a:avLst>
          </a:prstGeom>
          <a:ln w="28575">
            <a:solidFill>
              <a:schemeClr val="bg1"/>
            </a:solidFill>
          </a:ln>
          <a:effectLst>
            <a:outerShdw blurRad="63500" sx="102000" sy="102000" algn="ctr" rotWithShape="0">
              <a:prstClr val="black">
                <a:alpha val="40000"/>
              </a:prstClr>
            </a:outerShdw>
          </a:effectLst>
        </p:spPr>
      </p:pic>
      <p:pic>
        <p:nvPicPr>
          <p:cNvPr id="12" name="Picture 11">
            <a:extLst>
              <a:ext uri="{FF2B5EF4-FFF2-40B4-BE49-F238E27FC236}">
                <a16:creationId xmlns:a16="http://schemas.microsoft.com/office/drawing/2014/main" id="{7DBCC252-17F5-48BC-7FE3-28CF215E0B7D}"/>
              </a:ext>
            </a:extLst>
          </p:cNvPr>
          <p:cNvPicPr>
            <a:picLocks noChangeAspect="1"/>
          </p:cNvPicPr>
          <p:nvPr/>
        </p:nvPicPr>
        <p:blipFill>
          <a:blip r:embed="rId5"/>
          <a:stretch>
            <a:fillRect/>
          </a:stretch>
        </p:blipFill>
        <p:spPr>
          <a:xfrm>
            <a:off x="7140757" y="4067158"/>
            <a:ext cx="5043109" cy="2642913"/>
          </a:xfrm>
          <a:prstGeom prst="roundRect">
            <a:avLst>
              <a:gd name="adj" fmla="val 9357"/>
            </a:avLst>
          </a:prstGeom>
          <a:ln w="28575">
            <a:solidFill>
              <a:schemeClr val="bg1"/>
            </a:solid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4966677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19E8B-9529-DCDC-9CA9-A7F5788B6A24}"/>
            </a:ext>
          </a:extLst>
        </p:cNvPr>
        <p:cNvGrpSpPr/>
        <p:nvPr/>
      </p:nvGrpSpPr>
      <p:grpSpPr>
        <a:xfrm>
          <a:off x="0" y="0"/>
          <a:ext cx="0" cy="0"/>
          <a:chOff x="0" y="0"/>
          <a:chExt cx="0" cy="0"/>
        </a:xfrm>
      </p:grpSpPr>
      <p:sp>
        <p:nvSpPr>
          <p:cNvPr id="32" name="TextBox 31">
            <a:extLst>
              <a:ext uri="{FF2B5EF4-FFF2-40B4-BE49-F238E27FC236}">
                <a16:creationId xmlns:a16="http://schemas.microsoft.com/office/drawing/2014/main" id="{C313DBBB-B571-DD6F-30C4-FCA867AEA5C8}"/>
              </a:ext>
              <a:ext uri="{C183D7F6-B498-43B3-948B-1728B52AA6E4}">
                <adec:decorative xmlns:adec="http://schemas.microsoft.com/office/drawing/2017/decorative" val="1"/>
              </a:ext>
            </a:extLst>
          </p:cNvPr>
          <p:cNvSpPr txBox="1">
            <a:spLocks/>
          </p:cNvSpPr>
          <p:nvPr/>
        </p:nvSpPr>
        <p:spPr>
          <a:xfrm>
            <a:off x="5021521" y="1391349"/>
            <a:ext cx="6585262" cy="4267028"/>
          </a:xfrm>
          <a:prstGeom prst="roundRect">
            <a:avLst>
              <a:gd name="adj" fmla="val 3190"/>
            </a:avLst>
          </a:prstGeom>
          <a:solidFill>
            <a:srgbClr val="F7F6FE"/>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defPPr>
              <a:defRPr lang="en-US"/>
            </a:defPPr>
            <a:lvl1pPr algn="ctr" defTabSz="698548">
              <a:defRPr sz="2200" spc="-50">
                <a:ln w="3175">
                  <a:noFill/>
                </a:ln>
                <a:gradFill>
                  <a:gsLst>
                    <a:gs pos="21000">
                      <a:srgbClr val="0078D4"/>
                    </a:gs>
                    <a:gs pos="100000">
                      <a:srgbClr val="C03BC4"/>
                    </a:gs>
                  </a:gsLst>
                  <a:lin ang="2400000" scaled="0"/>
                </a:gradFill>
                <a:latin typeface="Segoe UI Semibold" panose="020B0702040204020203" pitchFamily="34" charset="0"/>
                <a:cs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98548"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50" normalizeH="0" baseline="0" noProof="0">
              <a:ln w="3175">
                <a:noFill/>
              </a:ln>
              <a:gradFill>
                <a:gsLst>
                  <a:gs pos="21000">
                    <a:srgbClr val="0078D4"/>
                  </a:gs>
                  <a:gs pos="100000">
                    <a:srgbClr val="C03BC4"/>
                  </a:gs>
                </a:gsLst>
                <a:lin ang="2400000" scaled="0"/>
              </a:gradFill>
              <a:effectLst/>
              <a:uLnTx/>
              <a:uFillTx/>
              <a:latin typeface="Segoe UI Semibold" panose="020B0702040204020203" pitchFamily="34" charset="0"/>
              <a:ea typeface="+mn-ea"/>
              <a:cs typeface="Segoe UI Semibold"/>
            </a:endParaRPr>
          </a:p>
        </p:txBody>
      </p:sp>
      <p:sp>
        <p:nvSpPr>
          <p:cNvPr id="44" name="TextBox 43">
            <a:extLst>
              <a:ext uri="{FF2B5EF4-FFF2-40B4-BE49-F238E27FC236}">
                <a16:creationId xmlns:a16="http://schemas.microsoft.com/office/drawing/2014/main" id="{3ECB54EA-E188-9C82-BA96-60FEC7422B9C}"/>
              </a:ext>
            </a:extLst>
          </p:cNvPr>
          <p:cNvSpPr txBox="1"/>
          <p:nvPr/>
        </p:nvSpPr>
        <p:spPr>
          <a:xfrm>
            <a:off x="532940" y="1391349"/>
            <a:ext cx="4457619" cy="3785652"/>
          </a:xfrm>
          <a:prstGeom prst="rect">
            <a:avLst/>
          </a:prstGeom>
          <a:noFill/>
        </p:spPr>
        <p:txBody>
          <a:bodyPr wrap="square">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dirty="0">
                <a:ln>
                  <a:noFill/>
                </a:ln>
                <a:solidFill>
                  <a:srgbClr val="1E1E1E"/>
                </a:solidFill>
                <a:effectLst/>
                <a:uLnTx/>
                <a:uFillTx/>
                <a:latin typeface="Segoe UI"/>
                <a:ea typeface="+mn-ea"/>
                <a:cs typeface="Segoe Sans Display" pitchFamily="2" charset="0"/>
              </a:rPr>
              <a:t>Instrucciones</a:t>
            </a:r>
            <a:r>
              <a:rPr kumimoji="0" lang="es-es" sz="2000" b="0" i="0" u="none" strike="noStrike" kern="1200" cap="none" spc="0" normalizeH="0" baseline="0" noProof="0" dirty="0">
                <a:ln>
                  <a:noFill/>
                </a:ln>
                <a:solidFill>
                  <a:srgbClr val="1E1E1E"/>
                </a:solidFill>
                <a:effectLst/>
                <a:uLnTx/>
                <a:uFillTx/>
                <a:latin typeface="Segoe UI"/>
                <a:ea typeface="+mn-ea"/>
                <a:cs typeface="Segoe Sans Display" pitchFamily="2" charset="0"/>
              </a:rPr>
              <a:t> define al agente y adapta su experiencia a los requisitos empresariales y los resultados esperados.</a:t>
            </a:r>
          </a:p>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CA" sz="2000" b="0" i="0" u="none" strike="noStrike" kern="1200" cap="none" spc="0" normalizeH="0" baseline="0" noProof="0" dirty="0">
              <a:ln>
                <a:noFill/>
              </a:ln>
              <a:solidFill>
                <a:srgbClr val="1E1E1E"/>
              </a:solidFill>
              <a:effectLst/>
              <a:uLnTx/>
              <a:uFillTx/>
              <a:latin typeface="Segoe UI"/>
              <a:ea typeface="+mn-ea"/>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kumimoji="0" lang="es-es" sz="2000" b="0" i="0" u="none" strike="noStrike" kern="1200" cap="none" spc="0" normalizeH="0" baseline="0" noProof="0" dirty="0">
                <a:ln>
                  <a:noFill/>
                </a:ln>
                <a:solidFill>
                  <a:srgbClr val="1E1E1E"/>
                </a:solidFill>
                <a:effectLst/>
                <a:uLnTx/>
                <a:uFillTx/>
                <a:latin typeface="Segoe UI"/>
                <a:ea typeface="+mn-ea"/>
                <a:cs typeface="Segoe Sans Display" pitchFamily="2" charset="0"/>
              </a:rPr>
              <a:t>No todas las habilidades se pueden describir completamente en las instrucciones; algunas requerirán </a:t>
            </a:r>
            <a:br>
              <a:rPr kumimoji="0" lang="es-es" sz="2000" b="0" i="0" u="none" strike="noStrike" kern="1200" cap="none" spc="0" normalizeH="0" baseline="0" noProof="0" dirty="0">
                <a:ln>
                  <a:noFill/>
                </a:ln>
                <a:solidFill>
                  <a:srgbClr val="1E1E1E"/>
                </a:solidFill>
                <a:effectLst/>
                <a:uLnTx/>
                <a:uFillTx/>
                <a:latin typeface="Segoe UI"/>
                <a:ea typeface="+mn-ea"/>
                <a:cs typeface="Segoe Sans Display" pitchFamily="2" charset="0"/>
              </a:rPr>
            </a:br>
            <a:r>
              <a:rPr kumimoji="0" lang="es-es" sz="2000" b="0" i="0" u="none" strike="noStrike" kern="1200" cap="none" spc="0" normalizeH="0" baseline="0" noProof="0" dirty="0">
                <a:ln>
                  <a:noFill/>
                </a:ln>
                <a:solidFill>
                  <a:srgbClr val="1E1E1E"/>
                </a:solidFill>
                <a:effectLst/>
                <a:uLnTx/>
                <a:uFillTx/>
                <a:latin typeface="Segoe UI"/>
                <a:ea typeface="+mn-ea"/>
                <a:cs typeface="Segoe Sans Display" pitchFamily="2" charset="0"/>
              </a:rPr>
              <a:t>que configures</a:t>
            </a:r>
            <a:r>
              <a:rPr lang="es-es" sz="2000" dirty="0">
                <a:solidFill>
                  <a:srgbClr val="1E1E1E"/>
                </a:solidFill>
                <a:latin typeface="Segoe UI"/>
                <a:cs typeface="Segoe Sans Display" pitchFamily="2" charset="0"/>
              </a:rPr>
              <a:t> otras opciones, </a:t>
            </a:r>
            <a:br>
              <a:rPr lang="es-es" sz="2000" dirty="0">
                <a:solidFill>
                  <a:srgbClr val="1E1E1E"/>
                </a:solidFill>
                <a:latin typeface="Segoe UI"/>
                <a:cs typeface="Segoe Sans Display" pitchFamily="2" charset="0"/>
              </a:rPr>
            </a:br>
            <a:r>
              <a:rPr lang="es-es" sz="2000" dirty="0">
                <a:solidFill>
                  <a:srgbClr val="1E1E1E"/>
                </a:solidFill>
                <a:latin typeface="Segoe UI"/>
                <a:cs typeface="Segoe Sans Display" pitchFamily="2" charset="0"/>
              </a:rPr>
              <a:t>como</a:t>
            </a:r>
            <a:r>
              <a:rPr kumimoji="0" lang="es-es" sz="2000" b="0" i="0" u="none" strike="noStrike" kern="1200" cap="none" spc="0" normalizeH="0" baseline="0" noProof="0" dirty="0">
                <a:ln>
                  <a:noFill/>
                </a:ln>
                <a:solidFill>
                  <a:srgbClr val="1E1E1E"/>
                </a:solidFill>
                <a:effectLst/>
                <a:uLnTx/>
                <a:uFillTx/>
                <a:latin typeface="Segoe UI"/>
                <a:ea typeface="+mn-ea"/>
                <a:cs typeface="Segoe Sans Display" pitchFamily="2" charset="0"/>
              </a:rPr>
              <a:t> </a:t>
            </a:r>
            <a:r>
              <a:rPr kumimoji="0" lang="es-es" sz="2000" b="1" i="0" u="none" strike="noStrike" kern="1200" cap="none" spc="0" normalizeH="0" baseline="0" noProof="0" dirty="0">
                <a:ln>
                  <a:noFill/>
                </a:ln>
                <a:solidFill>
                  <a:srgbClr val="1E1E1E"/>
                </a:solidFill>
                <a:effectLst/>
                <a:uLnTx/>
                <a:uFillTx/>
                <a:latin typeface="Segoe UI"/>
                <a:ea typeface="+mn-ea"/>
                <a:cs typeface="Segoe Sans Display" pitchFamily="2" charset="0"/>
              </a:rPr>
              <a:t>fuentes</a:t>
            </a:r>
            <a:r>
              <a:rPr kumimoji="0" lang="es-es" sz="2000" b="0" i="0" u="none" strike="noStrike" kern="1200" cap="none" spc="0" normalizeH="0" baseline="0" noProof="0" dirty="0">
                <a:ln>
                  <a:noFill/>
                </a:ln>
                <a:solidFill>
                  <a:srgbClr val="1E1E1E"/>
                </a:solidFill>
                <a:effectLst/>
                <a:uLnTx/>
                <a:uFillTx/>
                <a:latin typeface="Segoe UI"/>
                <a:ea typeface="+mn-ea"/>
                <a:cs typeface="Segoe Sans Display" pitchFamily="2" charset="0"/>
              </a:rPr>
              <a:t> de conocimiento </a:t>
            </a:r>
            <a:br>
              <a:rPr kumimoji="0" lang="es-es" sz="2000" b="0" i="0" u="none" strike="noStrike" kern="1200" cap="none" spc="0" normalizeH="0" baseline="0" noProof="0" dirty="0">
                <a:ln>
                  <a:noFill/>
                </a:ln>
                <a:solidFill>
                  <a:srgbClr val="1E1E1E"/>
                </a:solidFill>
                <a:effectLst/>
                <a:uLnTx/>
                <a:uFillTx/>
                <a:latin typeface="Segoe UI"/>
                <a:ea typeface="+mn-ea"/>
                <a:cs typeface="Segoe Sans Display" pitchFamily="2" charset="0"/>
              </a:rPr>
            </a:br>
            <a:r>
              <a:rPr kumimoji="0" lang="es-es" sz="2000" b="0" i="0" u="none" strike="noStrike" kern="1200" cap="none" spc="0" normalizeH="0" baseline="0" noProof="0" dirty="0">
                <a:ln>
                  <a:noFill/>
                </a:ln>
                <a:solidFill>
                  <a:srgbClr val="1E1E1E"/>
                </a:solidFill>
                <a:effectLst/>
                <a:uLnTx/>
                <a:uFillTx/>
                <a:latin typeface="Segoe UI"/>
                <a:ea typeface="+mn-ea"/>
                <a:cs typeface="Segoe Sans Display" pitchFamily="2" charset="0"/>
              </a:rPr>
              <a:t>o </a:t>
            </a:r>
            <a:r>
              <a:rPr kumimoji="0" lang="es-es" sz="2000" b="1" i="0" u="none" strike="noStrike" kern="1200" cap="none" spc="0" normalizeH="0" baseline="0" noProof="0" dirty="0">
                <a:ln>
                  <a:noFill/>
                </a:ln>
                <a:solidFill>
                  <a:srgbClr val="1E1E1E"/>
                </a:solidFill>
                <a:effectLst/>
                <a:uLnTx/>
                <a:uFillTx/>
                <a:latin typeface="Segoe UI"/>
                <a:ea typeface="+mn-ea"/>
                <a:cs typeface="Segoe Sans Display" pitchFamily="2" charset="0"/>
              </a:rPr>
              <a:t>acciones</a:t>
            </a:r>
            <a:r>
              <a:rPr kumimoji="0" lang="es-es" sz="2000" b="0" i="0" u="none" strike="noStrike" kern="1200" cap="none" spc="0" normalizeH="0" baseline="0" noProof="0" dirty="0">
                <a:ln>
                  <a:noFill/>
                </a:ln>
                <a:solidFill>
                  <a:srgbClr val="1E1E1E"/>
                </a:solidFill>
                <a:effectLst/>
                <a:uLnTx/>
                <a:uFillTx/>
                <a:latin typeface="Segoe UI"/>
                <a:ea typeface="+mn-ea"/>
                <a:cs typeface="Segoe Sans Display" pitchFamily="2" charset="0"/>
              </a:rPr>
              <a:t> (desplegada de forma parcial).</a:t>
            </a:r>
          </a:p>
        </p:txBody>
      </p:sp>
      <p:sp>
        <p:nvSpPr>
          <p:cNvPr id="4" name="Rounded Rectangle 2">
            <a:extLst>
              <a:ext uri="{FF2B5EF4-FFF2-40B4-BE49-F238E27FC236}">
                <a16:creationId xmlns:a16="http://schemas.microsoft.com/office/drawing/2014/main" id="{A8BDE404-5186-0D9A-76B6-71EBDE1E014A}"/>
              </a:ext>
            </a:extLst>
          </p:cNvPr>
          <p:cNvSpPr/>
          <p:nvPr/>
        </p:nvSpPr>
        <p:spPr bwMode="auto">
          <a:xfrm>
            <a:off x="6647309" y="1176852"/>
            <a:ext cx="3399358" cy="430887"/>
          </a:xfrm>
          <a:prstGeom prst="roundRect">
            <a:avLst/>
          </a:prstGeom>
          <a:gradFill flip="none" rotWithShape="1">
            <a:gsLst>
              <a:gs pos="47000">
                <a:srgbClr val="0078D4"/>
              </a:gs>
              <a:gs pos="100000">
                <a:srgbClr val="7354CA"/>
              </a:gs>
            </a:gsLst>
            <a:lin ang="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s-es" sz="1400" b="1" i="0" u="none" strike="noStrike" kern="1200" cap="none" spc="-20" normalizeH="0" baseline="0" noProof="0">
                <a:ln>
                  <a:noFill/>
                </a:ln>
                <a:solidFill>
                  <a:srgbClr val="FFFFFF"/>
                </a:solidFill>
                <a:effectLst/>
                <a:uLnTx/>
                <a:uFillTx/>
                <a:latin typeface="Segoe UI"/>
                <a:ea typeface="+mn-ea"/>
                <a:cs typeface="Segoe UI" pitchFamily="34" charset="0"/>
              </a:rPr>
              <a:t>Componentes clave de las instrucciones</a:t>
            </a:r>
            <a:endParaRPr kumimoji="0" lang="en-US" sz="1400" b="1" i="0" u="none" strike="noStrike" kern="1200" cap="none" spc="-20" normalizeH="0" baseline="0" noProof="0">
              <a:ln>
                <a:noFill/>
              </a:ln>
              <a:solidFill>
                <a:srgbClr val="FFFFFF"/>
              </a:solidFill>
              <a:effectLst/>
              <a:uLnTx/>
              <a:uFillTx/>
              <a:latin typeface="Segoe UI"/>
              <a:ea typeface="+mn-ea"/>
              <a:cs typeface="Segoe UI" pitchFamily="34" charset="0"/>
            </a:endParaRPr>
          </a:p>
        </p:txBody>
      </p:sp>
      <p:sp>
        <p:nvSpPr>
          <p:cNvPr id="46" name="Rounded Rectangle 26" descr="Objetivo">
            <a:extLst>
              <a:ext uri="{FF2B5EF4-FFF2-40B4-BE49-F238E27FC236}">
                <a16:creationId xmlns:a16="http://schemas.microsoft.com/office/drawing/2014/main" id="{22C4A8FC-7A41-5A1A-B7B9-E67B5F4514D2}"/>
              </a:ext>
            </a:extLst>
          </p:cNvPr>
          <p:cNvSpPr/>
          <p:nvPr/>
        </p:nvSpPr>
        <p:spPr bwMode="auto">
          <a:xfrm>
            <a:off x="5364180" y="2201494"/>
            <a:ext cx="1779379" cy="1221346"/>
          </a:xfrm>
          <a:prstGeom prst="roundRect">
            <a:avLst>
              <a:gd name="adj" fmla="val 14536"/>
            </a:avLst>
          </a:prstGeom>
          <a:solidFill>
            <a:srgbClr val="008272"/>
          </a:solidFill>
          <a:ln w="15875" cap="flat" cmpd="sng" algn="ctr">
            <a:solidFill>
              <a:srgbClr val="4AC5B1"/>
            </a:solidFill>
            <a:prstDash val="solid"/>
            <a:headEnd type="none" w="med" len="med"/>
            <a:tailEnd type="none" w="med" len="med"/>
          </a:ln>
          <a:effectLst>
            <a:outerShdw blurRad="114300" dist="63500" dir="2700000" algn="tl" rotWithShape="0">
              <a:srgbClr val="454142">
                <a:alpha val="20000"/>
              </a:srgbClr>
            </a:outerShdw>
          </a:effectLst>
        </p:spPr>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Objetivo</a:t>
            </a:r>
          </a:p>
        </p:txBody>
      </p:sp>
      <p:sp>
        <p:nvSpPr>
          <p:cNvPr id="38" name="TextBox 9">
            <a:extLst>
              <a:ext uri="{FF2B5EF4-FFF2-40B4-BE49-F238E27FC236}">
                <a16:creationId xmlns:a16="http://schemas.microsoft.com/office/drawing/2014/main" id="{D3501514-5D33-9B8A-F1C1-48AC7F990827}"/>
              </a:ext>
            </a:extLst>
          </p:cNvPr>
          <p:cNvSpPr txBox="1"/>
          <p:nvPr/>
        </p:nvSpPr>
        <p:spPr>
          <a:xfrm>
            <a:off x="5412904" y="3717633"/>
            <a:ext cx="1681929" cy="553998"/>
          </a:xfrm>
          <a:prstGeom prst="rect">
            <a:avLst/>
          </a:prstGeom>
          <a:noFill/>
        </p:spPr>
        <p:txBody>
          <a:bodyPr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black"/>
                </a:solidFill>
                <a:effectLst/>
                <a:uLnTx/>
                <a:uFillTx/>
                <a:latin typeface="Segoe UI"/>
                <a:ea typeface="+mn-ea"/>
                <a:cs typeface="Segoe Sans Display" pitchFamily="2" charset="0"/>
              </a:rPr>
              <a:t>Qué es este agente y sus objetivos</a:t>
            </a:r>
          </a:p>
        </p:txBody>
      </p:sp>
      <p:sp>
        <p:nvSpPr>
          <p:cNvPr id="47" name="Rounded Rectangle 37" descr="Pautas">
            <a:extLst>
              <a:ext uri="{FF2B5EF4-FFF2-40B4-BE49-F238E27FC236}">
                <a16:creationId xmlns:a16="http://schemas.microsoft.com/office/drawing/2014/main" id="{12D124C9-DECC-87D1-DEBD-6B7393148607}"/>
              </a:ext>
            </a:extLst>
          </p:cNvPr>
          <p:cNvSpPr/>
          <p:nvPr/>
        </p:nvSpPr>
        <p:spPr bwMode="auto">
          <a:xfrm>
            <a:off x="7451110" y="2207654"/>
            <a:ext cx="1791758" cy="1215186"/>
          </a:xfrm>
          <a:prstGeom prst="roundRect">
            <a:avLst>
              <a:gd name="adj" fmla="val 15091"/>
            </a:avLst>
          </a:prstGeom>
          <a:solidFill>
            <a:srgbClr val="B4009E"/>
          </a:solidFill>
          <a:ln w="15875" cap="flat" cmpd="sng" algn="ctr">
            <a:solidFill>
              <a:srgbClr val="C03BC4"/>
            </a:solidFill>
            <a:prstDash val="solid"/>
            <a:headEnd type="none" w="med" len="med"/>
            <a:tailEnd type="none" w="med" len="med"/>
          </a:ln>
          <a:effectLst>
            <a:outerShdw blurRad="114300" dist="63500" dir="2700000" algn="tl" rotWithShape="0">
              <a:srgbClr val="454142">
                <a:alpha val="20000"/>
              </a:srgbClr>
            </a:outerShdw>
          </a:effectLst>
        </p:spPr>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Pautas</a:t>
            </a:r>
          </a:p>
        </p:txBody>
      </p:sp>
      <p:sp>
        <p:nvSpPr>
          <p:cNvPr id="39" name="TextBox 7">
            <a:extLst>
              <a:ext uri="{FF2B5EF4-FFF2-40B4-BE49-F238E27FC236}">
                <a16:creationId xmlns:a16="http://schemas.microsoft.com/office/drawing/2014/main" id="{C4E28669-7E24-D234-8ABD-00BB831BC85B}"/>
              </a:ext>
            </a:extLst>
          </p:cNvPr>
          <p:cNvSpPr txBox="1"/>
          <p:nvPr/>
        </p:nvSpPr>
        <p:spPr>
          <a:xfrm>
            <a:off x="7205482" y="3717633"/>
            <a:ext cx="2294806" cy="1107996"/>
          </a:xfrm>
          <a:prstGeom prst="rect">
            <a:avLst/>
          </a:prstGeom>
          <a:noFill/>
        </p:spPr>
        <p:txBody>
          <a:bodyPr wrap="square" lIns="0" tIns="0" rIns="0" bIns="0" rtlCol="0" anchor="t">
            <a:spAutoFit/>
          </a:bodyPr>
          <a:lstStyle>
            <a:defPPr>
              <a:defRPr lang="en-US"/>
            </a:defPPr>
            <a:lvl1pPr algn="ctr" defTabSz="914367">
              <a:defRPr>
                <a:solidFill>
                  <a:prstClr val="black"/>
                </a:solidFill>
                <a:cs typeface="Segoe Sans Display" pitchFamily="2"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black"/>
                </a:solidFill>
                <a:effectLst/>
                <a:uLnTx/>
                <a:uFillTx/>
                <a:latin typeface="Segoe UI"/>
                <a:ea typeface="+mn-ea"/>
                <a:cs typeface="Segoe Sans Display" pitchFamily="2" charset="0"/>
              </a:rPr>
              <a:t>Directrices </a:t>
            </a:r>
            <a:br>
              <a:rPr kumimoji="0" lang="es-es" sz="1800" b="0" i="0" u="none" strike="noStrike" kern="1200" cap="none" spc="0" normalizeH="0" baseline="0" noProof="0" dirty="0">
                <a:ln>
                  <a:noFill/>
                </a:ln>
                <a:solidFill>
                  <a:prstClr val="black"/>
                </a:solidFill>
                <a:effectLst/>
                <a:uLnTx/>
                <a:uFillTx/>
                <a:latin typeface="Segoe UI"/>
                <a:ea typeface="+mn-ea"/>
                <a:cs typeface="Segoe Sans Display" pitchFamily="2" charset="0"/>
              </a:rPr>
            </a:br>
            <a:r>
              <a:rPr kumimoji="0" lang="es-es" sz="1800" b="0" i="0" u="none" strike="noStrike" kern="1200" cap="none" spc="0" normalizeH="0" baseline="0" noProof="0" dirty="0">
                <a:ln>
                  <a:noFill/>
                </a:ln>
                <a:solidFill>
                  <a:prstClr val="black"/>
                </a:solidFill>
                <a:effectLst/>
                <a:uLnTx/>
                <a:uFillTx/>
                <a:latin typeface="Segoe UI"/>
                <a:ea typeface="+mn-ea"/>
                <a:cs typeface="Segoe Sans Display" pitchFamily="2" charset="0"/>
              </a:rPr>
              <a:t>generales, </a:t>
            </a:r>
            <a:br>
              <a:rPr kumimoji="0" lang="es-es" sz="1800" b="0" i="0" u="none" strike="noStrike" kern="1200" cap="none" spc="0" normalizeH="0" baseline="0" noProof="0" dirty="0">
                <a:ln>
                  <a:noFill/>
                </a:ln>
                <a:solidFill>
                  <a:prstClr val="black"/>
                </a:solidFill>
                <a:effectLst/>
                <a:uLnTx/>
                <a:uFillTx/>
                <a:latin typeface="Segoe UI"/>
                <a:ea typeface="+mn-ea"/>
                <a:cs typeface="Segoe Sans Display" pitchFamily="2" charset="0"/>
              </a:rPr>
            </a:br>
            <a:r>
              <a:rPr kumimoji="0" lang="es-es" sz="1800" b="0" i="0" u="none" strike="noStrike" kern="1200" cap="none" spc="0" normalizeH="0" baseline="0" noProof="0" dirty="0">
                <a:ln>
                  <a:noFill/>
                </a:ln>
                <a:solidFill>
                  <a:prstClr val="black"/>
                </a:solidFill>
                <a:effectLst/>
                <a:uLnTx/>
                <a:uFillTx/>
                <a:latin typeface="Segoe UI"/>
                <a:ea typeface="+mn-ea"/>
                <a:cs typeface="Segoe Sans Display" pitchFamily="2" charset="0"/>
              </a:rPr>
              <a:t>tono, reglas y </a:t>
            </a:r>
            <a:br>
              <a:rPr kumimoji="0" lang="es-es" sz="1800" b="0" i="0" u="none" strike="noStrike" kern="1200" cap="none" spc="0" normalizeH="0" baseline="0" noProof="0" dirty="0">
                <a:ln>
                  <a:noFill/>
                </a:ln>
                <a:solidFill>
                  <a:prstClr val="black"/>
                </a:solidFill>
                <a:effectLst/>
                <a:uLnTx/>
                <a:uFillTx/>
                <a:latin typeface="Segoe UI"/>
                <a:ea typeface="+mn-ea"/>
                <a:cs typeface="Segoe Sans Display" pitchFamily="2" charset="0"/>
              </a:rPr>
            </a:br>
            <a:r>
              <a:rPr kumimoji="0" lang="es-es" sz="1800" b="0" i="0" u="none" strike="noStrike" kern="1200" cap="none" spc="0" normalizeH="0" baseline="0" noProof="0" dirty="0">
                <a:ln>
                  <a:noFill/>
                </a:ln>
                <a:solidFill>
                  <a:prstClr val="black"/>
                </a:solidFill>
                <a:effectLst/>
                <a:uLnTx/>
                <a:uFillTx/>
                <a:latin typeface="Segoe UI"/>
                <a:ea typeface="+mn-ea"/>
                <a:cs typeface="Segoe Sans Display" pitchFamily="2" charset="0"/>
              </a:rPr>
              <a:t>restricciones</a:t>
            </a:r>
          </a:p>
        </p:txBody>
      </p:sp>
      <p:sp>
        <p:nvSpPr>
          <p:cNvPr id="48" name="Rounded Rectangle 34" descr="Habilidades">
            <a:extLst>
              <a:ext uri="{FF2B5EF4-FFF2-40B4-BE49-F238E27FC236}">
                <a16:creationId xmlns:a16="http://schemas.microsoft.com/office/drawing/2014/main" id="{0181EB38-E485-88A5-1214-DC28F8568664}"/>
              </a:ext>
            </a:extLst>
          </p:cNvPr>
          <p:cNvSpPr/>
          <p:nvPr/>
        </p:nvSpPr>
        <p:spPr bwMode="auto">
          <a:xfrm>
            <a:off x="9550419" y="2201494"/>
            <a:ext cx="1779379" cy="1215186"/>
          </a:xfrm>
          <a:prstGeom prst="roundRect">
            <a:avLst>
              <a:gd name="adj" fmla="val 15867"/>
            </a:avLst>
          </a:prstGeom>
          <a:solidFill>
            <a:srgbClr val="E25B00"/>
          </a:solidFill>
          <a:ln w="15875" cap="flat" cmpd="sng" algn="ctr">
            <a:solidFill>
              <a:srgbClr val="FFA38B"/>
            </a:solidFill>
            <a:prstDash val="solid"/>
            <a:headEnd type="none" w="med" len="med"/>
            <a:tailEnd type="none" w="med" len="med"/>
          </a:ln>
          <a:effectLst>
            <a:outerShdw blurRad="114300" dist="63500" dir="2700000" algn="tl" rotWithShape="0">
              <a:srgbClr val="454142">
                <a:alpha val="20000"/>
              </a:srgbClr>
            </a:outerShdw>
          </a:effectLst>
        </p:spPr>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Habilidades</a:t>
            </a:r>
          </a:p>
        </p:txBody>
      </p:sp>
      <p:sp>
        <p:nvSpPr>
          <p:cNvPr id="41" name="TextBox 6">
            <a:extLst>
              <a:ext uri="{FF2B5EF4-FFF2-40B4-BE49-F238E27FC236}">
                <a16:creationId xmlns:a16="http://schemas.microsoft.com/office/drawing/2014/main" id="{1FCA4684-7CAC-5F8F-A8D9-78589466D5E6}"/>
              </a:ext>
            </a:extLst>
          </p:cNvPr>
          <p:cNvSpPr txBox="1"/>
          <p:nvPr/>
        </p:nvSpPr>
        <p:spPr>
          <a:xfrm>
            <a:off x="9562211" y="3717634"/>
            <a:ext cx="1779378" cy="1384995"/>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black"/>
                </a:solidFill>
                <a:effectLst/>
                <a:uLnTx/>
                <a:uFillTx/>
                <a:latin typeface="Segoe UI"/>
                <a:ea typeface="+mn-ea"/>
                <a:cs typeface="Segoe Sans Display" pitchFamily="2" charset="0"/>
              </a:rPr>
              <a:t>Tareas granulares con flujo de trabajo paso a paso que puede gestionar el LLM</a:t>
            </a:r>
            <a:endParaRPr kumimoji="0" lang="en-US" sz="1800" b="0" i="0" u="none" strike="noStrike" kern="1200" cap="none" spc="0" normalizeH="0" baseline="0" noProof="0" dirty="0">
              <a:ln>
                <a:noFill/>
              </a:ln>
              <a:solidFill>
                <a:prstClr val="black"/>
              </a:solidFill>
              <a:effectLst/>
              <a:uLnTx/>
              <a:uFillTx/>
              <a:latin typeface="Segoe UI"/>
              <a:ea typeface="+mn-ea"/>
              <a:cs typeface="Segoe Sans Display" pitchFamily="2" charset="0"/>
            </a:endParaRPr>
          </a:p>
        </p:txBody>
      </p:sp>
      <p:sp>
        <p:nvSpPr>
          <p:cNvPr id="3" name="TextBox 2">
            <a:extLst>
              <a:ext uri="{FF2B5EF4-FFF2-40B4-BE49-F238E27FC236}">
                <a16:creationId xmlns:a16="http://schemas.microsoft.com/office/drawing/2014/main" id="{F0D800CB-884F-525D-002F-75218FF44C32}"/>
              </a:ext>
            </a:extLst>
          </p:cNvPr>
          <p:cNvSpPr txBox="1"/>
          <p:nvPr/>
        </p:nvSpPr>
        <p:spPr>
          <a:xfrm>
            <a:off x="2505917" y="6285396"/>
            <a:ext cx="7495902" cy="363946"/>
          </a:xfrm>
          <a:prstGeom prst="rect">
            <a:avLst/>
          </a:prstGeom>
          <a:noFill/>
        </p:spPr>
        <p:txBody>
          <a:bodyPr wrap="square">
            <a:spAutoFit/>
          </a:bodyPr>
          <a:lstStyle/>
          <a:p>
            <a:pPr algn="ctr"/>
            <a:r>
              <a:rPr lang="es-es" dirty="0">
                <a:hlinkClick r:id="rId3"/>
              </a:rPr>
              <a:t>Escribe instrucciones efectivas para agentes declarativos | Microsoft </a:t>
            </a:r>
            <a:r>
              <a:rPr lang="es-es" dirty="0" err="1">
                <a:hlinkClick r:id="rId3"/>
              </a:rPr>
              <a:t>Learn</a:t>
            </a:r>
            <a:endParaRPr lang="en-US" dirty="0"/>
          </a:p>
        </p:txBody>
      </p:sp>
    </p:spTree>
    <p:extLst>
      <p:ext uri="{BB962C8B-B14F-4D97-AF65-F5344CB8AC3E}">
        <p14:creationId xmlns:p14="http://schemas.microsoft.com/office/powerpoint/2010/main" val="206918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FB010-E8DB-E5A0-984C-88FED6E6A0A7}"/>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CCEDC2FA-0E0B-F1E8-BC77-8132D86579AE}"/>
              </a:ext>
              <a:ext uri="{C183D7F6-B498-43B3-948B-1728B52AA6E4}">
                <adec:decorative xmlns:adec="http://schemas.microsoft.com/office/drawing/2017/decorative" val="1"/>
              </a:ext>
            </a:extLst>
          </p:cNvPr>
          <p:cNvSpPr txBox="1">
            <a:spLocks/>
          </p:cNvSpPr>
          <p:nvPr/>
        </p:nvSpPr>
        <p:spPr>
          <a:xfrm>
            <a:off x="4067098" y="1071597"/>
            <a:ext cx="7965907" cy="5009832"/>
          </a:xfrm>
          <a:prstGeom prst="roundRect">
            <a:avLst>
              <a:gd name="adj" fmla="val 3190"/>
            </a:avLst>
          </a:prstGeom>
          <a:solidFill>
            <a:srgbClr val="F7F6FE"/>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defPPr>
              <a:defRPr lang="en-US"/>
            </a:defPPr>
            <a:lvl1pPr algn="ctr" defTabSz="698548">
              <a:defRPr sz="2200" spc="-50">
                <a:ln w="3175">
                  <a:noFill/>
                </a:ln>
                <a:gradFill>
                  <a:gsLst>
                    <a:gs pos="21000">
                      <a:srgbClr val="0078D4"/>
                    </a:gs>
                    <a:gs pos="100000">
                      <a:srgbClr val="C03BC4"/>
                    </a:gs>
                  </a:gsLst>
                  <a:lin ang="2400000" scaled="0"/>
                </a:gradFill>
                <a:latin typeface="Segoe UI Semibold" panose="020B0702040204020203" pitchFamily="34" charset="0"/>
                <a:cs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98548"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50" normalizeH="0" baseline="0" noProof="0">
              <a:ln w="3175">
                <a:noFill/>
              </a:ln>
              <a:gradFill>
                <a:gsLst>
                  <a:gs pos="21000">
                    <a:srgbClr val="0078D4"/>
                  </a:gs>
                  <a:gs pos="100000">
                    <a:srgbClr val="C03BC4"/>
                  </a:gs>
                </a:gsLst>
                <a:lin ang="2400000" scaled="0"/>
              </a:gradFill>
              <a:effectLst/>
              <a:uLnTx/>
              <a:uFillTx/>
              <a:latin typeface="Segoe UI Semibold" panose="020B0702040204020203" pitchFamily="34" charset="0"/>
              <a:ea typeface="+mn-ea"/>
              <a:cs typeface="Segoe UI Semibold"/>
            </a:endParaRPr>
          </a:p>
        </p:txBody>
      </p:sp>
      <p:sp>
        <p:nvSpPr>
          <p:cNvPr id="11" name="Title 8">
            <a:extLst>
              <a:ext uri="{FF2B5EF4-FFF2-40B4-BE49-F238E27FC236}">
                <a16:creationId xmlns:a16="http://schemas.microsoft.com/office/drawing/2014/main" id="{FAC78B42-C546-6BCD-8B97-9DB5760EB226}"/>
              </a:ext>
            </a:extLst>
          </p:cNvPr>
          <p:cNvSpPr>
            <a:spLocks noGrp="1"/>
          </p:cNvSpPr>
          <p:nvPr>
            <p:ph type="title"/>
          </p:nvPr>
        </p:nvSpPr>
        <p:spPr>
          <a:xfrm>
            <a:off x="586740" y="384752"/>
            <a:ext cx="11018520" cy="430887"/>
          </a:xfrm>
        </p:spPr>
        <p:txBody>
          <a:bodyPr>
            <a:normAutofit fontScale="90000"/>
          </a:bodyPr>
          <a:lstStyle/>
          <a:p>
            <a:r>
              <a:rPr lang="es-es">
                <a:solidFill>
                  <a:schemeClr val="tx1"/>
                </a:solidFill>
              </a:rPr>
              <a:t>Redacta instrucciones excelentes para agentes</a:t>
            </a:r>
            <a:endParaRPr lang="en-CA">
              <a:solidFill>
                <a:schemeClr val="tx1"/>
              </a:solidFill>
            </a:endParaRPr>
          </a:p>
        </p:txBody>
      </p:sp>
      <p:sp>
        <p:nvSpPr>
          <p:cNvPr id="84" name="TextBox 83">
            <a:extLst>
              <a:ext uri="{FF2B5EF4-FFF2-40B4-BE49-F238E27FC236}">
                <a16:creationId xmlns:a16="http://schemas.microsoft.com/office/drawing/2014/main" id="{AEB116F2-6A2A-A846-F5E8-7DF3AE02EBD7}"/>
              </a:ext>
            </a:extLst>
          </p:cNvPr>
          <p:cNvSpPr txBox="1"/>
          <p:nvPr/>
        </p:nvSpPr>
        <p:spPr>
          <a:xfrm>
            <a:off x="473690" y="1913083"/>
            <a:ext cx="3471082" cy="3785652"/>
          </a:xfrm>
          <a:prstGeom prst="rect">
            <a:avLst/>
          </a:prstGeom>
          <a:noFill/>
        </p:spPr>
        <p:txBody>
          <a:bodyPr wrap="square">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s-es" sz="2000" b="0" i="0" u="none" strike="noStrike" kern="1200" cap="none" normalizeH="0" noProof="0" dirty="0">
                <a:ln>
                  <a:noFill/>
                </a:ln>
                <a:solidFill>
                  <a:srgbClr val="1E1E1E"/>
                </a:solidFill>
                <a:effectLst/>
                <a:uLnTx/>
                <a:uFillTx/>
                <a:latin typeface="Segoe Sans Display" pitchFamily="2" charset="0"/>
                <a:ea typeface="+mn-ea"/>
                <a:cs typeface="Segoe Sans Display" pitchFamily="2" charset="0"/>
              </a:rPr>
              <a:t>Para obtener la mejor experiencia de usuario, es importante centrarse en algunos de los </a:t>
            </a:r>
            <a:r>
              <a:rPr kumimoji="0" lang="es-es" sz="2000" b="1" i="0" u="none" strike="noStrike" kern="1200" cap="none" spc="-38" normalizeH="0" noProof="0" dirty="0">
                <a:ln w="3175">
                  <a:noFill/>
                </a:ln>
                <a:gradFill flip="none" rotWithShape="1">
                  <a:gsLst>
                    <a:gs pos="50000">
                      <a:srgbClr val="8661C5"/>
                    </a:gs>
                    <a:gs pos="0">
                      <a:srgbClr val="3E76D4"/>
                    </a:gs>
                    <a:gs pos="100000">
                      <a:srgbClr val="C73ECC"/>
                    </a:gs>
                  </a:gsLst>
                  <a:lin ang="2700000" scaled="1"/>
                  <a:tileRect/>
                </a:gradFill>
                <a:effectLst/>
                <a:uLnTx/>
                <a:uFillTx/>
                <a:latin typeface="Segoe Sans Display" pitchFamily="2" charset="0"/>
                <a:ea typeface="+mn-ea"/>
                <a:cs typeface="Segoe Sans Display" pitchFamily="2" charset="0"/>
              </a:rPr>
              <a:t>elementos clave </a:t>
            </a:r>
            <a:r>
              <a:rPr kumimoji="0" lang="es-es" sz="2000" b="0" i="0" u="none" strike="noStrike" kern="1200" cap="none" normalizeH="0" noProof="0" dirty="0">
                <a:ln>
                  <a:noFill/>
                </a:ln>
                <a:solidFill>
                  <a:srgbClr val="1E1E1E"/>
                </a:solidFill>
                <a:effectLst/>
                <a:uLnTx/>
                <a:uFillTx/>
                <a:latin typeface="Segoe Sans Display" pitchFamily="2" charset="0"/>
                <a:ea typeface="+mn-ea"/>
                <a:cs typeface="Segoe Sans Display" pitchFamily="2" charset="0"/>
              </a:rPr>
              <a:t>al redactar las instrucciones.</a:t>
            </a:r>
          </a:p>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CA" sz="2000" b="0" i="0" u="none" strike="noStrike" kern="1200" cap="none" spc="0" normalizeH="0" baseline="0" noProof="0" dirty="0">
              <a:ln>
                <a:noFill/>
              </a:ln>
              <a:solidFill>
                <a:srgbClr val="1E1E1E"/>
              </a:solidFill>
              <a:effectLst/>
              <a:uLnTx/>
              <a:uFillTx/>
              <a:latin typeface="Segoe Sans Display" pitchFamily="2" charset="0"/>
              <a:ea typeface="+mn-ea"/>
              <a:cs typeface="Segoe Sans Display" pitchFamily="2" charset="0"/>
            </a:endParaRPr>
          </a:p>
          <a:p>
            <a:pPr marL="0" marR="0" lvl="0" indent="0" algn="l" defTabSz="932472" rtl="0" eaLnBrk="1" fontAlgn="auto" latinLnBrk="0" hangingPunct="1">
              <a:lnSpc>
                <a:spcPct val="100000"/>
              </a:lnSpc>
              <a:spcBef>
                <a:spcPct val="0"/>
              </a:spcBef>
              <a:spcAft>
                <a:spcPct val="0"/>
              </a:spcAft>
              <a:buClrTx/>
              <a:buSzTx/>
              <a:buFontTx/>
              <a:buNone/>
              <a:tabLst/>
              <a:defRPr/>
            </a:pPr>
            <a:r>
              <a:rPr kumimoji="0" lang="es-es" sz="2000" b="0" i="0" u="none" strike="noStrike" kern="1200" cap="none" spc="0" normalizeH="0" baseline="0" noProof="0" dirty="0">
                <a:ln>
                  <a:noFill/>
                </a:ln>
                <a:solidFill>
                  <a:srgbClr val="1E1E1E"/>
                </a:solidFill>
                <a:effectLst/>
                <a:uLnTx/>
                <a:uFillTx/>
                <a:latin typeface="Segoe UI"/>
                <a:ea typeface="+mn-ea"/>
                <a:cs typeface="Segoe Sans Display" pitchFamily="2" charset="0"/>
              </a:rPr>
              <a:t>Puedes proporcionar todos los detalles necesarios para minimizar el esfuerzo del usuario al dar una indicación a tu agente.</a:t>
            </a:r>
            <a:endParaRPr kumimoji="0" lang="en-CA" sz="2000" b="0" i="0" u="none" strike="noStrike" kern="1200" cap="none" spc="0" normalizeH="0" baseline="0" noProof="0" dirty="0">
              <a:ln>
                <a:noFill/>
              </a:ln>
              <a:solidFill>
                <a:srgbClr val="1E1E1E"/>
              </a:solidFill>
              <a:effectLst/>
              <a:uLnTx/>
              <a:uFillTx/>
              <a:latin typeface="Segoe Sans Display" pitchFamily="2" charset="0"/>
              <a:ea typeface="+mn-ea"/>
              <a:cs typeface="Segoe Sans Display" pitchFamily="2" charset="0"/>
            </a:endParaRPr>
          </a:p>
        </p:txBody>
      </p:sp>
      <p:sp>
        <p:nvSpPr>
          <p:cNvPr id="12" name="Rounded Rectangle 15">
            <a:extLst>
              <a:ext uri="{FF2B5EF4-FFF2-40B4-BE49-F238E27FC236}">
                <a16:creationId xmlns:a16="http://schemas.microsoft.com/office/drawing/2014/main" id="{48590B0E-C64E-7140-8FAD-8672B5D29EAB}"/>
              </a:ext>
              <a:ext uri="{C183D7F6-B498-43B3-948B-1728B52AA6E4}">
                <adec:decorative xmlns:adec="http://schemas.microsoft.com/office/drawing/2017/decorative" val="1"/>
              </a:ext>
            </a:extLst>
          </p:cNvPr>
          <p:cNvSpPr/>
          <p:nvPr/>
        </p:nvSpPr>
        <p:spPr>
          <a:xfrm>
            <a:off x="4308722" y="2603231"/>
            <a:ext cx="7724283" cy="2659174"/>
          </a:xfrm>
          <a:prstGeom prst="roundRect">
            <a:avLst>
              <a:gd name="adj" fmla="val 7542"/>
            </a:avLst>
          </a:prstGeom>
          <a:gradFill flip="none" rotWithShape="1">
            <a:gsLst>
              <a:gs pos="58000">
                <a:srgbClr val="FBFBFB"/>
              </a:gs>
              <a:gs pos="100000">
                <a:schemeClr val="bg1">
                  <a:lumMod val="95000"/>
                  <a:alpha val="0"/>
                </a:schemeClr>
              </a:gs>
              <a:gs pos="34000">
                <a:schemeClr val="bg1"/>
              </a:gs>
            </a:gsLst>
            <a:lin ang="18900000" scaled="1"/>
            <a:tileRect/>
          </a:gradFill>
          <a:ln w="12700">
            <a:noFill/>
            <a:headEnd type="none" w="med" len="med"/>
            <a:tailEnd type="none" w="med" len="med"/>
          </a:ln>
          <a:effectLst/>
          <a:scene3d>
            <a:camera prst="perspectiveRight" fov="2700000">
              <a:rot lat="0" lon="21594000" rev="0"/>
            </a:camera>
            <a:lightRig rig="flat" dir="t"/>
          </a:scene3d>
          <a:sp3d>
            <a:bevelT w="0" h="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9" name="Rounded Rectangle 25">
            <a:extLst>
              <a:ext uri="{FF2B5EF4-FFF2-40B4-BE49-F238E27FC236}">
                <a16:creationId xmlns:a16="http://schemas.microsoft.com/office/drawing/2014/main" id="{E2F3BBAE-17AB-8238-B076-92753BFCB6CD}"/>
              </a:ext>
            </a:extLst>
          </p:cNvPr>
          <p:cNvSpPr/>
          <p:nvPr/>
        </p:nvSpPr>
        <p:spPr bwMode="auto">
          <a:xfrm>
            <a:off x="4987963" y="1601147"/>
            <a:ext cx="1664517" cy="317873"/>
          </a:xfrm>
          <a:prstGeom prst="roundRect">
            <a:avLst>
              <a:gd name="adj" fmla="val 50000"/>
            </a:avLst>
          </a:prstGeom>
          <a:solidFill>
            <a:schemeClr val="bg1"/>
          </a:solidFill>
          <a:ln w="15875">
            <a:solidFill>
              <a:srgbClr val="4AC5B1"/>
            </a:solid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a:ln>
                  <a:noFill/>
                </a:ln>
                <a:solidFill>
                  <a:srgbClr val="008575"/>
                </a:solidFill>
                <a:effectLst/>
                <a:uLnTx/>
                <a:uFillTx/>
                <a:latin typeface="Segoe UI Semibold"/>
                <a:ea typeface="+mn-ea"/>
                <a:cs typeface="Segoe UI Semibold" panose="020B0502040204020203" pitchFamily="34" charset="0"/>
              </a:rPr>
              <a:t>Objetivo</a:t>
            </a:r>
          </a:p>
        </p:txBody>
      </p:sp>
      <p:sp>
        <p:nvSpPr>
          <p:cNvPr id="21" name="TextBox 8">
            <a:extLst>
              <a:ext uri="{FF2B5EF4-FFF2-40B4-BE49-F238E27FC236}">
                <a16:creationId xmlns:a16="http://schemas.microsoft.com/office/drawing/2014/main" id="{58D9E88C-AA4F-E33E-5725-AC729C52AB54}"/>
              </a:ext>
            </a:extLst>
          </p:cNvPr>
          <p:cNvSpPr txBox="1"/>
          <p:nvPr/>
        </p:nvSpPr>
        <p:spPr>
          <a:xfrm>
            <a:off x="5288521" y="2028583"/>
            <a:ext cx="1932206" cy="153888"/>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Qué</a:t>
            </a:r>
            <a:r>
              <a:rPr kumimoji="0" lang="es-es" sz="10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 es este agente</a:t>
            </a:r>
          </a:p>
        </p:txBody>
      </p:sp>
      <p:grpSp>
        <p:nvGrpSpPr>
          <p:cNvPr id="50" name="Group 49">
            <a:extLst>
              <a:ext uri="{FF2B5EF4-FFF2-40B4-BE49-F238E27FC236}">
                <a16:creationId xmlns:a16="http://schemas.microsoft.com/office/drawing/2014/main" id="{2D839618-3797-85FE-AB21-8EC9F5AE2879}"/>
              </a:ext>
              <a:ext uri="{C183D7F6-B498-43B3-948B-1728B52AA6E4}">
                <adec:decorative xmlns:adec="http://schemas.microsoft.com/office/drawing/2017/decorative" val="1"/>
              </a:ext>
            </a:extLst>
          </p:cNvPr>
          <p:cNvGrpSpPr/>
          <p:nvPr/>
        </p:nvGrpSpPr>
        <p:grpSpPr>
          <a:xfrm>
            <a:off x="5151298" y="1956260"/>
            <a:ext cx="1818162" cy="817495"/>
            <a:chOff x="3771385" y="5402085"/>
            <a:chExt cx="1671567" cy="831347"/>
          </a:xfrm>
        </p:grpSpPr>
        <p:sp>
          <p:nvSpPr>
            <p:cNvPr id="53" name="Arc 52">
              <a:extLst>
                <a:ext uri="{FF2B5EF4-FFF2-40B4-BE49-F238E27FC236}">
                  <a16:creationId xmlns:a16="http://schemas.microsoft.com/office/drawing/2014/main" id="{9A28579B-4B16-D5F7-B82C-603D7C426E1D}"/>
                </a:ext>
              </a:extLst>
            </p:cNvPr>
            <p:cNvSpPr/>
            <p:nvPr/>
          </p:nvSpPr>
          <p:spPr>
            <a:xfrm>
              <a:off x="5124705" y="5913032"/>
              <a:ext cx="318247" cy="320400"/>
            </a:xfrm>
            <a:prstGeom prst="arc">
              <a:avLst>
                <a:gd name="adj1" fmla="val 1589845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54" name="Straight Arrow Connector 53">
              <a:extLst>
                <a:ext uri="{FF2B5EF4-FFF2-40B4-BE49-F238E27FC236}">
                  <a16:creationId xmlns:a16="http://schemas.microsoft.com/office/drawing/2014/main" id="{027EB6AD-CD29-FF92-3AAF-6F02B4FBBF93}"/>
                </a:ext>
              </a:extLst>
            </p:cNvPr>
            <p:cNvCxnSpPr>
              <a:cxnSpLocks/>
            </p:cNvCxnSpPr>
            <p:nvPr/>
          </p:nvCxnSpPr>
          <p:spPr>
            <a:xfrm>
              <a:off x="5442952" y="6052733"/>
              <a:ext cx="0" cy="169629"/>
            </a:xfrm>
            <a:prstGeom prst="straightConnector1">
              <a:avLst/>
            </a:prstGeom>
            <a:ln w="12700">
              <a:solidFill>
                <a:srgbClr val="C2C2C2"/>
              </a:solidFill>
              <a:tailEnd type="arrow"/>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A2444DF-C252-FCD9-2DFB-8D6C9F830866}"/>
                </a:ext>
              </a:extLst>
            </p:cNvPr>
            <p:cNvCxnSpPr>
              <a:cxnSpLocks/>
            </p:cNvCxnSpPr>
            <p:nvPr/>
          </p:nvCxnSpPr>
          <p:spPr>
            <a:xfrm flipH="1" flipV="1">
              <a:off x="3923424" y="5912832"/>
              <a:ext cx="1346371" cy="824"/>
            </a:xfrm>
            <a:prstGeom prst="line">
              <a:avLst/>
            </a:prstGeom>
            <a:ln w="12700">
              <a:solidFill>
                <a:srgbClr val="C2C2C2"/>
              </a:solidFill>
            </a:ln>
          </p:spPr>
          <p:style>
            <a:lnRef idx="1">
              <a:schemeClr val="accent1"/>
            </a:lnRef>
            <a:fillRef idx="0">
              <a:schemeClr val="accent1"/>
            </a:fillRef>
            <a:effectRef idx="0">
              <a:schemeClr val="accent1"/>
            </a:effectRef>
            <a:fontRef idx="minor">
              <a:schemeClr val="tx1"/>
            </a:fontRef>
          </p:style>
        </p:cxnSp>
        <p:sp>
          <p:nvSpPr>
            <p:cNvPr id="56" name="Arc 55">
              <a:extLst>
                <a:ext uri="{FF2B5EF4-FFF2-40B4-BE49-F238E27FC236}">
                  <a16:creationId xmlns:a16="http://schemas.microsoft.com/office/drawing/2014/main" id="{B06B25BE-1903-7EFB-2603-083ADF39E2D4}"/>
                </a:ext>
              </a:extLst>
            </p:cNvPr>
            <p:cNvSpPr/>
            <p:nvPr/>
          </p:nvSpPr>
          <p:spPr>
            <a:xfrm rot="10800000">
              <a:off x="3771385" y="5592591"/>
              <a:ext cx="318247" cy="320400"/>
            </a:xfrm>
            <a:prstGeom prst="arc">
              <a:avLst>
                <a:gd name="adj1" fmla="val 1635207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57" name="Straight Connector 56">
              <a:extLst>
                <a:ext uri="{FF2B5EF4-FFF2-40B4-BE49-F238E27FC236}">
                  <a16:creationId xmlns:a16="http://schemas.microsoft.com/office/drawing/2014/main" id="{5EE6D720-BB3A-7F03-5981-0A25DCF37E8F}"/>
                </a:ext>
              </a:extLst>
            </p:cNvPr>
            <p:cNvCxnSpPr>
              <a:cxnSpLocks/>
            </p:cNvCxnSpPr>
            <p:nvPr/>
          </p:nvCxnSpPr>
          <p:spPr>
            <a:xfrm>
              <a:off x="3771526" y="5402085"/>
              <a:ext cx="0" cy="357457"/>
            </a:xfrm>
            <a:prstGeom prst="line">
              <a:avLst/>
            </a:prstGeom>
            <a:ln w="12700">
              <a:gradFill flip="none" rotWithShape="1">
                <a:gsLst>
                  <a:gs pos="0">
                    <a:srgbClr val="C2C2C2"/>
                  </a:gs>
                  <a:gs pos="9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sp>
        <p:nvSpPr>
          <p:cNvPr id="58" name="Rounded Rectangle 26">
            <a:extLst>
              <a:ext uri="{FF2B5EF4-FFF2-40B4-BE49-F238E27FC236}">
                <a16:creationId xmlns:a16="http://schemas.microsoft.com/office/drawing/2014/main" id="{880152F7-E65C-7370-7906-A6B45382A734}"/>
              </a:ext>
            </a:extLst>
          </p:cNvPr>
          <p:cNvSpPr/>
          <p:nvPr/>
        </p:nvSpPr>
        <p:spPr bwMode="auto">
          <a:xfrm>
            <a:off x="9173730" y="1609562"/>
            <a:ext cx="1664365" cy="317873"/>
          </a:xfrm>
          <a:prstGeom prst="roundRect">
            <a:avLst>
              <a:gd name="adj" fmla="val 50000"/>
            </a:avLst>
          </a:prstGeom>
          <a:solidFill>
            <a:schemeClr val="bg1"/>
          </a:solidFill>
          <a:ln w="15875">
            <a:solidFill>
              <a:srgbClr val="C03BC4"/>
            </a:solid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a:ln>
                  <a:noFill/>
                </a:ln>
                <a:solidFill>
                  <a:srgbClr val="C03BC4"/>
                </a:solidFill>
                <a:effectLst/>
                <a:uLnTx/>
                <a:uFillTx/>
                <a:latin typeface="Segoe UI Semibold"/>
                <a:ea typeface="+mn-ea"/>
                <a:cs typeface="Segoe UI Semibold" panose="020B0502040204020203" pitchFamily="34" charset="0"/>
              </a:rPr>
              <a:t>Pautas</a:t>
            </a:r>
          </a:p>
        </p:txBody>
      </p:sp>
      <p:sp>
        <p:nvSpPr>
          <p:cNvPr id="59" name="TextBox 9">
            <a:extLst>
              <a:ext uri="{FF2B5EF4-FFF2-40B4-BE49-F238E27FC236}">
                <a16:creationId xmlns:a16="http://schemas.microsoft.com/office/drawing/2014/main" id="{8301D11B-DB54-1B19-1553-6AB02F9FA1EF}"/>
              </a:ext>
            </a:extLst>
          </p:cNvPr>
          <p:cNvSpPr txBox="1"/>
          <p:nvPr/>
        </p:nvSpPr>
        <p:spPr>
          <a:xfrm>
            <a:off x="9173730" y="1981083"/>
            <a:ext cx="1729095" cy="615553"/>
          </a:xfrm>
          <a:prstGeom prst="rect">
            <a:avLst/>
          </a:prstGeom>
          <a:noFill/>
        </p:spPr>
        <p:txBody>
          <a:bodyPr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s-es" sz="1000" b="0" i="0" u="none" strike="noStrike" kern="1200" cap="none" normalizeH="0" noProof="0" dirty="0">
                <a:ln>
                  <a:noFill/>
                </a:ln>
                <a:solidFill>
                  <a:prstClr val="black"/>
                </a:solidFill>
                <a:effectLst/>
                <a:uLnTx/>
                <a:uFillTx/>
                <a:latin typeface="Segoe UI"/>
                <a:ea typeface="+mn-ea"/>
                <a:cs typeface="Segoe UI Semibold"/>
              </a:rPr>
              <a:t>Fíjate en cómo pueden </a:t>
            </a:r>
            <a:br>
              <a:rPr kumimoji="0" lang="es-es" sz="1000" b="0" i="0" u="none" strike="noStrike" kern="1200" cap="none" normalizeH="0" noProof="0" dirty="0">
                <a:ln>
                  <a:noFill/>
                </a:ln>
                <a:solidFill>
                  <a:prstClr val="black"/>
                </a:solidFill>
                <a:effectLst/>
                <a:uLnTx/>
                <a:uFillTx/>
                <a:latin typeface="Segoe UI"/>
                <a:ea typeface="+mn-ea"/>
                <a:cs typeface="Segoe UI Semibold"/>
              </a:rPr>
            </a:br>
            <a:r>
              <a:rPr kumimoji="0" lang="es-es" sz="1000" b="0" i="0" u="none" strike="noStrike" kern="1200" cap="none" normalizeH="0" noProof="0" dirty="0">
                <a:ln>
                  <a:noFill/>
                </a:ln>
                <a:solidFill>
                  <a:prstClr val="black"/>
                </a:solidFill>
                <a:effectLst/>
                <a:uLnTx/>
                <a:uFillTx/>
                <a:latin typeface="Segoe UI"/>
                <a:ea typeface="+mn-ea"/>
                <a:cs typeface="Segoe UI Semibold"/>
              </a:rPr>
              <a:t>usarse las directrices para definir restricciones, tono </a:t>
            </a:r>
            <a:br>
              <a:rPr kumimoji="0" lang="es-es" sz="1000" b="0" i="0" u="none" strike="noStrike" kern="1200" cap="none" normalizeH="0" noProof="0" dirty="0">
                <a:ln>
                  <a:noFill/>
                </a:ln>
                <a:solidFill>
                  <a:prstClr val="black"/>
                </a:solidFill>
                <a:effectLst/>
                <a:uLnTx/>
                <a:uFillTx/>
                <a:latin typeface="Segoe UI"/>
                <a:ea typeface="+mn-ea"/>
                <a:cs typeface="Segoe UI Semibold"/>
              </a:rPr>
            </a:br>
            <a:r>
              <a:rPr kumimoji="0" lang="es-es" sz="1000" b="0" i="0" u="none" strike="noStrike" kern="1200" cap="none" normalizeH="0" noProof="0" dirty="0">
                <a:ln>
                  <a:noFill/>
                </a:ln>
                <a:solidFill>
                  <a:prstClr val="black"/>
                </a:solidFill>
                <a:effectLst/>
                <a:uLnTx/>
                <a:uFillTx/>
                <a:latin typeface="Segoe UI"/>
                <a:ea typeface="+mn-ea"/>
                <a:cs typeface="Segoe UI Semibold"/>
              </a:rPr>
              <a:t>y glosario. </a:t>
            </a:r>
            <a:endParaRPr kumimoji="0" lang="en-US" sz="1000" b="0" i="0" u="none" strike="noStrike" kern="1200" cap="none" normalizeH="0" noProof="0" dirty="0">
              <a:ln>
                <a:noFill/>
              </a:ln>
              <a:solidFill>
                <a:prstClr val="black"/>
              </a:solidFill>
              <a:effectLst/>
              <a:uLnTx/>
              <a:uFillTx/>
              <a:latin typeface="Segoe UI"/>
              <a:ea typeface="+mn-ea"/>
              <a:cs typeface="Segoe UI"/>
            </a:endParaRPr>
          </a:p>
        </p:txBody>
      </p:sp>
      <p:grpSp>
        <p:nvGrpSpPr>
          <p:cNvPr id="2" name="Group 1">
            <a:extLst>
              <a:ext uri="{FF2B5EF4-FFF2-40B4-BE49-F238E27FC236}">
                <a16:creationId xmlns:a16="http://schemas.microsoft.com/office/drawing/2014/main" id="{7847878F-A74E-CD74-B8CC-E7FF3A17ED4B}"/>
              </a:ext>
              <a:ext uri="{C183D7F6-B498-43B3-948B-1728B52AA6E4}">
                <adec:decorative xmlns:adec="http://schemas.microsoft.com/office/drawing/2017/decorative" val="1"/>
              </a:ext>
            </a:extLst>
          </p:cNvPr>
          <p:cNvGrpSpPr/>
          <p:nvPr/>
        </p:nvGrpSpPr>
        <p:grpSpPr>
          <a:xfrm>
            <a:off x="10729747" y="1933002"/>
            <a:ext cx="955779" cy="1301784"/>
            <a:chOff x="10783013" y="2227629"/>
            <a:chExt cx="955779" cy="1301784"/>
          </a:xfrm>
        </p:grpSpPr>
        <p:sp>
          <p:nvSpPr>
            <p:cNvPr id="60" name="Arc 59">
              <a:extLst>
                <a:ext uri="{FF2B5EF4-FFF2-40B4-BE49-F238E27FC236}">
                  <a16:creationId xmlns:a16="http://schemas.microsoft.com/office/drawing/2014/main" id="{85C28C2D-FBB9-E939-5440-5D63D9883E9B}"/>
                </a:ext>
                <a:ext uri="{C183D7F6-B498-43B3-948B-1728B52AA6E4}">
                  <adec:decorative xmlns:adec="http://schemas.microsoft.com/office/drawing/2017/decorative" val="1"/>
                </a:ext>
              </a:extLst>
            </p:cNvPr>
            <p:cNvSpPr/>
            <p:nvPr/>
          </p:nvSpPr>
          <p:spPr>
            <a:xfrm>
              <a:off x="11392635" y="2730081"/>
              <a:ext cx="346157" cy="315061"/>
            </a:xfrm>
            <a:prstGeom prst="arc">
              <a:avLst>
                <a:gd name="adj1" fmla="val 1589845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61" name="Straight Arrow Connector 60">
              <a:extLst>
                <a:ext uri="{FF2B5EF4-FFF2-40B4-BE49-F238E27FC236}">
                  <a16:creationId xmlns:a16="http://schemas.microsoft.com/office/drawing/2014/main" id="{92301907-8A29-97CF-FF03-B5A117229777}"/>
                </a:ext>
                <a:ext uri="{C183D7F6-B498-43B3-948B-1728B52AA6E4}">
                  <adec:decorative xmlns:adec="http://schemas.microsoft.com/office/drawing/2017/decorative" val="1"/>
                </a:ext>
              </a:extLst>
            </p:cNvPr>
            <p:cNvCxnSpPr>
              <a:cxnSpLocks/>
            </p:cNvCxnSpPr>
            <p:nvPr/>
          </p:nvCxnSpPr>
          <p:spPr>
            <a:xfrm>
              <a:off x="11736692" y="2863588"/>
              <a:ext cx="0" cy="665825"/>
            </a:xfrm>
            <a:prstGeom prst="straightConnector1">
              <a:avLst/>
            </a:prstGeom>
            <a:ln w="12700">
              <a:solidFill>
                <a:srgbClr val="C2C2C2"/>
              </a:solidFill>
              <a:tailEnd type="arrow"/>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948C38C-1CA9-A8A7-8CA7-D7ACC33C6141}"/>
                </a:ext>
                <a:ext uri="{C183D7F6-B498-43B3-948B-1728B52AA6E4}">
                  <adec:decorative xmlns:adec="http://schemas.microsoft.com/office/drawing/2017/decorative" val="1"/>
                </a:ext>
              </a:extLst>
            </p:cNvPr>
            <p:cNvCxnSpPr>
              <a:cxnSpLocks/>
            </p:cNvCxnSpPr>
            <p:nvPr/>
          </p:nvCxnSpPr>
          <p:spPr>
            <a:xfrm flipH="1">
              <a:off x="10948386" y="2729865"/>
              <a:ext cx="603042" cy="0"/>
            </a:xfrm>
            <a:prstGeom prst="line">
              <a:avLst/>
            </a:prstGeom>
            <a:ln w="12700">
              <a:solidFill>
                <a:srgbClr val="C2C2C2"/>
              </a:solidFill>
            </a:ln>
          </p:spPr>
          <p:style>
            <a:lnRef idx="1">
              <a:schemeClr val="accent1"/>
            </a:lnRef>
            <a:fillRef idx="0">
              <a:schemeClr val="accent1"/>
            </a:fillRef>
            <a:effectRef idx="0">
              <a:schemeClr val="accent1"/>
            </a:effectRef>
            <a:fontRef idx="minor">
              <a:schemeClr val="tx1"/>
            </a:fontRef>
          </p:style>
        </p:cxnSp>
        <p:sp>
          <p:nvSpPr>
            <p:cNvPr id="63" name="Arc 62">
              <a:extLst>
                <a:ext uri="{FF2B5EF4-FFF2-40B4-BE49-F238E27FC236}">
                  <a16:creationId xmlns:a16="http://schemas.microsoft.com/office/drawing/2014/main" id="{6DBA41C5-5B41-8E64-1E33-4C5C875BC853}"/>
                </a:ext>
                <a:ext uri="{C183D7F6-B498-43B3-948B-1728B52AA6E4}">
                  <adec:decorative xmlns:adec="http://schemas.microsoft.com/office/drawing/2017/decorative" val="1"/>
                </a:ext>
              </a:extLst>
            </p:cNvPr>
            <p:cNvSpPr/>
            <p:nvPr/>
          </p:nvSpPr>
          <p:spPr>
            <a:xfrm rot="10800000">
              <a:off x="10783013" y="2412708"/>
              <a:ext cx="346157" cy="315061"/>
            </a:xfrm>
            <a:prstGeom prst="arc">
              <a:avLst>
                <a:gd name="adj1" fmla="val 16352078"/>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64" name="Straight Connector 63">
              <a:extLst>
                <a:ext uri="{FF2B5EF4-FFF2-40B4-BE49-F238E27FC236}">
                  <a16:creationId xmlns:a16="http://schemas.microsoft.com/office/drawing/2014/main" id="{288F1339-79CC-A100-98B5-14A877F24A19}"/>
                </a:ext>
                <a:ext uri="{C183D7F6-B498-43B3-948B-1728B52AA6E4}">
                  <adec:decorative xmlns:adec="http://schemas.microsoft.com/office/drawing/2017/decorative" val="1"/>
                </a:ext>
              </a:extLst>
            </p:cNvPr>
            <p:cNvCxnSpPr>
              <a:cxnSpLocks/>
            </p:cNvCxnSpPr>
            <p:nvPr/>
          </p:nvCxnSpPr>
          <p:spPr>
            <a:xfrm>
              <a:off x="10783166" y="2227629"/>
              <a:ext cx="0" cy="351500"/>
            </a:xfrm>
            <a:prstGeom prst="line">
              <a:avLst/>
            </a:prstGeom>
            <a:ln w="12700">
              <a:gradFill flip="none" rotWithShape="1">
                <a:gsLst>
                  <a:gs pos="0">
                    <a:srgbClr val="C2C2C2"/>
                  </a:gs>
                  <a:gs pos="9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7DAE7BAF-5D85-4A8B-90C3-73B574CA5983}"/>
              </a:ext>
              <a:ext uri="{C183D7F6-B498-43B3-948B-1728B52AA6E4}">
                <adec:decorative xmlns:adec="http://schemas.microsoft.com/office/drawing/2017/decorative" val="1"/>
              </a:ext>
            </a:extLst>
          </p:cNvPr>
          <p:cNvGrpSpPr/>
          <p:nvPr/>
        </p:nvGrpSpPr>
        <p:grpSpPr>
          <a:xfrm rot="10800000" flipH="1">
            <a:off x="5062226" y="5188758"/>
            <a:ext cx="2353527" cy="664188"/>
            <a:chOff x="3769739" y="7162102"/>
            <a:chExt cx="859302" cy="814343"/>
          </a:xfrm>
        </p:grpSpPr>
        <p:grpSp>
          <p:nvGrpSpPr>
            <p:cNvPr id="76" name="Group 75">
              <a:extLst>
                <a:ext uri="{FF2B5EF4-FFF2-40B4-BE49-F238E27FC236}">
                  <a16:creationId xmlns:a16="http://schemas.microsoft.com/office/drawing/2014/main" id="{99EFF049-3032-7AC6-7CF4-11285991DAE3}"/>
                </a:ext>
              </a:extLst>
            </p:cNvPr>
            <p:cNvGrpSpPr/>
            <p:nvPr/>
          </p:nvGrpSpPr>
          <p:grpSpPr>
            <a:xfrm>
              <a:off x="4310794" y="7656045"/>
              <a:ext cx="318247" cy="320400"/>
              <a:chOff x="4310794" y="7656045"/>
              <a:chExt cx="318247" cy="320400"/>
            </a:xfrm>
          </p:grpSpPr>
          <p:sp>
            <p:nvSpPr>
              <p:cNvPr id="80" name="Arc 79">
                <a:extLst>
                  <a:ext uri="{FF2B5EF4-FFF2-40B4-BE49-F238E27FC236}">
                    <a16:creationId xmlns:a16="http://schemas.microsoft.com/office/drawing/2014/main" id="{82D4226E-D60A-EFAB-8F15-D3FDF778D6DD}"/>
                  </a:ext>
                </a:extLst>
              </p:cNvPr>
              <p:cNvSpPr/>
              <p:nvPr/>
            </p:nvSpPr>
            <p:spPr>
              <a:xfrm>
                <a:off x="4310794" y="7656045"/>
                <a:ext cx="318247" cy="320400"/>
              </a:xfrm>
              <a:prstGeom prst="arc">
                <a:avLst>
                  <a:gd name="adj1" fmla="val 15847894"/>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81" name="Straight Arrow Connector 80">
                <a:extLst>
                  <a:ext uri="{FF2B5EF4-FFF2-40B4-BE49-F238E27FC236}">
                    <a16:creationId xmlns:a16="http://schemas.microsoft.com/office/drawing/2014/main" id="{DA4DBDF9-6E43-3F67-F7FB-7FDBAB95A914}"/>
                  </a:ext>
                </a:extLst>
              </p:cNvPr>
              <p:cNvCxnSpPr>
                <a:cxnSpLocks/>
              </p:cNvCxnSpPr>
              <p:nvPr/>
            </p:nvCxnSpPr>
            <p:spPr>
              <a:xfrm rot="10800000" flipH="1" flipV="1">
                <a:off x="4625837" y="7778586"/>
                <a:ext cx="141" cy="157219"/>
              </a:xfrm>
              <a:prstGeom prst="straightConnector1">
                <a:avLst/>
              </a:prstGeom>
              <a:ln w="12700">
                <a:solidFill>
                  <a:srgbClr val="C2C2C2"/>
                </a:solidFill>
                <a:tailEnd type="arrow"/>
              </a:ln>
            </p:spPr>
            <p:style>
              <a:lnRef idx="1">
                <a:schemeClr val="accent1"/>
              </a:lnRef>
              <a:fillRef idx="0">
                <a:schemeClr val="accent1"/>
              </a:fillRef>
              <a:effectRef idx="0">
                <a:schemeClr val="accent1"/>
              </a:effectRef>
              <a:fontRef idx="minor">
                <a:schemeClr val="tx1"/>
              </a:fontRef>
            </p:style>
          </p:cxnSp>
        </p:grpSp>
        <p:cxnSp>
          <p:nvCxnSpPr>
            <p:cNvPr id="77" name="Straight Connector 76">
              <a:extLst>
                <a:ext uri="{FF2B5EF4-FFF2-40B4-BE49-F238E27FC236}">
                  <a16:creationId xmlns:a16="http://schemas.microsoft.com/office/drawing/2014/main" id="{19D6900F-31D0-A338-D38C-8D6D5066CE9B}"/>
                </a:ext>
              </a:extLst>
            </p:cNvPr>
            <p:cNvCxnSpPr>
              <a:cxnSpLocks/>
            </p:cNvCxnSpPr>
            <p:nvPr/>
          </p:nvCxnSpPr>
          <p:spPr>
            <a:xfrm rot="10800000">
              <a:off x="3923719" y="7653272"/>
              <a:ext cx="546199" cy="0"/>
            </a:xfrm>
            <a:prstGeom prst="line">
              <a:avLst/>
            </a:prstGeom>
            <a:ln w="12700">
              <a:solidFill>
                <a:srgbClr val="C2C2C2"/>
              </a:solidFill>
            </a:ln>
          </p:spPr>
          <p:style>
            <a:lnRef idx="1">
              <a:schemeClr val="accent1"/>
            </a:lnRef>
            <a:fillRef idx="0">
              <a:schemeClr val="accent1"/>
            </a:fillRef>
            <a:effectRef idx="0">
              <a:schemeClr val="accent1"/>
            </a:effectRef>
            <a:fontRef idx="minor">
              <a:schemeClr val="tx1"/>
            </a:fontRef>
          </p:style>
        </p:cxnSp>
        <p:sp>
          <p:nvSpPr>
            <p:cNvPr id="78" name="Arc 77">
              <a:extLst>
                <a:ext uri="{FF2B5EF4-FFF2-40B4-BE49-F238E27FC236}">
                  <a16:creationId xmlns:a16="http://schemas.microsoft.com/office/drawing/2014/main" id="{923C861C-51B4-C66F-E81D-4810ADB10AE6}"/>
                </a:ext>
              </a:extLst>
            </p:cNvPr>
            <p:cNvSpPr/>
            <p:nvPr/>
          </p:nvSpPr>
          <p:spPr>
            <a:xfrm rot="10800000">
              <a:off x="3769739" y="7337212"/>
              <a:ext cx="318247" cy="320400"/>
            </a:xfrm>
            <a:prstGeom prst="arc">
              <a:avLst>
                <a:gd name="adj1" fmla="val 15847894"/>
                <a:gd name="adj2" fmla="val 21454107"/>
              </a:avLst>
            </a:prstGeom>
            <a:ln w="12700">
              <a:solidFill>
                <a:srgbClr val="C2C2C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cxnSp>
          <p:nvCxnSpPr>
            <p:cNvPr id="79" name="Straight Connector 78">
              <a:extLst>
                <a:ext uri="{FF2B5EF4-FFF2-40B4-BE49-F238E27FC236}">
                  <a16:creationId xmlns:a16="http://schemas.microsoft.com/office/drawing/2014/main" id="{18148054-CC14-7B21-E3C9-7959B87494EE}"/>
                </a:ext>
              </a:extLst>
            </p:cNvPr>
            <p:cNvCxnSpPr>
              <a:cxnSpLocks/>
            </p:cNvCxnSpPr>
            <p:nvPr/>
          </p:nvCxnSpPr>
          <p:spPr>
            <a:xfrm>
              <a:off x="3772551" y="7162102"/>
              <a:ext cx="0" cy="353943"/>
            </a:xfrm>
            <a:prstGeom prst="line">
              <a:avLst/>
            </a:prstGeom>
            <a:ln w="12700">
              <a:gradFill flip="none" rotWithShape="1">
                <a:gsLst>
                  <a:gs pos="0">
                    <a:srgbClr val="C2C2C2"/>
                  </a:gs>
                  <a:gs pos="9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sp>
        <p:nvSpPr>
          <p:cNvPr id="82" name="TextBox 6">
            <a:extLst>
              <a:ext uri="{FF2B5EF4-FFF2-40B4-BE49-F238E27FC236}">
                <a16:creationId xmlns:a16="http://schemas.microsoft.com/office/drawing/2014/main" id="{C76ADCEF-09A5-95E5-F1BF-9D6C7C860C1C}"/>
              </a:ext>
            </a:extLst>
          </p:cNvPr>
          <p:cNvSpPr txBox="1"/>
          <p:nvPr/>
        </p:nvSpPr>
        <p:spPr>
          <a:xfrm>
            <a:off x="6763011" y="5686579"/>
            <a:ext cx="5063229" cy="276999"/>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s-es" sz="900" b="0" i="0" u="none" strike="noStrike" kern="1200" cap="none" normalizeH="0" noProof="0" dirty="0">
                <a:ln>
                  <a:noFill/>
                </a:ln>
                <a:solidFill>
                  <a:prstClr val="black"/>
                </a:solidFill>
                <a:effectLst/>
                <a:uLnTx/>
                <a:uFillTx/>
                <a:latin typeface="Segoe UI"/>
                <a:ea typeface="+mn-ea"/>
                <a:cs typeface="Segoe UI" panose="020B0502040204020203" pitchFamily="34" charset="0"/>
              </a:rPr>
              <a:t>En este ejemplo, el formato de respuesta se estandariza para cumplir con la experiencia prevista </a:t>
            </a:r>
            <a:br>
              <a:rPr kumimoji="0" lang="es-es" sz="900" b="0" i="0" u="none" strike="noStrike" kern="1200" cap="none" normalizeH="0" noProof="0" dirty="0">
                <a:ln>
                  <a:noFill/>
                </a:ln>
                <a:solidFill>
                  <a:prstClr val="black"/>
                </a:solidFill>
                <a:effectLst/>
                <a:uLnTx/>
                <a:uFillTx/>
                <a:latin typeface="Segoe UI"/>
                <a:ea typeface="+mn-ea"/>
                <a:cs typeface="Segoe UI" panose="020B0502040204020203" pitchFamily="34" charset="0"/>
              </a:rPr>
            </a:br>
            <a:r>
              <a:rPr kumimoji="0" lang="es-es" sz="900" b="0" i="0" u="none" strike="noStrike" kern="1200" cap="none" normalizeH="0" noProof="0" dirty="0">
                <a:ln>
                  <a:noFill/>
                </a:ln>
                <a:solidFill>
                  <a:prstClr val="black"/>
                </a:solidFill>
                <a:effectLst/>
                <a:uLnTx/>
                <a:uFillTx/>
                <a:latin typeface="Segoe UI"/>
                <a:ea typeface="+mn-ea"/>
                <a:cs typeface="Segoe UI" panose="020B0502040204020203" pitchFamily="34" charset="0"/>
              </a:rPr>
              <a:t>de preguntas y respuestas; ** indica algo importante que debe hacer siempre el agente.</a:t>
            </a:r>
          </a:p>
        </p:txBody>
      </p:sp>
      <p:sp>
        <p:nvSpPr>
          <p:cNvPr id="83" name="Rounded Rectangle 34">
            <a:extLst>
              <a:ext uri="{FF2B5EF4-FFF2-40B4-BE49-F238E27FC236}">
                <a16:creationId xmlns:a16="http://schemas.microsoft.com/office/drawing/2014/main" id="{58C586DA-9805-4C7E-307B-C6BB3427F48D}"/>
              </a:ext>
            </a:extLst>
          </p:cNvPr>
          <p:cNvSpPr/>
          <p:nvPr/>
        </p:nvSpPr>
        <p:spPr bwMode="auto">
          <a:xfrm>
            <a:off x="4987963" y="5683973"/>
            <a:ext cx="1664365" cy="317873"/>
          </a:xfrm>
          <a:prstGeom prst="roundRect">
            <a:avLst>
              <a:gd name="adj" fmla="val 50000"/>
            </a:avLst>
          </a:prstGeom>
          <a:solidFill>
            <a:schemeClr val="bg1">
              <a:alpha val="99000"/>
            </a:schemeClr>
          </a:solidFill>
          <a:ln w="15875">
            <a:solidFill>
              <a:srgbClr val="FFA38B"/>
            </a:solidFill>
            <a:headEnd type="none" w="med" len="med"/>
            <a:tailEnd type="none" w="med" len="med"/>
          </a:ln>
          <a:effectLst>
            <a:outerShdw blurRad="1143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3600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a:ln>
                  <a:noFill/>
                </a:ln>
                <a:solidFill>
                  <a:srgbClr val="E25B00"/>
                </a:solidFill>
                <a:effectLst/>
                <a:uLnTx/>
                <a:uFillTx/>
                <a:latin typeface="Segoe UI Semibold"/>
                <a:ea typeface="+mn-ea"/>
                <a:cs typeface="Segoe UI Semibold" panose="020B0502040204020203" pitchFamily="34" charset="0"/>
              </a:rPr>
              <a:t>Habilidades</a:t>
            </a:r>
          </a:p>
        </p:txBody>
      </p:sp>
      <p:sp>
        <p:nvSpPr>
          <p:cNvPr id="65" name="TextBox 1">
            <a:extLst>
              <a:ext uri="{FF2B5EF4-FFF2-40B4-BE49-F238E27FC236}">
                <a16:creationId xmlns:a16="http://schemas.microsoft.com/office/drawing/2014/main" id="{15044E28-EFDC-3CA8-5811-C1FE36F78D58}"/>
              </a:ext>
            </a:extLst>
          </p:cNvPr>
          <p:cNvSpPr txBox="1"/>
          <p:nvPr/>
        </p:nvSpPr>
        <p:spPr>
          <a:xfrm>
            <a:off x="4553375" y="2700420"/>
            <a:ext cx="7351997" cy="2611036"/>
          </a:xfrm>
          <a:prstGeom prst="rect">
            <a:avLst/>
          </a:prstGeom>
          <a:noFill/>
        </p:spPr>
        <p:txBody>
          <a:bodyPr wrap="square" l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472" rtl="0" eaLnBrk="1" fontAlgn="base" latinLnBrk="0" hangingPunct="1">
              <a:lnSpc>
                <a:spcPct val="93000"/>
              </a:lnSpc>
              <a:spcBef>
                <a:spcPct val="0"/>
              </a:spcBef>
              <a:spcAft>
                <a:spcPct val="0"/>
              </a:spcAft>
              <a:buClrTx/>
              <a:buSzTx/>
              <a:buFontTx/>
              <a:buNone/>
              <a:tabLst/>
              <a:defRPr/>
            </a:pPr>
            <a:r>
              <a:rPr kumimoji="0" lang="es-es" sz="1600" b="0" i="0" u="none" strike="noStrike" kern="1200" cap="none" spc="0" normalizeH="0" baseline="0" noProof="0" dirty="0">
                <a:ln>
                  <a:noFill/>
                </a:ln>
                <a:solidFill>
                  <a:srgbClr val="008575"/>
                </a:solidFill>
                <a:effectLst/>
                <a:uLnTx/>
                <a:uFillTx/>
                <a:latin typeface="Consolas" panose="020B0609020204030204" pitchFamily="49" charset="0"/>
                <a:ea typeface="+mn-ea"/>
                <a:cs typeface="Segoe UI Semibold" panose="020B0502040204020203" pitchFamily="34" charset="0"/>
              </a:rPr>
              <a:t>Eres el agente corporativo de preguntas y respuestas que ayuda </a:t>
            </a:r>
            <a:br>
              <a:rPr kumimoji="0" lang="es-es" sz="1600" b="0" i="0" u="none" strike="noStrike" kern="1200" cap="none" spc="0" normalizeH="0" baseline="0" noProof="0" dirty="0">
                <a:ln>
                  <a:noFill/>
                </a:ln>
                <a:solidFill>
                  <a:srgbClr val="008575"/>
                </a:solidFill>
                <a:effectLst/>
                <a:uLnTx/>
                <a:uFillTx/>
                <a:latin typeface="Consolas" panose="020B0609020204030204" pitchFamily="49" charset="0"/>
                <a:ea typeface="+mn-ea"/>
                <a:cs typeface="Segoe UI Semibold" panose="020B0502040204020203" pitchFamily="34" charset="0"/>
              </a:rPr>
            </a:br>
            <a:r>
              <a:rPr kumimoji="0" lang="es-es" sz="1600" b="0" i="0" u="none" strike="noStrike" kern="1200" cap="none" spc="0" normalizeH="0" baseline="0" noProof="0" dirty="0">
                <a:ln>
                  <a:noFill/>
                </a:ln>
                <a:solidFill>
                  <a:srgbClr val="008575"/>
                </a:solidFill>
                <a:effectLst/>
                <a:uLnTx/>
                <a:uFillTx/>
                <a:latin typeface="Consolas" panose="020B0609020204030204" pitchFamily="49" charset="0"/>
                <a:ea typeface="+mn-ea"/>
                <a:cs typeface="Segoe UI Semibold" panose="020B0502040204020203" pitchFamily="34" charset="0"/>
              </a:rPr>
              <a:t>a compartir conocimientos corporativos. </a:t>
            </a:r>
            <a:br>
              <a:rPr dirty="0"/>
            </a:br>
            <a:r>
              <a:rPr kumimoji="0" lang="es-es" sz="1600" b="0" i="0" u="none" strike="noStrike" kern="1200" cap="none" spc="0" normalizeH="0" baseline="0" noProof="0" dirty="0">
                <a:ln>
                  <a:noFill/>
                </a:ln>
                <a:solidFill>
                  <a:srgbClr val="C03BC4"/>
                </a:solidFill>
                <a:effectLst/>
                <a:uLnTx/>
                <a:uFillTx/>
                <a:latin typeface="Consolas" panose="020B0609020204030204" pitchFamily="49" charset="0"/>
                <a:ea typeface="+mn-ea"/>
                <a:cs typeface="Segoe UI Semibold" panose="020B0502040204020203" pitchFamily="34" charset="0"/>
              </a:rPr>
              <a:t>Respondes a las preguntas de los usuarios con solo la base de conocimientos de Contoso y la documentación pública. Di “No lo sé” si no hay resultados pertinentes.</a:t>
            </a:r>
            <a:br>
              <a:rPr dirty="0"/>
            </a:br>
            <a:r>
              <a:rPr kumimoji="0" lang="es-es" sz="1600" b="0" i="0" u="none" strike="noStrike" kern="1200" cap="none" spc="0" normalizeH="0" baseline="0" noProof="0" dirty="0">
                <a:ln>
                  <a:noFill/>
                </a:ln>
                <a:solidFill>
                  <a:srgbClr val="C03BC4"/>
                </a:solidFill>
                <a:effectLst/>
                <a:uLnTx/>
                <a:uFillTx/>
                <a:latin typeface="Consolas" panose="020B0609020204030204" pitchFamily="49" charset="0"/>
                <a:ea typeface="+mn-ea"/>
                <a:cs typeface="Segoe UI Semibold" panose="020B0502040204020203" pitchFamily="34" charset="0"/>
              </a:rPr>
              <a:t>Sé amable y educado.</a:t>
            </a:r>
            <a:br>
              <a:rPr dirty="0"/>
            </a:br>
            <a:r>
              <a:rPr kumimoji="0" lang="es-es" sz="1600" b="0" i="0" u="none" strike="noStrike" kern="1200" cap="none" spc="0" normalizeH="0" baseline="0" noProof="0" dirty="0">
                <a:ln>
                  <a:noFill/>
                </a:ln>
                <a:solidFill>
                  <a:srgbClr val="C03BC4"/>
                </a:solidFill>
                <a:effectLst/>
                <a:uLnTx/>
                <a:uFillTx/>
                <a:latin typeface="Consolas" panose="020B0609020204030204" pitchFamily="49" charset="0"/>
                <a:ea typeface="+mn-ea"/>
                <a:cs typeface="Segoe UI Semibold" panose="020B0502040204020203" pitchFamily="34" charset="0"/>
              </a:rPr>
              <a:t>El acrónimo CE significa Contoso Electronics.</a:t>
            </a:r>
          </a:p>
          <a:p>
            <a:pPr marL="0" marR="0" lvl="0" indent="0" algn="l" defTabSz="932472" rtl="0" eaLnBrk="1" fontAlgn="base" latinLnBrk="0" hangingPunct="1">
              <a:lnSpc>
                <a:spcPct val="93000"/>
              </a:lnSpc>
              <a:spcBef>
                <a:spcPct val="0"/>
              </a:spcBef>
              <a:spcAft>
                <a:spcPct val="0"/>
              </a:spcAft>
              <a:buClrTx/>
              <a:buSzTx/>
              <a:buFontTx/>
              <a:buNone/>
              <a:tabLst/>
              <a:defRPr/>
            </a:pPr>
            <a:r>
              <a:rPr kumimoji="0" lang="es-es" sz="1600" b="0" i="0" u="none" strike="noStrike" kern="1200" cap="none" spc="0" normalizeH="0" baseline="0" noProof="0" dirty="0">
                <a:ln>
                  <a:noFill/>
                </a:ln>
                <a:solidFill>
                  <a:srgbClr val="E25B00"/>
                </a:solidFill>
                <a:effectLst/>
                <a:uLnTx/>
                <a:uFillTx/>
                <a:latin typeface="Consolas" panose="020B0609020204030204" pitchFamily="49" charset="0"/>
                <a:ea typeface="+mn-ea"/>
                <a:cs typeface="Segoe UI Semibold" panose="020B0502040204020203" pitchFamily="34" charset="0"/>
              </a:rPr>
              <a:t>Debes responder a las preguntas en el siguiente formato:</a:t>
            </a:r>
            <a:br>
              <a:rPr dirty="0"/>
            </a:br>
            <a:r>
              <a:rPr kumimoji="0" lang="es-es" sz="1600" b="0" i="0" u="none" strike="noStrike" kern="1200" cap="none" spc="0" normalizeH="0" baseline="0" noProof="0" dirty="0">
                <a:ln>
                  <a:noFill/>
                </a:ln>
                <a:solidFill>
                  <a:srgbClr val="E25B00"/>
                </a:solidFill>
                <a:effectLst/>
                <a:uLnTx/>
                <a:uFillTx/>
                <a:latin typeface="Consolas" panose="020B0609020204030204" pitchFamily="49" charset="0"/>
                <a:ea typeface="+mn-ea"/>
                <a:cs typeface="Segoe UI Semibold" panose="020B0502040204020203" pitchFamily="34" charset="0"/>
              </a:rPr>
              <a:t>Pregunta: **pregunta inferida del usuario en negrita**</a:t>
            </a:r>
          </a:p>
          <a:p>
            <a:pPr marL="0" marR="0" lvl="0" indent="0" algn="l" defTabSz="932472" rtl="0" eaLnBrk="1" fontAlgn="base" latinLnBrk="0" hangingPunct="1">
              <a:lnSpc>
                <a:spcPct val="93000"/>
              </a:lnSpc>
              <a:spcBef>
                <a:spcPct val="0"/>
              </a:spcBef>
              <a:spcAft>
                <a:spcPct val="0"/>
              </a:spcAft>
              <a:buClrTx/>
              <a:buSzTx/>
              <a:buFontTx/>
              <a:buNone/>
              <a:tabLst/>
              <a:defRPr/>
            </a:pPr>
            <a:r>
              <a:rPr kumimoji="0" lang="es-es" sz="1600" b="0" i="0" u="none" strike="noStrike" kern="1200" cap="none" spc="0" normalizeH="0" baseline="0" noProof="0" dirty="0">
                <a:ln>
                  <a:noFill/>
                </a:ln>
                <a:solidFill>
                  <a:srgbClr val="E25B00"/>
                </a:solidFill>
                <a:effectLst/>
                <a:uLnTx/>
                <a:uFillTx/>
                <a:latin typeface="Consolas" panose="020B0609020204030204" pitchFamily="49" charset="0"/>
                <a:ea typeface="+mn-ea"/>
                <a:cs typeface="Segoe UI Semibold" panose="020B0502040204020203" pitchFamily="34" charset="0"/>
              </a:rPr>
              <a:t>Respuesta: resultados reformulados para ser más relevantes </a:t>
            </a:r>
            <a:br>
              <a:rPr kumimoji="0" lang="es-es" sz="1600" b="0" i="0" u="none" strike="noStrike" kern="1200" cap="none" spc="0" normalizeH="0" baseline="0" noProof="0" dirty="0">
                <a:ln>
                  <a:noFill/>
                </a:ln>
                <a:solidFill>
                  <a:srgbClr val="E25B00"/>
                </a:solidFill>
                <a:effectLst/>
                <a:uLnTx/>
                <a:uFillTx/>
                <a:latin typeface="Consolas" panose="020B0609020204030204" pitchFamily="49" charset="0"/>
                <a:ea typeface="+mn-ea"/>
                <a:cs typeface="Segoe UI Semibold" panose="020B0502040204020203" pitchFamily="34" charset="0"/>
              </a:rPr>
            </a:br>
            <a:r>
              <a:rPr kumimoji="0" lang="es-es" sz="1600" b="0" i="0" u="none" strike="noStrike" kern="1200" cap="none" spc="0" normalizeH="0" baseline="0" noProof="0" dirty="0">
                <a:ln>
                  <a:noFill/>
                </a:ln>
                <a:solidFill>
                  <a:srgbClr val="E25B00"/>
                </a:solidFill>
                <a:effectLst/>
                <a:uLnTx/>
                <a:uFillTx/>
                <a:latin typeface="Consolas" panose="020B0609020204030204" pitchFamily="49" charset="0"/>
                <a:ea typeface="+mn-ea"/>
                <a:cs typeface="Segoe UI Semibold" panose="020B0502040204020203" pitchFamily="34" charset="0"/>
              </a:rPr>
              <a:t>para la consulta del usuario</a:t>
            </a:r>
          </a:p>
        </p:txBody>
      </p:sp>
      <p:sp>
        <p:nvSpPr>
          <p:cNvPr id="3" name="TextBox 2">
            <a:extLst>
              <a:ext uri="{FF2B5EF4-FFF2-40B4-BE49-F238E27FC236}">
                <a16:creationId xmlns:a16="http://schemas.microsoft.com/office/drawing/2014/main" id="{02AF355C-7778-75FC-3B19-66CF51C1A90E}"/>
              </a:ext>
            </a:extLst>
          </p:cNvPr>
          <p:cNvSpPr txBox="1"/>
          <p:nvPr/>
        </p:nvSpPr>
        <p:spPr>
          <a:xfrm>
            <a:off x="2483995" y="6376899"/>
            <a:ext cx="7495902" cy="363946"/>
          </a:xfrm>
          <a:prstGeom prst="rect">
            <a:avLst/>
          </a:prstGeom>
          <a:noFill/>
        </p:spPr>
        <p:txBody>
          <a:bodyPr wrap="square">
            <a:spAutoFit/>
          </a:bodyPr>
          <a:lstStyle/>
          <a:p>
            <a:pPr algn="ctr"/>
            <a:r>
              <a:rPr lang="es-es" dirty="0">
                <a:hlinkClick r:id="rId3"/>
              </a:rPr>
              <a:t>Escribe instrucciones efectivas para agentes declarativos | Microsoft </a:t>
            </a:r>
            <a:r>
              <a:rPr lang="es-es" dirty="0" err="1">
                <a:hlinkClick r:id="rId3"/>
              </a:rPr>
              <a:t>Learn</a:t>
            </a:r>
            <a:endParaRPr lang="en-US" dirty="0"/>
          </a:p>
        </p:txBody>
      </p:sp>
    </p:spTree>
    <p:extLst>
      <p:ext uri="{BB962C8B-B14F-4D97-AF65-F5344CB8AC3E}">
        <p14:creationId xmlns:p14="http://schemas.microsoft.com/office/powerpoint/2010/main" val="390066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F96191-9D5E-5CF6-B635-6437647463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27A62E-4BF4-DD6E-A0FB-948E5BB60DD2}"/>
              </a:ext>
            </a:extLst>
          </p:cNvPr>
          <p:cNvSpPr>
            <a:spLocks noGrp="1"/>
          </p:cNvSpPr>
          <p:nvPr>
            <p:ph type="title"/>
          </p:nvPr>
        </p:nvSpPr>
        <p:spPr>
          <a:xfrm>
            <a:off x="571499" y="2792795"/>
            <a:ext cx="4566557" cy="1200329"/>
          </a:xfrm>
          <a:prstGeom prst="rect">
            <a:avLst/>
          </a:prstGeom>
        </p:spPr>
        <p:txBody>
          <a:bodyPr/>
          <a:lstStyle/>
          <a:p>
            <a:r>
              <a:rPr lang="es-es" spc="0" dirty="0"/>
              <a:t>Presentación de los ejemplos de agentes</a:t>
            </a:r>
          </a:p>
        </p:txBody>
      </p:sp>
    </p:spTree>
    <p:extLst>
      <p:ext uri="{BB962C8B-B14F-4D97-AF65-F5344CB8AC3E}">
        <p14:creationId xmlns:p14="http://schemas.microsoft.com/office/powerpoint/2010/main" val="343153781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FC0D6E-A0BA-1D79-01E6-4014EC206055}"/>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E26E6A27-D592-10F4-AB8C-A355EDB7F322}"/>
              </a:ext>
            </a:extLst>
          </p:cNvPr>
          <p:cNvSpPr txBox="1">
            <a:spLocks noGrp="1"/>
          </p:cNvSpPr>
          <p:nvPr>
            <p:ph type="title"/>
          </p:nvPr>
        </p:nvSpPr>
        <p:spPr>
          <a:xfrm>
            <a:off x="588263" y="36448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s-es" sz="3200" dirty="0">
                <a:cs typeface="Segoe UI"/>
              </a:rPr>
              <a:t>Empieza a crear agentes mediante ejemplos de agentes </a:t>
            </a:r>
            <a:endParaRPr lang="en-US" sz="3200" b="0" i="0" u="none" strike="noStrike" kern="1200" cap="none" spc="-50" normalizeH="0" baseline="0" noProof="0" dirty="0">
              <a:ln w="3175">
                <a:noFill/>
              </a:ln>
              <a:solidFill>
                <a:srgbClr val="000000"/>
              </a:solidFill>
              <a:effectLst/>
              <a:uLnTx/>
              <a:uFillTx/>
              <a:latin typeface="Segoe UI Semibold"/>
              <a:cs typeface="Segoe UI"/>
            </a:endParaRPr>
          </a:p>
        </p:txBody>
      </p:sp>
      <p:sp>
        <p:nvSpPr>
          <p:cNvPr id="19" name="TextBox 18">
            <a:extLst>
              <a:ext uri="{FF2B5EF4-FFF2-40B4-BE49-F238E27FC236}">
                <a16:creationId xmlns:a16="http://schemas.microsoft.com/office/drawing/2014/main" id="{0B9D6C57-C85E-E97B-1185-881E853CD8FC}"/>
              </a:ext>
            </a:extLst>
          </p:cNvPr>
          <p:cNvSpPr txBox="1"/>
          <p:nvPr/>
        </p:nvSpPr>
        <p:spPr>
          <a:xfrm>
            <a:off x="527431" y="860814"/>
            <a:ext cx="11079351" cy="1423338"/>
          </a:xfrm>
          <a:prstGeom prst="rect">
            <a:avLst/>
          </a:prstGeom>
          <a:noFill/>
        </p:spPr>
        <p:txBody>
          <a:bodyPr wrap="square" lIns="91440" tIns="45720" rIns="91440" bIns="45720" rtlCol="0" anchor="t">
            <a:spAutoFit/>
          </a:bodyPr>
          <a:lstStyle/>
          <a:p>
            <a:pPr lvl="0" defTabSz="914400">
              <a:lnSpc>
                <a:spcPct val="93000"/>
              </a:lnSpc>
              <a:defRPr/>
            </a:pPr>
            <a:r>
              <a:rPr lang="es-es" sz="1400" dirty="0">
                <a:solidFill>
                  <a:srgbClr val="000000"/>
                </a:solidFill>
                <a:latin typeface="Segoe UI"/>
                <a:hlinkClick r:id="rId3"/>
              </a:rPr>
              <a:t>Los ejemplos de agentes</a:t>
            </a:r>
            <a:r>
              <a:rPr lang="es-es" sz="1400" dirty="0">
                <a:solidFill>
                  <a:srgbClr val="000000"/>
                </a:solidFill>
                <a:latin typeface="Segoe UI"/>
              </a:rPr>
              <a:t> ofrecen </a:t>
            </a:r>
            <a:r>
              <a:rPr lang="es-es" sz="1400" b="1" dirty="0">
                <a:solidFill>
                  <a:srgbClr val="000000"/>
                </a:solidFill>
                <a:latin typeface="Segoe UI"/>
              </a:rPr>
              <a:t>escenarios adicionales </a:t>
            </a:r>
            <a:r>
              <a:rPr lang="es-es" sz="1400" dirty="0">
                <a:solidFill>
                  <a:srgbClr val="000000"/>
                </a:solidFill>
                <a:latin typeface="Segoe UI"/>
              </a:rPr>
              <a:t>y están diseñados para crearlos con el generador de agentes de Copilot Studio </a:t>
            </a:r>
            <a:r>
              <a:rPr lang="es-es" sz="1400" dirty="0">
                <a:hlinkClick r:id="rId4"/>
              </a:rPr>
              <a:t>aka.ms/copilotquickstarts </a:t>
            </a:r>
            <a:endParaRPr lang="en-US" sz="1400" dirty="0">
              <a:solidFill>
                <a:srgbClr val="000000"/>
              </a:solidFill>
              <a:latin typeface="Segoe UI"/>
            </a:endParaRPr>
          </a:p>
          <a:p>
            <a:pPr lvl="0" defTabSz="914400">
              <a:lnSpc>
                <a:spcPct val="93000"/>
              </a:lnSpc>
              <a:defRPr/>
            </a:pPr>
            <a:endParaRPr lang="en-US" sz="1100" dirty="0">
              <a:solidFill>
                <a:srgbClr val="000000"/>
              </a:solidFill>
              <a:latin typeface="Segoe UI"/>
            </a:endParaRPr>
          </a:p>
          <a:p>
            <a:pPr defTabSz="914400">
              <a:lnSpc>
                <a:spcPct val="93000"/>
              </a:lnSpc>
              <a:defRPr/>
            </a:pPr>
            <a:r>
              <a:rPr lang="es-es" sz="1400" dirty="0">
                <a:solidFill>
                  <a:srgbClr val="000000"/>
                </a:solidFill>
                <a:latin typeface="Segoe Sans Display Semibold"/>
                <a:cs typeface="Segoe Sans Display Semibold"/>
              </a:rPr>
              <a:t>Inicia por los ejemplos de agentes, </a:t>
            </a:r>
            <a:r>
              <a:rPr lang="es-es" sz="1400" dirty="0">
                <a:solidFill>
                  <a:srgbClr val="000000"/>
                </a:solidFill>
                <a:latin typeface="Segoe UI"/>
              </a:rPr>
              <a:t>revisa el vídeo, descarga los recursos y selecciona “Nuevo agente” en el panel izquierdo de Copilot Chat. Utiliza los recursos proporcionados para crear tus propios agentes. </a:t>
            </a:r>
            <a:endParaRPr lang="en-US" sz="1400" dirty="0">
              <a:solidFill>
                <a:srgbClr val="000000"/>
              </a:solidFill>
              <a:latin typeface="Segoe UI"/>
              <a:cs typeface="Segoe UI"/>
            </a:endParaRPr>
          </a:p>
          <a:p>
            <a:pPr lvl="0" defTabSz="914400">
              <a:lnSpc>
                <a:spcPct val="93000"/>
              </a:lnSpc>
              <a:defRPr/>
            </a:pPr>
            <a:endParaRPr lang="en-US" sz="1100" dirty="0">
              <a:solidFill>
                <a:srgbClr val="000000"/>
              </a:solidFill>
              <a:latin typeface="Segoe UI"/>
            </a:endParaRPr>
          </a:p>
          <a:p>
            <a:pPr lvl="0" defTabSz="914400">
              <a:lnSpc>
                <a:spcPct val="93000"/>
              </a:lnSpc>
              <a:defRPr/>
            </a:pPr>
            <a:r>
              <a:rPr lang="es-es" sz="1400" dirty="0">
                <a:solidFill>
                  <a:srgbClr val="000000"/>
                </a:solidFill>
                <a:latin typeface="Segoe UI"/>
              </a:rPr>
              <a:t>Ejemplos de agentes de Microsoft para probar hoy:</a:t>
            </a:r>
          </a:p>
        </p:txBody>
      </p:sp>
      <p:grpSp>
        <p:nvGrpSpPr>
          <p:cNvPr id="41" name="Group 40">
            <a:extLst>
              <a:ext uri="{FF2B5EF4-FFF2-40B4-BE49-F238E27FC236}">
                <a16:creationId xmlns:a16="http://schemas.microsoft.com/office/drawing/2014/main" id="{F611B324-98B9-2818-B12D-08120D8A6748}"/>
              </a:ext>
            </a:extLst>
          </p:cNvPr>
          <p:cNvGrpSpPr/>
          <p:nvPr/>
        </p:nvGrpSpPr>
        <p:grpSpPr>
          <a:xfrm>
            <a:off x="571500" y="2342637"/>
            <a:ext cx="1674840" cy="1331689"/>
            <a:chOff x="563374" y="2616971"/>
            <a:chExt cx="2158060" cy="1726427"/>
          </a:xfrm>
        </p:grpSpPr>
        <p:sp>
          <p:nvSpPr>
            <p:cNvPr id="16" name="Rectangle: Rounded Corners 15">
              <a:extLst>
                <a:ext uri="{FF2B5EF4-FFF2-40B4-BE49-F238E27FC236}">
                  <a16:creationId xmlns:a16="http://schemas.microsoft.com/office/drawing/2014/main" id="{156740B3-9CEF-7AD2-D3C7-8FE0E35E813C}"/>
                </a:ext>
                <a:ext uri="{C183D7F6-B498-43B3-948B-1728B52AA6E4}">
                  <adec:decorative xmlns:adec="http://schemas.microsoft.com/office/drawing/2017/decorative" val="1"/>
                </a:ext>
              </a:extLst>
            </p:cNvPr>
            <p:cNvSpPr/>
            <p:nvPr/>
          </p:nvSpPr>
          <p:spPr bwMode="auto">
            <a:xfrm>
              <a:off x="563374" y="2636414"/>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TextBox 16">
              <a:extLst>
                <a:ext uri="{FF2B5EF4-FFF2-40B4-BE49-F238E27FC236}">
                  <a16:creationId xmlns:a16="http://schemas.microsoft.com/office/drawing/2014/main" id="{AFA998B9-0507-E3AA-DB02-197A41683F15}"/>
                </a:ext>
              </a:extLst>
            </p:cNvPr>
            <p:cNvSpPr txBox="1"/>
            <p:nvPr/>
          </p:nvSpPr>
          <p:spPr>
            <a:xfrm>
              <a:off x="691156" y="2616971"/>
              <a:ext cx="1881089" cy="558610"/>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gente de práctica de entrevista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18" name="TextBox 17">
              <a:extLst>
                <a:ext uri="{FF2B5EF4-FFF2-40B4-BE49-F238E27FC236}">
                  <a16:creationId xmlns:a16="http://schemas.microsoft.com/office/drawing/2014/main" id="{28271790-6B65-A80B-C3A7-F3EB274ED6C6}"/>
                </a:ext>
              </a:extLst>
            </p:cNvPr>
            <p:cNvSpPr txBox="1"/>
            <p:nvPr/>
          </p:nvSpPr>
          <p:spPr>
            <a:xfrm>
              <a:off x="563374" y="3889338"/>
              <a:ext cx="2072113" cy="39900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Mejora la preparación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para las entrevistas</a:t>
              </a:r>
            </a:p>
          </p:txBody>
        </p:sp>
      </p:grpSp>
      <p:grpSp>
        <p:nvGrpSpPr>
          <p:cNvPr id="43" name="Group 42">
            <a:extLst>
              <a:ext uri="{FF2B5EF4-FFF2-40B4-BE49-F238E27FC236}">
                <a16:creationId xmlns:a16="http://schemas.microsoft.com/office/drawing/2014/main" id="{A8731184-F0A5-E9B8-7B83-9C5F98222F33}"/>
              </a:ext>
            </a:extLst>
          </p:cNvPr>
          <p:cNvGrpSpPr/>
          <p:nvPr/>
        </p:nvGrpSpPr>
        <p:grpSpPr>
          <a:xfrm>
            <a:off x="543032" y="5148512"/>
            <a:ext cx="1730094" cy="1431981"/>
            <a:chOff x="2754259" y="2483170"/>
            <a:chExt cx="2240793" cy="1860229"/>
          </a:xfrm>
        </p:grpSpPr>
        <p:sp>
          <p:nvSpPr>
            <p:cNvPr id="7" name="Rectangle: Rounded Corners 6">
              <a:extLst>
                <a:ext uri="{FF2B5EF4-FFF2-40B4-BE49-F238E27FC236}">
                  <a16:creationId xmlns:a16="http://schemas.microsoft.com/office/drawing/2014/main" id="{45DDB20C-45AD-4E6F-28C1-50CC370790ED}"/>
                </a:ext>
                <a:ext uri="{C183D7F6-B498-43B3-948B-1728B52AA6E4}">
                  <adec:decorative xmlns:adec="http://schemas.microsoft.com/office/drawing/2017/decorative" val="1"/>
                </a:ext>
              </a:extLst>
            </p:cNvPr>
            <p:cNvSpPr/>
            <p:nvPr/>
          </p:nvSpPr>
          <p:spPr bwMode="auto">
            <a:xfrm>
              <a:off x="2791130" y="2636414"/>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33CE3923-26EF-1B5E-5360-26BFACBC51F1}"/>
                </a:ext>
              </a:extLst>
            </p:cNvPr>
            <p:cNvSpPr txBox="1"/>
            <p:nvPr/>
          </p:nvSpPr>
          <p:spPr>
            <a:xfrm>
              <a:off x="2754259" y="2483170"/>
              <a:ext cx="2240793" cy="779649"/>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gente de comentarios de compañero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9" name="TextBox 8">
              <a:extLst>
                <a:ext uri="{FF2B5EF4-FFF2-40B4-BE49-F238E27FC236}">
                  <a16:creationId xmlns:a16="http://schemas.microsoft.com/office/drawing/2014/main" id="{2002E022-5204-C198-23BC-1E2E7912E37E}"/>
                </a:ext>
              </a:extLst>
            </p:cNvPr>
            <p:cNvSpPr txBox="1"/>
            <p:nvPr/>
          </p:nvSpPr>
          <p:spPr>
            <a:xfrm>
              <a:off x="2858419" y="3815751"/>
              <a:ext cx="2015549" cy="399820"/>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s-es" sz="1000" dirty="0">
                  <a:solidFill>
                    <a:srgbClr val="000000"/>
                  </a:solidFill>
                  <a:latin typeface="Segoe UI"/>
                  <a:cs typeface="Segoe UI"/>
                </a:rPr>
                <a:t>E</a:t>
              </a:r>
              <a:r>
                <a:rPr kumimoji="0" lang="es-es" sz="1000" b="0" i="0" u="none" strike="noStrike" kern="1200" cap="none" spc="0" normalizeH="0" baseline="0" noProof="0" dirty="0">
                  <a:ln>
                    <a:noFill/>
                  </a:ln>
                  <a:solidFill>
                    <a:srgbClr val="000000"/>
                  </a:solidFill>
                  <a:effectLst/>
                  <a:uLnTx/>
                  <a:uFillTx/>
                  <a:latin typeface="Segoe UI"/>
                  <a:ea typeface="+mn-ea"/>
                  <a:cs typeface="Segoe UI"/>
                </a:rPr>
                <a:t>labora comentarios reflexivos y profesionales</a:t>
              </a:r>
            </a:p>
          </p:txBody>
        </p:sp>
      </p:grpSp>
      <p:grpSp>
        <p:nvGrpSpPr>
          <p:cNvPr id="45" name="Group 44">
            <a:extLst>
              <a:ext uri="{FF2B5EF4-FFF2-40B4-BE49-F238E27FC236}">
                <a16:creationId xmlns:a16="http://schemas.microsoft.com/office/drawing/2014/main" id="{0E0A3753-757E-865D-5DFD-66F9F7A59257}"/>
              </a:ext>
            </a:extLst>
          </p:cNvPr>
          <p:cNvGrpSpPr/>
          <p:nvPr/>
        </p:nvGrpSpPr>
        <p:grpSpPr>
          <a:xfrm>
            <a:off x="2667000" y="3811683"/>
            <a:ext cx="1675510" cy="1323157"/>
            <a:chOff x="5029590" y="2636415"/>
            <a:chExt cx="2158060" cy="1706984"/>
          </a:xfrm>
        </p:grpSpPr>
        <p:sp>
          <p:nvSpPr>
            <p:cNvPr id="10" name="Rectangle: Rounded Corners 9">
              <a:extLst>
                <a:ext uri="{FF2B5EF4-FFF2-40B4-BE49-F238E27FC236}">
                  <a16:creationId xmlns:a16="http://schemas.microsoft.com/office/drawing/2014/main" id="{698E5EA6-14D4-2F34-649D-14A6DB2D263F}"/>
                </a:ext>
                <a:ext uri="{C183D7F6-B498-43B3-948B-1728B52AA6E4}">
                  <adec:decorative xmlns:adec="http://schemas.microsoft.com/office/drawing/2017/decorative" val="1"/>
                </a:ext>
              </a:extLst>
            </p:cNvPr>
            <p:cNvSpPr/>
            <p:nvPr/>
          </p:nvSpPr>
          <p:spPr bwMode="auto">
            <a:xfrm>
              <a:off x="502959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AD63128A-4637-1DCA-29CC-2EC30B5D00CD}"/>
                </a:ext>
              </a:extLst>
            </p:cNvPr>
            <p:cNvSpPr txBox="1"/>
            <p:nvPr/>
          </p:nvSpPr>
          <p:spPr>
            <a:xfrm>
              <a:off x="5159448" y="2638851"/>
              <a:ext cx="1865792" cy="555881"/>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Mentor </a:t>
              </a:r>
              <a:b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b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de narración</a:t>
              </a:r>
            </a:p>
          </p:txBody>
        </p:sp>
        <p:sp>
          <p:nvSpPr>
            <p:cNvPr id="12" name="TextBox 11">
              <a:extLst>
                <a:ext uri="{FF2B5EF4-FFF2-40B4-BE49-F238E27FC236}">
                  <a16:creationId xmlns:a16="http://schemas.microsoft.com/office/drawing/2014/main" id="{887C236A-EA80-5CE1-414A-5240B0720F37}"/>
                </a:ext>
              </a:extLst>
            </p:cNvPr>
            <p:cNvSpPr txBox="1"/>
            <p:nvPr/>
          </p:nvSpPr>
          <p:spPr>
            <a:xfrm>
              <a:off x="5166575" y="3864729"/>
              <a:ext cx="1884090" cy="397058"/>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Mejora tu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comunicación</a:t>
              </a:r>
            </a:p>
          </p:txBody>
        </p:sp>
      </p:grpSp>
      <p:grpSp>
        <p:nvGrpSpPr>
          <p:cNvPr id="48" name="Group 47">
            <a:extLst>
              <a:ext uri="{FF2B5EF4-FFF2-40B4-BE49-F238E27FC236}">
                <a16:creationId xmlns:a16="http://schemas.microsoft.com/office/drawing/2014/main" id="{456B4C9A-F418-C2B3-9295-028428F7A10E}"/>
              </a:ext>
            </a:extLst>
          </p:cNvPr>
          <p:cNvGrpSpPr/>
          <p:nvPr/>
        </p:nvGrpSpPr>
        <p:grpSpPr>
          <a:xfrm>
            <a:off x="4800600" y="2357678"/>
            <a:ext cx="1702941" cy="1329361"/>
            <a:chOff x="7268050" y="2628412"/>
            <a:chExt cx="2193391" cy="1714987"/>
          </a:xfrm>
        </p:grpSpPr>
        <p:sp>
          <p:nvSpPr>
            <p:cNvPr id="4" name="Rectangle: Rounded Corners 3">
              <a:extLst>
                <a:ext uri="{FF2B5EF4-FFF2-40B4-BE49-F238E27FC236}">
                  <a16:creationId xmlns:a16="http://schemas.microsoft.com/office/drawing/2014/main" id="{836645E7-4958-8460-5049-ECF746FFB2D2}"/>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TextBox 4">
              <a:extLst>
                <a:ext uri="{FF2B5EF4-FFF2-40B4-BE49-F238E27FC236}">
                  <a16:creationId xmlns:a16="http://schemas.microsoft.com/office/drawing/2014/main" id="{F3BCF35D-B29E-96D2-9962-8B7ECCC62044}"/>
                </a:ext>
              </a:extLst>
            </p:cNvPr>
            <p:cNvSpPr txBox="1"/>
            <p:nvPr/>
          </p:nvSpPr>
          <p:spPr>
            <a:xfrm>
              <a:off x="7445228" y="2628412"/>
              <a:ext cx="1875609" cy="555880"/>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sistente para la apertura de tienda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6" name="TextBox 5">
              <a:extLst>
                <a:ext uri="{FF2B5EF4-FFF2-40B4-BE49-F238E27FC236}">
                  <a16:creationId xmlns:a16="http://schemas.microsoft.com/office/drawing/2014/main" id="{B39004BE-EE7A-15B0-68FF-CCB389108F4D}"/>
                </a:ext>
              </a:extLst>
            </p:cNvPr>
            <p:cNvSpPr txBox="1"/>
            <p:nvPr/>
          </p:nvSpPr>
          <p:spPr>
            <a:xfrm>
              <a:off x="7277975" y="3909758"/>
              <a:ext cx="2183466" cy="39705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Simplifica la apertura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de tiendas</a:t>
              </a:r>
            </a:p>
          </p:txBody>
        </p:sp>
      </p:grpSp>
      <p:grpSp>
        <p:nvGrpSpPr>
          <p:cNvPr id="52" name="Group 51">
            <a:extLst>
              <a:ext uri="{FF2B5EF4-FFF2-40B4-BE49-F238E27FC236}">
                <a16:creationId xmlns:a16="http://schemas.microsoft.com/office/drawing/2014/main" id="{9E64322F-A003-49CF-ADDA-628CA7BBAFBD}"/>
              </a:ext>
            </a:extLst>
          </p:cNvPr>
          <p:cNvGrpSpPr/>
          <p:nvPr/>
        </p:nvGrpSpPr>
        <p:grpSpPr>
          <a:xfrm>
            <a:off x="4787756" y="5261007"/>
            <a:ext cx="1688353" cy="1329362"/>
            <a:chOff x="9489967" y="2628411"/>
            <a:chExt cx="2174602" cy="1714989"/>
          </a:xfrm>
        </p:grpSpPr>
        <p:sp>
          <p:nvSpPr>
            <p:cNvPr id="13" name="Rectangle: Rounded Corners 12">
              <a:extLst>
                <a:ext uri="{FF2B5EF4-FFF2-40B4-BE49-F238E27FC236}">
                  <a16:creationId xmlns:a16="http://schemas.microsoft.com/office/drawing/2014/main" id="{C5DEB68D-BC84-B179-3E00-7075E1BE61A3}"/>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432D616F-2643-C703-8190-6ADDAEE62CF2}"/>
                </a:ext>
              </a:extLst>
            </p:cNvPr>
            <p:cNvSpPr txBox="1"/>
            <p:nvPr/>
          </p:nvSpPr>
          <p:spPr>
            <a:xfrm>
              <a:off x="9618231" y="2628411"/>
              <a:ext cx="1849624" cy="555880"/>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Creador de informe de trabajo</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15" name="TextBox 14">
              <a:extLst>
                <a:ext uri="{FF2B5EF4-FFF2-40B4-BE49-F238E27FC236}">
                  <a16:creationId xmlns:a16="http://schemas.microsoft.com/office/drawing/2014/main" id="{7600F085-ED0A-280F-8333-DA7FA2559313}"/>
                </a:ext>
              </a:extLst>
            </p:cNvPr>
            <p:cNvSpPr txBox="1"/>
            <p:nvPr/>
          </p:nvSpPr>
          <p:spPr>
            <a:xfrm>
              <a:off x="9489967" y="3880493"/>
              <a:ext cx="2170234" cy="39705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Crea documentos de informes de trabajo.</a:t>
              </a: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p:txBody>
        </p:sp>
      </p:grpSp>
      <p:grpSp>
        <p:nvGrpSpPr>
          <p:cNvPr id="42" name="Group 41">
            <a:extLst>
              <a:ext uri="{FF2B5EF4-FFF2-40B4-BE49-F238E27FC236}">
                <a16:creationId xmlns:a16="http://schemas.microsoft.com/office/drawing/2014/main" id="{234D0D38-74CF-60B0-8E57-C7598AEED46D}"/>
              </a:ext>
            </a:extLst>
          </p:cNvPr>
          <p:cNvGrpSpPr/>
          <p:nvPr/>
        </p:nvGrpSpPr>
        <p:grpSpPr>
          <a:xfrm>
            <a:off x="571500" y="3813013"/>
            <a:ext cx="1665616" cy="1309544"/>
            <a:chOff x="557513" y="4415392"/>
            <a:chExt cx="2158060" cy="1706984"/>
          </a:xfrm>
        </p:grpSpPr>
        <p:sp>
          <p:nvSpPr>
            <p:cNvPr id="29" name="Rectangle: Rounded Corners 28">
              <a:extLst>
                <a:ext uri="{FF2B5EF4-FFF2-40B4-BE49-F238E27FC236}">
                  <a16:creationId xmlns:a16="http://schemas.microsoft.com/office/drawing/2014/main" id="{BF66B56B-335E-3DE3-6DAC-828CE5722A74}"/>
                </a:ext>
                <a:ext uri="{C183D7F6-B498-43B3-948B-1728B52AA6E4}">
                  <adec:decorative xmlns:adec="http://schemas.microsoft.com/office/drawing/2017/decorative" val="1"/>
                </a:ext>
              </a:extLst>
            </p:cNvPr>
            <p:cNvSpPr/>
            <p:nvPr/>
          </p:nvSpPr>
          <p:spPr bwMode="auto">
            <a:xfrm>
              <a:off x="557513" y="4415392"/>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970A239D-D077-BFC5-F110-B6EA93D595BB}"/>
                </a:ext>
              </a:extLst>
            </p:cNvPr>
            <p:cNvSpPr txBox="1"/>
            <p:nvPr/>
          </p:nvSpPr>
          <p:spPr>
            <a:xfrm>
              <a:off x="557513" y="4442531"/>
              <a:ext cx="2155386" cy="341007"/>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Creador de producto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32" name="TextBox 31">
              <a:extLst>
                <a:ext uri="{FF2B5EF4-FFF2-40B4-BE49-F238E27FC236}">
                  <a16:creationId xmlns:a16="http://schemas.microsoft.com/office/drawing/2014/main" id="{0EA28B2C-E83C-4F0E-D646-CA2B42FC7329}"/>
                </a:ext>
              </a:extLst>
            </p:cNvPr>
            <p:cNvSpPr txBox="1"/>
            <p:nvPr/>
          </p:nvSpPr>
          <p:spPr>
            <a:xfrm>
              <a:off x="683794" y="5637810"/>
              <a:ext cx="1957308" cy="40118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Acelera la planificación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de productos</a:t>
              </a:r>
            </a:p>
          </p:txBody>
        </p:sp>
      </p:grpSp>
      <p:grpSp>
        <p:nvGrpSpPr>
          <p:cNvPr id="44" name="Group 43">
            <a:extLst>
              <a:ext uri="{FF2B5EF4-FFF2-40B4-BE49-F238E27FC236}">
                <a16:creationId xmlns:a16="http://schemas.microsoft.com/office/drawing/2014/main" id="{3C73AA1B-488F-0DE3-D34A-A85613689EB4}"/>
              </a:ext>
            </a:extLst>
          </p:cNvPr>
          <p:cNvGrpSpPr/>
          <p:nvPr/>
        </p:nvGrpSpPr>
        <p:grpSpPr>
          <a:xfrm>
            <a:off x="2667000" y="2362203"/>
            <a:ext cx="1670694" cy="1323118"/>
            <a:chOff x="2776832" y="4415392"/>
            <a:chExt cx="2174933" cy="1706985"/>
          </a:xfrm>
        </p:grpSpPr>
        <p:sp>
          <p:nvSpPr>
            <p:cNvPr id="28" name="Rectangle: Rounded Corners 27">
              <a:extLst>
                <a:ext uri="{FF2B5EF4-FFF2-40B4-BE49-F238E27FC236}">
                  <a16:creationId xmlns:a16="http://schemas.microsoft.com/office/drawing/2014/main" id="{88EBFA0D-8172-614D-AFC0-D01EEE910996}"/>
                </a:ext>
                <a:ext uri="{C183D7F6-B498-43B3-948B-1728B52AA6E4}">
                  <adec:decorative xmlns:adec="http://schemas.microsoft.com/office/drawing/2017/decorative" val="1"/>
                </a:ext>
              </a:extLst>
            </p:cNvPr>
            <p:cNvSpPr/>
            <p:nvPr/>
          </p:nvSpPr>
          <p:spPr bwMode="auto">
            <a:xfrm>
              <a:off x="2785269" y="4415392"/>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TextBox 32">
              <a:extLst>
                <a:ext uri="{FF2B5EF4-FFF2-40B4-BE49-F238E27FC236}">
                  <a16:creationId xmlns:a16="http://schemas.microsoft.com/office/drawing/2014/main" id="{16901339-3242-3898-95DA-CF3E78795C8C}"/>
                </a:ext>
              </a:extLst>
            </p:cNvPr>
            <p:cNvSpPr txBox="1"/>
            <p:nvPr/>
          </p:nvSpPr>
          <p:spPr>
            <a:xfrm>
              <a:off x="2776832" y="4430054"/>
              <a:ext cx="2174933" cy="555897"/>
            </a:xfrm>
            <a:prstGeom prst="rect">
              <a:avLst/>
            </a:prstGeom>
            <a:noFill/>
            <a:ln>
              <a:noFill/>
            </a:ln>
            <a:effectLst/>
          </p:spPr>
          <p:txBody>
            <a:bodyPr wrap="square" lIns="91440" tIns="45720" rIns="91440" bIns="45720" anchor="ctr">
              <a:spAutoFit/>
            </a:bodyPr>
            <a:lstStyle/>
            <a:p>
              <a:pPr lvl="0" algn="ctr" defTabSz="932472" fontAlgn="base">
                <a:spcBef>
                  <a:spcPct val="0"/>
                </a:spcBef>
                <a:spcAft>
                  <a:spcPct val="0"/>
                </a:spcAf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sistente de presentación de venta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34" name="TextBox 33">
              <a:extLst>
                <a:ext uri="{FF2B5EF4-FFF2-40B4-BE49-F238E27FC236}">
                  <a16:creationId xmlns:a16="http://schemas.microsoft.com/office/drawing/2014/main" id="{24206799-4CB7-856C-ACD8-6462044CDF14}"/>
                </a:ext>
              </a:extLst>
            </p:cNvPr>
            <p:cNvSpPr txBox="1"/>
            <p:nvPr/>
          </p:nvSpPr>
          <p:spPr>
            <a:xfrm>
              <a:off x="2852559" y="5668316"/>
              <a:ext cx="2009120" cy="416923"/>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50" b="0" i="0" u="none" strike="noStrike" kern="1200" cap="none" spc="0" normalizeH="0" baseline="0" noProof="0" dirty="0">
                  <a:ln>
                    <a:noFill/>
                  </a:ln>
                  <a:solidFill>
                    <a:srgbClr val="000000"/>
                  </a:solidFill>
                  <a:effectLst/>
                  <a:uLnTx/>
                  <a:uFillTx/>
                  <a:latin typeface="Segoe UI"/>
                  <a:ea typeface="+mn-ea"/>
                  <a:cs typeface="Segoe UI"/>
                </a:rPr>
                <a:t>Impulsa el éxito </a:t>
              </a:r>
              <a:br>
                <a:rPr kumimoji="0" lang="es-es" sz="1050" b="0" i="0" u="none" strike="noStrike" kern="1200" cap="none" spc="0" normalizeH="0" baseline="0" noProof="0" dirty="0">
                  <a:ln>
                    <a:noFill/>
                  </a:ln>
                  <a:solidFill>
                    <a:srgbClr val="000000"/>
                  </a:solidFill>
                  <a:effectLst/>
                  <a:uLnTx/>
                  <a:uFillTx/>
                  <a:latin typeface="Segoe UI"/>
                  <a:ea typeface="+mn-ea"/>
                  <a:cs typeface="Segoe UI"/>
                </a:rPr>
              </a:br>
              <a:r>
                <a:rPr kumimoji="0" lang="es-es" sz="1050" b="0" i="0" u="none" strike="noStrike" kern="1200" cap="none" spc="0" normalizeH="0" baseline="0" noProof="0" dirty="0">
                  <a:ln>
                    <a:noFill/>
                  </a:ln>
                  <a:solidFill>
                    <a:srgbClr val="000000"/>
                  </a:solidFill>
                  <a:effectLst/>
                  <a:uLnTx/>
                  <a:uFillTx/>
                  <a:latin typeface="Segoe UI"/>
                  <a:ea typeface="+mn-ea"/>
                  <a:cs typeface="Segoe UI"/>
                </a:rPr>
                <a:t>en ventas</a:t>
              </a:r>
            </a:p>
          </p:txBody>
        </p:sp>
      </p:grpSp>
      <p:grpSp>
        <p:nvGrpSpPr>
          <p:cNvPr id="46" name="Group 45">
            <a:extLst>
              <a:ext uri="{FF2B5EF4-FFF2-40B4-BE49-F238E27FC236}">
                <a16:creationId xmlns:a16="http://schemas.microsoft.com/office/drawing/2014/main" id="{96DBC2EB-43E3-D503-D7D2-BF3CE514BE72}"/>
              </a:ext>
            </a:extLst>
          </p:cNvPr>
          <p:cNvGrpSpPr/>
          <p:nvPr/>
        </p:nvGrpSpPr>
        <p:grpSpPr>
          <a:xfrm>
            <a:off x="2665765" y="5252298"/>
            <a:ext cx="1689100" cy="1347210"/>
            <a:chOff x="5006226" y="4372071"/>
            <a:chExt cx="2175564" cy="1750306"/>
          </a:xfrm>
        </p:grpSpPr>
        <p:sp>
          <p:nvSpPr>
            <p:cNvPr id="30" name="Rectangle: Rounded Corners 29">
              <a:extLst>
                <a:ext uri="{FF2B5EF4-FFF2-40B4-BE49-F238E27FC236}">
                  <a16:creationId xmlns:a16="http://schemas.microsoft.com/office/drawing/2014/main" id="{7CECAC57-1769-74D5-376B-70E6CEE71E6D}"/>
                </a:ext>
                <a:ext uri="{C183D7F6-B498-43B3-948B-1728B52AA6E4}">
                  <adec:decorative xmlns:adec="http://schemas.microsoft.com/office/drawing/2017/decorative" val="1"/>
                </a:ext>
              </a:extLst>
            </p:cNvPr>
            <p:cNvSpPr/>
            <p:nvPr/>
          </p:nvSpPr>
          <p:spPr bwMode="auto">
            <a:xfrm>
              <a:off x="502372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7356722B-510E-740A-8559-3E39C78FD2EB}"/>
                </a:ext>
              </a:extLst>
            </p:cNvPr>
            <p:cNvSpPr txBox="1"/>
            <p:nvPr/>
          </p:nvSpPr>
          <p:spPr>
            <a:xfrm>
              <a:off x="5238395" y="4372071"/>
              <a:ext cx="1696175" cy="55981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gente de marketing</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36" name="TextBox 35">
              <a:extLst>
                <a:ext uri="{FF2B5EF4-FFF2-40B4-BE49-F238E27FC236}">
                  <a16:creationId xmlns:a16="http://schemas.microsoft.com/office/drawing/2014/main" id="{621001DF-C355-CEC6-9C85-B908EAFDFF20}"/>
                </a:ext>
              </a:extLst>
            </p:cNvPr>
            <p:cNvSpPr txBox="1"/>
            <p:nvPr/>
          </p:nvSpPr>
          <p:spPr>
            <a:xfrm>
              <a:off x="5006226" y="5699854"/>
              <a:ext cx="2175564" cy="199932"/>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Escribe contenido efectivo</a:t>
              </a:r>
            </a:p>
          </p:txBody>
        </p:sp>
      </p:grpSp>
      <p:grpSp>
        <p:nvGrpSpPr>
          <p:cNvPr id="50" name="Group 49">
            <a:extLst>
              <a:ext uri="{FF2B5EF4-FFF2-40B4-BE49-F238E27FC236}">
                <a16:creationId xmlns:a16="http://schemas.microsoft.com/office/drawing/2014/main" id="{F517DE86-D1F1-5422-905E-A4538614E75F}"/>
              </a:ext>
            </a:extLst>
          </p:cNvPr>
          <p:cNvGrpSpPr/>
          <p:nvPr/>
        </p:nvGrpSpPr>
        <p:grpSpPr>
          <a:xfrm>
            <a:off x="4673149" y="3818562"/>
            <a:ext cx="1921117" cy="1313866"/>
            <a:chOff x="7097117" y="4415393"/>
            <a:chExt cx="2488203" cy="1706984"/>
          </a:xfrm>
        </p:grpSpPr>
        <p:sp>
          <p:nvSpPr>
            <p:cNvPr id="27" name="Rectangle: Rounded Corners 26">
              <a:extLst>
                <a:ext uri="{FF2B5EF4-FFF2-40B4-BE49-F238E27FC236}">
                  <a16:creationId xmlns:a16="http://schemas.microsoft.com/office/drawing/2014/main" id="{9E6140C4-61DE-A915-EEF0-01B21E7D232E}"/>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TextBox 36">
              <a:extLst>
                <a:ext uri="{FF2B5EF4-FFF2-40B4-BE49-F238E27FC236}">
                  <a16:creationId xmlns:a16="http://schemas.microsoft.com/office/drawing/2014/main" id="{677DFBB6-733F-1E0C-685E-E89CD97D67DD}"/>
                </a:ext>
              </a:extLst>
            </p:cNvPr>
            <p:cNvSpPr txBox="1"/>
            <p:nvPr/>
          </p:nvSpPr>
          <p:spPr>
            <a:xfrm>
              <a:off x="7097117" y="4416529"/>
              <a:ext cx="2488203" cy="559811"/>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sistente de negociación</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38" name="TextBox 37">
              <a:extLst>
                <a:ext uri="{FF2B5EF4-FFF2-40B4-BE49-F238E27FC236}">
                  <a16:creationId xmlns:a16="http://schemas.microsoft.com/office/drawing/2014/main" id="{AE00CBF7-3ED2-F5F1-BD57-69D0B7AA6AF2}"/>
                </a:ext>
              </a:extLst>
            </p:cNvPr>
            <p:cNvSpPr txBox="1"/>
            <p:nvPr/>
          </p:nvSpPr>
          <p:spPr>
            <a:xfrm>
              <a:off x="7272170" y="5736203"/>
              <a:ext cx="2129109" cy="199932"/>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Logra mejores acuerdos</a:t>
              </a:r>
            </a:p>
          </p:txBody>
        </p:sp>
      </p:grpSp>
      <p:grpSp>
        <p:nvGrpSpPr>
          <p:cNvPr id="58" name="Group 57">
            <a:extLst>
              <a:ext uri="{FF2B5EF4-FFF2-40B4-BE49-F238E27FC236}">
                <a16:creationId xmlns:a16="http://schemas.microsoft.com/office/drawing/2014/main" id="{1FB8FCAC-3C65-200F-75F1-9624D8A5B944}"/>
              </a:ext>
            </a:extLst>
          </p:cNvPr>
          <p:cNvGrpSpPr/>
          <p:nvPr/>
        </p:nvGrpSpPr>
        <p:grpSpPr>
          <a:xfrm>
            <a:off x="6894513" y="2349587"/>
            <a:ext cx="1675510" cy="1337453"/>
            <a:chOff x="7268050" y="2617973"/>
            <a:chExt cx="2158060" cy="1725426"/>
          </a:xfrm>
        </p:grpSpPr>
        <p:sp>
          <p:nvSpPr>
            <p:cNvPr id="59" name="Rectangle: Rounded Corners 58">
              <a:extLst>
                <a:ext uri="{FF2B5EF4-FFF2-40B4-BE49-F238E27FC236}">
                  <a16:creationId xmlns:a16="http://schemas.microsoft.com/office/drawing/2014/main" id="{7EE98CCF-B4FF-4C1A-FB5F-1DF1A1521FF8}"/>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 name="TextBox 59">
              <a:extLst>
                <a:ext uri="{FF2B5EF4-FFF2-40B4-BE49-F238E27FC236}">
                  <a16:creationId xmlns:a16="http://schemas.microsoft.com/office/drawing/2014/main" id="{D4602809-FE9A-068F-0CAF-41C11E8A3149}"/>
                </a:ext>
              </a:extLst>
            </p:cNvPr>
            <p:cNvSpPr txBox="1"/>
            <p:nvPr/>
          </p:nvSpPr>
          <p:spPr>
            <a:xfrm>
              <a:off x="7268050" y="2617973"/>
              <a:ext cx="2112178" cy="555880"/>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gente de descripción de puesto</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61" name="TextBox 60">
              <a:extLst>
                <a:ext uri="{FF2B5EF4-FFF2-40B4-BE49-F238E27FC236}">
                  <a16:creationId xmlns:a16="http://schemas.microsoft.com/office/drawing/2014/main" id="{AF78663F-2D50-3EFD-C1F2-2C059E61BEF0}"/>
                </a:ext>
              </a:extLst>
            </p:cNvPr>
            <p:cNvSpPr txBox="1"/>
            <p:nvPr/>
          </p:nvSpPr>
          <p:spPr>
            <a:xfrm>
              <a:off x="7268050" y="3898497"/>
              <a:ext cx="2112178" cy="19852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Agiliza la contratación</a:t>
              </a:r>
            </a:p>
          </p:txBody>
        </p:sp>
      </p:grpSp>
      <p:grpSp>
        <p:nvGrpSpPr>
          <p:cNvPr id="64" name="Group 63">
            <a:extLst>
              <a:ext uri="{FF2B5EF4-FFF2-40B4-BE49-F238E27FC236}">
                <a16:creationId xmlns:a16="http://schemas.microsoft.com/office/drawing/2014/main" id="{E48141DB-00F6-5DF9-FDC5-6B7797FCD994}"/>
              </a:ext>
            </a:extLst>
          </p:cNvPr>
          <p:cNvGrpSpPr/>
          <p:nvPr/>
        </p:nvGrpSpPr>
        <p:grpSpPr>
          <a:xfrm>
            <a:off x="6894513" y="3811687"/>
            <a:ext cx="1675510" cy="1323159"/>
            <a:chOff x="7268050" y="2636415"/>
            <a:chExt cx="2158060" cy="1706984"/>
          </a:xfrm>
        </p:grpSpPr>
        <p:sp>
          <p:nvSpPr>
            <p:cNvPr id="65" name="Rectangle: Rounded Corners 64">
              <a:extLst>
                <a:ext uri="{FF2B5EF4-FFF2-40B4-BE49-F238E27FC236}">
                  <a16:creationId xmlns:a16="http://schemas.microsoft.com/office/drawing/2014/main" id="{74A7512D-4F95-DD05-D95E-714BD92C3BA5}"/>
                </a:ext>
                <a:ext uri="{C183D7F6-B498-43B3-948B-1728B52AA6E4}">
                  <adec:decorative xmlns:adec="http://schemas.microsoft.com/office/drawing/2017/decorative" val="1"/>
                </a:ext>
              </a:extLst>
            </p:cNvPr>
            <p:cNvSpPr/>
            <p:nvPr/>
          </p:nvSpPr>
          <p:spPr bwMode="auto">
            <a:xfrm>
              <a:off x="726805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 name="TextBox 65">
              <a:extLst>
                <a:ext uri="{FF2B5EF4-FFF2-40B4-BE49-F238E27FC236}">
                  <a16:creationId xmlns:a16="http://schemas.microsoft.com/office/drawing/2014/main" id="{CEC2F095-F331-22B3-E6F9-BA82437315F2}"/>
                </a:ext>
              </a:extLst>
            </p:cNvPr>
            <p:cNvSpPr txBox="1"/>
            <p:nvPr/>
          </p:nvSpPr>
          <p:spPr>
            <a:xfrm>
              <a:off x="7268050" y="2710058"/>
              <a:ext cx="2112178" cy="337498"/>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Planificador de viaje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67" name="TextBox 66">
              <a:extLst>
                <a:ext uri="{FF2B5EF4-FFF2-40B4-BE49-F238E27FC236}">
                  <a16:creationId xmlns:a16="http://schemas.microsoft.com/office/drawing/2014/main" id="{27EAF904-CE05-71AE-1C8C-279418CEA36B}"/>
                </a:ext>
              </a:extLst>
            </p:cNvPr>
            <p:cNvSpPr txBox="1"/>
            <p:nvPr/>
          </p:nvSpPr>
          <p:spPr>
            <a:xfrm>
              <a:off x="7268050" y="3911744"/>
              <a:ext cx="2112178" cy="39705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Simplifica la planificación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de viajes</a:t>
              </a:r>
            </a:p>
          </p:txBody>
        </p:sp>
      </p:grpSp>
      <p:grpSp>
        <p:nvGrpSpPr>
          <p:cNvPr id="26" name="Group 25">
            <a:extLst>
              <a:ext uri="{FF2B5EF4-FFF2-40B4-BE49-F238E27FC236}">
                <a16:creationId xmlns:a16="http://schemas.microsoft.com/office/drawing/2014/main" id="{D15C7C2F-A6AA-0B16-E897-591A2024842D}"/>
              </a:ext>
            </a:extLst>
          </p:cNvPr>
          <p:cNvGrpSpPr/>
          <p:nvPr/>
        </p:nvGrpSpPr>
        <p:grpSpPr>
          <a:xfrm>
            <a:off x="9021608" y="3801907"/>
            <a:ext cx="1684407" cy="1313865"/>
            <a:chOff x="6894512" y="5257794"/>
            <a:chExt cx="1684407" cy="1313865"/>
          </a:xfrm>
        </p:grpSpPr>
        <p:grpSp>
          <p:nvGrpSpPr>
            <p:cNvPr id="69" name="Group 68">
              <a:extLst>
                <a:ext uri="{FF2B5EF4-FFF2-40B4-BE49-F238E27FC236}">
                  <a16:creationId xmlns:a16="http://schemas.microsoft.com/office/drawing/2014/main" id="{23836559-75EB-FF90-B627-9F3C066CE17B}"/>
                </a:ext>
              </a:extLst>
            </p:cNvPr>
            <p:cNvGrpSpPr/>
            <p:nvPr/>
          </p:nvGrpSpPr>
          <p:grpSpPr>
            <a:xfrm>
              <a:off x="6894512" y="5257794"/>
              <a:ext cx="1684407" cy="1313865"/>
              <a:chOff x="7262189" y="4415393"/>
              <a:chExt cx="2181620" cy="1706984"/>
            </a:xfrm>
          </p:grpSpPr>
          <p:sp>
            <p:nvSpPr>
              <p:cNvPr id="70" name="Rectangle: Rounded Corners 69">
                <a:extLst>
                  <a:ext uri="{FF2B5EF4-FFF2-40B4-BE49-F238E27FC236}">
                    <a16:creationId xmlns:a16="http://schemas.microsoft.com/office/drawing/2014/main" id="{CF8D93B0-0C03-C305-7122-C371D6750D0B}"/>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3F35C854-8CEE-CE09-BCA8-1C20BB03BCA8}"/>
                  </a:ext>
                </a:extLst>
              </p:cNvPr>
              <p:cNvSpPr txBox="1"/>
              <p:nvPr/>
            </p:nvSpPr>
            <p:spPr>
              <a:xfrm>
                <a:off x="7262189" y="4512779"/>
                <a:ext cx="2123958" cy="339886"/>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Creador de agente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72" name="TextBox 71">
                <a:extLst>
                  <a:ext uri="{FF2B5EF4-FFF2-40B4-BE49-F238E27FC236}">
                    <a16:creationId xmlns:a16="http://schemas.microsoft.com/office/drawing/2014/main" id="{F3DAA6B8-68BA-FC2E-A9B3-311B6145A16A}"/>
                  </a:ext>
                </a:extLst>
              </p:cNvPr>
              <p:cNvSpPr txBox="1"/>
              <p:nvPr/>
            </p:nvSpPr>
            <p:spPr>
              <a:xfrm>
                <a:off x="7262190" y="5671856"/>
                <a:ext cx="2181619" cy="39986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Acelera el desarrollo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de agentes</a:t>
                </a:r>
              </a:p>
            </p:txBody>
          </p:sp>
        </p:grpSp>
        <p:pic>
          <p:nvPicPr>
            <p:cNvPr id="74" name="Picture 73" descr="Avatar del Creador de comunicaciones corporativas">
              <a:extLst>
                <a:ext uri="{FF2B5EF4-FFF2-40B4-BE49-F238E27FC236}">
                  <a16:creationId xmlns:a16="http://schemas.microsoft.com/office/drawing/2014/main" id="{D6C4CCDE-7BFF-8105-7C81-F59DC3519DA6}"/>
                </a:ext>
              </a:extLst>
            </p:cNvPr>
            <p:cNvPicPr>
              <a:picLocks noChangeAspect="1"/>
            </p:cNvPicPr>
            <p:nvPr/>
          </p:nvPicPr>
          <p:blipFill>
            <a:blip r:embed="rId5"/>
            <a:stretch>
              <a:fillRect/>
            </a:stretch>
          </p:blipFill>
          <p:spPr>
            <a:xfrm>
              <a:off x="7508854" y="5711536"/>
              <a:ext cx="484440" cy="484440"/>
            </a:xfrm>
            <a:prstGeom prst="rect">
              <a:avLst/>
            </a:prstGeom>
          </p:spPr>
        </p:pic>
      </p:grpSp>
      <p:grpSp>
        <p:nvGrpSpPr>
          <p:cNvPr id="75" name="Group 74">
            <a:extLst>
              <a:ext uri="{FF2B5EF4-FFF2-40B4-BE49-F238E27FC236}">
                <a16:creationId xmlns:a16="http://schemas.microsoft.com/office/drawing/2014/main" id="{1491381D-E53A-2633-293D-674D8369D433}"/>
              </a:ext>
            </a:extLst>
          </p:cNvPr>
          <p:cNvGrpSpPr/>
          <p:nvPr/>
        </p:nvGrpSpPr>
        <p:grpSpPr>
          <a:xfrm>
            <a:off x="9029700" y="2368366"/>
            <a:ext cx="1666217" cy="1314545"/>
            <a:chOff x="7262189" y="4414511"/>
            <a:chExt cx="2158060" cy="1707866"/>
          </a:xfrm>
        </p:grpSpPr>
        <p:sp>
          <p:nvSpPr>
            <p:cNvPr id="76" name="Rectangle: Rounded Corners 75">
              <a:extLst>
                <a:ext uri="{FF2B5EF4-FFF2-40B4-BE49-F238E27FC236}">
                  <a16:creationId xmlns:a16="http://schemas.microsoft.com/office/drawing/2014/main" id="{0E71B52C-7084-8248-D78C-255F2B0C50BC}"/>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7" name="TextBox 76">
              <a:extLst>
                <a:ext uri="{FF2B5EF4-FFF2-40B4-BE49-F238E27FC236}">
                  <a16:creationId xmlns:a16="http://schemas.microsoft.com/office/drawing/2014/main" id="{013A7105-9D1A-5C42-82FC-37BF80CDC015}"/>
                </a:ext>
              </a:extLst>
            </p:cNvPr>
            <p:cNvSpPr txBox="1"/>
            <p:nvPr/>
          </p:nvSpPr>
          <p:spPr>
            <a:xfrm>
              <a:off x="7262189" y="4414511"/>
              <a:ext cx="2123958" cy="55981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sesor de bienestar </a:t>
              </a:r>
              <a:b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b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y productividad</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78" name="TextBox 77">
              <a:extLst>
                <a:ext uri="{FF2B5EF4-FFF2-40B4-BE49-F238E27FC236}">
                  <a16:creationId xmlns:a16="http://schemas.microsoft.com/office/drawing/2014/main" id="{82D57165-667F-F606-7031-AD467889D028}"/>
                </a:ext>
              </a:extLst>
            </p:cNvPr>
            <p:cNvSpPr txBox="1"/>
            <p:nvPr/>
          </p:nvSpPr>
          <p:spPr>
            <a:xfrm>
              <a:off x="7315648" y="5688208"/>
              <a:ext cx="2062276" cy="39986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Segoe UI"/>
                  <a:ea typeface="+mn-ea"/>
                  <a:cs typeface="Segoe UI"/>
                </a:rPr>
                <a:t>Impulsa la concentración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de los empleados</a:t>
              </a:r>
            </a:p>
          </p:txBody>
        </p:sp>
      </p:grpSp>
      <p:grpSp>
        <p:nvGrpSpPr>
          <p:cNvPr id="39" name="Group 38">
            <a:extLst>
              <a:ext uri="{FF2B5EF4-FFF2-40B4-BE49-F238E27FC236}">
                <a16:creationId xmlns:a16="http://schemas.microsoft.com/office/drawing/2014/main" id="{4C261543-D856-F22F-85D1-18CEA0CF802A}"/>
              </a:ext>
            </a:extLst>
          </p:cNvPr>
          <p:cNvGrpSpPr/>
          <p:nvPr/>
        </p:nvGrpSpPr>
        <p:grpSpPr>
          <a:xfrm>
            <a:off x="6860064" y="5185507"/>
            <a:ext cx="1737610" cy="1414001"/>
            <a:chOff x="9444865" y="2519220"/>
            <a:chExt cx="2238045" cy="1824180"/>
          </a:xfrm>
        </p:grpSpPr>
        <p:sp>
          <p:nvSpPr>
            <p:cNvPr id="40" name="Rectangle: Rounded Corners 39">
              <a:extLst>
                <a:ext uri="{FF2B5EF4-FFF2-40B4-BE49-F238E27FC236}">
                  <a16:creationId xmlns:a16="http://schemas.microsoft.com/office/drawing/2014/main" id="{3CD61D20-4EBB-F7CA-BA11-68D24C4ED1E1}"/>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TextBox 53">
              <a:extLst>
                <a:ext uri="{FF2B5EF4-FFF2-40B4-BE49-F238E27FC236}">
                  <a16:creationId xmlns:a16="http://schemas.microsoft.com/office/drawing/2014/main" id="{04D02A02-B198-7EA7-D80A-4E2022EA4733}"/>
                </a:ext>
              </a:extLst>
            </p:cNvPr>
            <p:cNvSpPr txBox="1"/>
            <p:nvPr/>
          </p:nvSpPr>
          <p:spPr>
            <a:xfrm>
              <a:off x="9444865" y="2519220"/>
              <a:ext cx="2238045" cy="77426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Redactor de contenidos de aprendizaje</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55" name="TextBox 54">
              <a:extLst>
                <a:ext uri="{FF2B5EF4-FFF2-40B4-BE49-F238E27FC236}">
                  <a16:creationId xmlns:a16="http://schemas.microsoft.com/office/drawing/2014/main" id="{78D0F597-F8AA-A85B-391F-1F77397B9030}"/>
                </a:ext>
              </a:extLst>
            </p:cNvPr>
            <p:cNvSpPr txBox="1"/>
            <p:nvPr/>
          </p:nvSpPr>
          <p:spPr>
            <a:xfrm>
              <a:off x="9489967" y="3891727"/>
              <a:ext cx="2170234" cy="39705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solidFill>
                    <a:srgbClr val="000000"/>
                  </a:solidFill>
                  <a:latin typeface="Segoe UI"/>
                  <a:cs typeface="Segoe UI"/>
                </a:rPr>
                <a:t>M</a:t>
              </a:r>
              <a:r>
                <a:rPr kumimoji="0" lang="es-es" sz="1000" b="0" i="0" u="none" strike="noStrike" kern="1200" cap="none" spc="0" normalizeH="0" baseline="0" noProof="0" dirty="0" err="1">
                  <a:ln>
                    <a:noFill/>
                  </a:ln>
                  <a:solidFill>
                    <a:srgbClr val="000000"/>
                  </a:solidFill>
                  <a:effectLst/>
                  <a:uLnTx/>
                  <a:uFillTx/>
                  <a:latin typeface="Segoe UI"/>
                  <a:ea typeface="+mn-ea"/>
                  <a:cs typeface="Segoe UI"/>
                </a:rPr>
                <a:t>ateriales</a:t>
              </a:r>
              <a:r>
                <a:rPr kumimoji="0" lang="es-es" sz="1000" b="0" i="0" u="none" strike="noStrike" kern="1200" cap="none" spc="0" normalizeH="0" baseline="0" noProof="0" dirty="0">
                  <a:ln>
                    <a:noFill/>
                  </a:ln>
                  <a:solidFill>
                    <a:srgbClr val="000000"/>
                  </a:solidFill>
                  <a:effectLst/>
                  <a:uLnTx/>
                  <a:uFillTx/>
                  <a:latin typeface="Segoe UI"/>
                  <a:ea typeface="+mn-ea"/>
                  <a:cs typeface="Segoe UI"/>
                </a:rPr>
                <a:t> efectivos para </a:t>
              </a:r>
              <a:br>
                <a:rPr kumimoji="0" lang="es-es" sz="1000" b="0" i="0" u="none" strike="noStrike" kern="1200" cap="none" spc="0" normalizeH="0" baseline="0" noProof="0" dirty="0">
                  <a:ln>
                    <a:noFill/>
                  </a:ln>
                  <a:solidFill>
                    <a:srgbClr val="000000"/>
                  </a:solidFill>
                  <a:effectLst/>
                  <a:uLnTx/>
                  <a:uFillTx/>
                  <a:latin typeface="Segoe UI"/>
                  <a:ea typeface="+mn-ea"/>
                  <a:cs typeface="Segoe UI"/>
                </a:rPr>
              </a:br>
              <a:r>
                <a:rPr kumimoji="0" lang="es-es" sz="1000" b="0" i="0" u="none" strike="noStrike" kern="1200" cap="none" spc="0" normalizeH="0" baseline="0" noProof="0" dirty="0">
                  <a:ln>
                    <a:noFill/>
                  </a:ln>
                  <a:solidFill>
                    <a:srgbClr val="000000"/>
                  </a:solidFill>
                  <a:effectLst/>
                  <a:uLnTx/>
                  <a:uFillTx/>
                  <a:latin typeface="Segoe UI"/>
                  <a:ea typeface="+mn-ea"/>
                  <a:cs typeface="Segoe UI"/>
                </a:rPr>
                <a:t>el aprendizaje corporativo</a:t>
              </a: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p:txBody>
        </p:sp>
      </p:grpSp>
      <p:grpSp>
        <p:nvGrpSpPr>
          <p:cNvPr id="57" name="Group 56">
            <a:extLst>
              <a:ext uri="{FF2B5EF4-FFF2-40B4-BE49-F238E27FC236}">
                <a16:creationId xmlns:a16="http://schemas.microsoft.com/office/drawing/2014/main" id="{0F8FBCFC-E508-5613-888D-AA841F71E01E}"/>
              </a:ext>
            </a:extLst>
          </p:cNvPr>
          <p:cNvGrpSpPr/>
          <p:nvPr/>
        </p:nvGrpSpPr>
        <p:grpSpPr>
          <a:xfrm>
            <a:off x="8936418" y="5202735"/>
            <a:ext cx="1862341" cy="1389725"/>
            <a:chOff x="9415397" y="2550537"/>
            <a:chExt cx="2398699" cy="1792863"/>
          </a:xfrm>
        </p:grpSpPr>
        <p:sp>
          <p:nvSpPr>
            <p:cNvPr id="62" name="Rectangle: Rounded Corners 61">
              <a:extLst>
                <a:ext uri="{FF2B5EF4-FFF2-40B4-BE49-F238E27FC236}">
                  <a16:creationId xmlns:a16="http://schemas.microsoft.com/office/drawing/2014/main" id="{E42F919A-4BF3-E9BD-D41F-142566644353}"/>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 name="TextBox 72">
              <a:extLst>
                <a:ext uri="{FF2B5EF4-FFF2-40B4-BE49-F238E27FC236}">
                  <a16:creationId xmlns:a16="http://schemas.microsoft.com/office/drawing/2014/main" id="{2B5BBE5E-52DC-1492-8559-89C4557FE204}"/>
                </a:ext>
              </a:extLst>
            </p:cNvPr>
            <p:cNvSpPr txBox="1"/>
            <p:nvPr/>
          </p:nvSpPr>
          <p:spPr>
            <a:xfrm>
              <a:off x="9415397" y="2550537"/>
              <a:ext cx="2398699" cy="77426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gente de comparación de producto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80" name="TextBox 79">
              <a:extLst>
                <a:ext uri="{FF2B5EF4-FFF2-40B4-BE49-F238E27FC236}">
                  <a16:creationId xmlns:a16="http://schemas.microsoft.com/office/drawing/2014/main" id="{724A98DA-A5BD-56DA-2AA1-3D621C27C542}"/>
                </a:ext>
              </a:extLst>
            </p:cNvPr>
            <p:cNvSpPr txBox="1"/>
            <p:nvPr/>
          </p:nvSpPr>
          <p:spPr>
            <a:xfrm>
              <a:off x="9489967" y="3858022"/>
              <a:ext cx="2170234" cy="397058"/>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solidFill>
                    <a:srgbClr val="000000"/>
                  </a:solidFill>
                  <a:latin typeface="Segoe UI"/>
                  <a:cs typeface="Segoe UI"/>
                </a:rPr>
                <a:t>C</a:t>
              </a:r>
              <a:r>
                <a:rPr kumimoji="0" lang="es-es" sz="1000" b="0" i="0" u="none" strike="noStrike" kern="1200" cap="none" spc="0" normalizeH="0" baseline="0" noProof="0" dirty="0" err="1">
                  <a:ln>
                    <a:noFill/>
                  </a:ln>
                  <a:solidFill>
                    <a:srgbClr val="000000"/>
                  </a:solidFill>
                  <a:effectLst/>
                  <a:uLnTx/>
                  <a:uFillTx/>
                  <a:latin typeface="Segoe UI"/>
                  <a:ea typeface="+mn-ea"/>
                  <a:cs typeface="Segoe UI"/>
                </a:rPr>
                <a:t>ompara</a:t>
              </a:r>
              <a:r>
                <a:rPr kumimoji="0" lang="es-es" sz="1000" b="0" i="0" u="none" strike="noStrike" kern="1200" cap="none" spc="0" normalizeH="0" baseline="0" noProof="0" dirty="0">
                  <a:ln>
                    <a:noFill/>
                  </a:ln>
                  <a:solidFill>
                    <a:srgbClr val="000000"/>
                  </a:solidFill>
                  <a:effectLst/>
                  <a:uLnTx/>
                  <a:uFillTx/>
                  <a:latin typeface="Segoe UI"/>
                  <a:ea typeface="+mn-ea"/>
                  <a:cs typeface="Segoe UI"/>
                </a:rPr>
                <a:t> las características del producto.</a:t>
              </a: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p:txBody>
        </p:sp>
      </p:grpSp>
      <p:pic>
        <p:nvPicPr>
          <p:cNvPr id="85" name="Picture 84">
            <a:extLst>
              <a:ext uri="{FF2B5EF4-FFF2-40B4-BE49-F238E27FC236}">
                <a16:creationId xmlns:a16="http://schemas.microsoft.com/office/drawing/2014/main" id="{061A2554-A9FC-F97F-F48D-8DA7956AFEA5}"/>
              </a:ext>
            </a:extLst>
          </p:cNvPr>
          <p:cNvPicPr>
            <a:picLocks noChangeAspect="1"/>
          </p:cNvPicPr>
          <p:nvPr/>
        </p:nvPicPr>
        <p:blipFill>
          <a:blip r:embed="rId6">
            <a:clrChange>
              <a:clrFrom>
                <a:srgbClr val="1E1E1E"/>
              </a:clrFrom>
              <a:clrTo>
                <a:srgbClr val="1E1E1E">
                  <a:alpha val="0"/>
                </a:srgbClr>
              </a:clrTo>
            </a:clrChange>
          </a:blip>
          <a:stretch>
            <a:fillRect/>
          </a:stretch>
        </p:blipFill>
        <p:spPr>
          <a:xfrm>
            <a:off x="3244355" y="2790910"/>
            <a:ext cx="479341" cy="485819"/>
          </a:xfrm>
          <a:prstGeom prst="rect">
            <a:avLst/>
          </a:prstGeom>
        </p:spPr>
      </p:pic>
      <p:pic>
        <p:nvPicPr>
          <p:cNvPr id="87" name="Picture 86">
            <a:extLst>
              <a:ext uri="{FF2B5EF4-FFF2-40B4-BE49-F238E27FC236}">
                <a16:creationId xmlns:a16="http://schemas.microsoft.com/office/drawing/2014/main" id="{F1C9A41B-2D25-3797-36C6-CB0CBE837BE9}"/>
              </a:ext>
            </a:extLst>
          </p:cNvPr>
          <p:cNvPicPr>
            <a:picLocks noChangeAspect="1"/>
          </p:cNvPicPr>
          <p:nvPr/>
        </p:nvPicPr>
        <p:blipFill>
          <a:blip r:embed="rId7">
            <a:clrChange>
              <a:clrFrom>
                <a:srgbClr val="1E1E1E"/>
              </a:clrFrom>
              <a:clrTo>
                <a:srgbClr val="1E1E1E">
                  <a:alpha val="0"/>
                </a:srgbClr>
              </a:clrTo>
            </a:clrChange>
          </a:blip>
          <a:stretch>
            <a:fillRect/>
          </a:stretch>
        </p:blipFill>
        <p:spPr>
          <a:xfrm>
            <a:off x="1111927" y="2808540"/>
            <a:ext cx="592304" cy="540347"/>
          </a:xfrm>
          <a:prstGeom prst="rect">
            <a:avLst/>
          </a:prstGeom>
        </p:spPr>
      </p:pic>
      <p:pic>
        <p:nvPicPr>
          <p:cNvPr id="89" name="Picture 88">
            <a:extLst>
              <a:ext uri="{FF2B5EF4-FFF2-40B4-BE49-F238E27FC236}">
                <a16:creationId xmlns:a16="http://schemas.microsoft.com/office/drawing/2014/main" id="{EA063618-4979-192E-8E1A-C511BB72C99A}"/>
              </a:ext>
            </a:extLst>
          </p:cNvPr>
          <p:cNvPicPr>
            <a:picLocks noChangeAspect="1"/>
          </p:cNvPicPr>
          <p:nvPr/>
        </p:nvPicPr>
        <p:blipFill>
          <a:blip r:embed="rId8">
            <a:clrChange>
              <a:clrFrom>
                <a:srgbClr val="1E1E1E"/>
              </a:clrFrom>
              <a:clrTo>
                <a:srgbClr val="1E1E1E">
                  <a:alpha val="0"/>
                </a:srgbClr>
              </a:clrTo>
            </a:clrChange>
          </a:blip>
          <a:stretch>
            <a:fillRect/>
          </a:stretch>
        </p:blipFill>
        <p:spPr>
          <a:xfrm>
            <a:off x="7413478" y="2764264"/>
            <a:ext cx="637579" cy="545724"/>
          </a:xfrm>
          <a:prstGeom prst="rect">
            <a:avLst/>
          </a:prstGeom>
        </p:spPr>
      </p:pic>
      <p:pic>
        <p:nvPicPr>
          <p:cNvPr id="93" name="Picture 92">
            <a:extLst>
              <a:ext uri="{FF2B5EF4-FFF2-40B4-BE49-F238E27FC236}">
                <a16:creationId xmlns:a16="http://schemas.microsoft.com/office/drawing/2014/main" id="{F57E0FBF-59B6-3279-80DA-ACFE8F4C3CA0}"/>
              </a:ext>
            </a:extLst>
          </p:cNvPr>
          <p:cNvPicPr>
            <a:picLocks noChangeAspect="1"/>
          </p:cNvPicPr>
          <p:nvPr/>
        </p:nvPicPr>
        <p:blipFill>
          <a:blip r:embed="rId9">
            <a:clrChange>
              <a:clrFrom>
                <a:srgbClr val="1E1E1E"/>
              </a:clrFrom>
              <a:clrTo>
                <a:srgbClr val="1E1E1E">
                  <a:alpha val="0"/>
                </a:srgbClr>
              </a:clrTo>
            </a:clrChange>
          </a:blip>
          <a:stretch>
            <a:fillRect/>
          </a:stretch>
        </p:blipFill>
        <p:spPr>
          <a:xfrm>
            <a:off x="1111927" y="4135323"/>
            <a:ext cx="598674" cy="581889"/>
          </a:xfrm>
          <a:prstGeom prst="rect">
            <a:avLst/>
          </a:prstGeom>
        </p:spPr>
      </p:pic>
      <p:pic>
        <p:nvPicPr>
          <p:cNvPr id="95" name="Picture 94">
            <a:extLst>
              <a:ext uri="{FF2B5EF4-FFF2-40B4-BE49-F238E27FC236}">
                <a16:creationId xmlns:a16="http://schemas.microsoft.com/office/drawing/2014/main" id="{488E78EA-4DCF-2688-2EB2-4A4F02021F9F}"/>
              </a:ext>
            </a:extLst>
          </p:cNvPr>
          <p:cNvPicPr>
            <a:picLocks noChangeAspect="1"/>
          </p:cNvPicPr>
          <p:nvPr/>
        </p:nvPicPr>
        <p:blipFill>
          <a:blip r:embed="rId10">
            <a:clrChange>
              <a:clrFrom>
                <a:srgbClr val="1E1E1E"/>
              </a:clrFrom>
              <a:clrTo>
                <a:srgbClr val="1E1E1E">
                  <a:alpha val="0"/>
                </a:srgbClr>
              </a:clrTo>
            </a:clrChange>
          </a:blip>
          <a:stretch>
            <a:fillRect/>
          </a:stretch>
        </p:blipFill>
        <p:spPr>
          <a:xfrm>
            <a:off x="3221620" y="4183454"/>
            <a:ext cx="542786" cy="542786"/>
          </a:xfrm>
          <a:prstGeom prst="rect">
            <a:avLst/>
          </a:prstGeom>
        </p:spPr>
      </p:pic>
      <p:pic>
        <p:nvPicPr>
          <p:cNvPr id="97" name="Picture 96">
            <a:extLst>
              <a:ext uri="{FF2B5EF4-FFF2-40B4-BE49-F238E27FC236}">
                <a16:creationId xmlns:a16="http://schemas.microsoft.com/office/drawing/2014/main" id="{04791657-FA4B-0CBF-E5AC-F8A91BC6EF9F}"/>
              </a:ext>
            </a:extLst>
          </p:cNvPr>
          <p:cNvPicPr>
            <a:picLocks noChangeAspect="1"/>
          </p:cNvPicPr>
          <p:nvPr/>
        </p:nvPicPr>
        <p:blipFill>
          <a:blip r:embed="rId11">
            <a:clrChange>
              <a:clrFrom>
                <a:srgbClr val="1E1E1E"/>
              </a:clrFrom>
              <a:clrTo>
                <a:srgbClr val="1E1E1E">
                  <a:alpha val="0"/>
                </a:srgbClr>
              </a:clrTo>
            </a:clrChange>
          </a:blip>
          <a:stretch>
            <a:fillRect/>
          </a:stretch>
        </p:blipFill>
        <p:spPr>
          <a:xfrm>
            <a:off x="7423975" y="5661112"/>
            <a:ext cx="632871" cy="595006"/>
          </a:xfrm>
          <a:prstGeom prst="rect">
            <a:avLst/>
          </a:prstGeom>
        </p:spPr>
      </p:pic>
      <p:pic>
        <p:nvPicPr>
          <p:cNvPr id="99" name="Picture 98">
            <a:extLst>
              <a:ext uri="{FF2B5EF4-FFF2-40B4-BE49-F238E27FC236}">
                <a16:creationId xmlns:a16="http://schemas.microsoft.com/office/drawing/2014/main" id="{7D743907-A10D-1EDA-715A-8975C6849073}"/>
              </a:ext>
            </a:extLst>
          </p:cNvPr>
          <p:cNvPicPr>
            <a:picLocks noChangeAspect="1"/>
          </p:cNvPicPr>
          <p:nvPr/>
        </p:nvPicPr>
        <p:blipFill>
          <a:blip r:embed="rId12">
            <a:clrChange>
              <a:clrFrom>
                <a:srgbClr val="1E1E1E"/>
              </a:clrFrom>
              <a:clrTo>
                <a:srgbClr val="1E1E1E">
                  <a:alpha val="0"/>
                </a:srgbClr>
              </a:clrTo>
            </a:clrChange>
          </a:blip>
          <a:stretch>
            <a:fillRect/>
          </a:stretch>
        </p:blipFill>
        <p:spPr>
          <a:xfrm>
            <a:off x="9482543" y="5635041"/>
            <a:ext cx="533108" cy="564163"/>
          </a:xfrm>
          <a:prstGeom prst="rect">
            <a:avLst/>
          </a:prstGeom>
        </p:spPr>
      </p:pic>
      <p:pic>
        <p:nvPicPr>
          <p:cNvPr id="101" name="Picture 100">
            <a:extLst>
              <a:ext uri="{FF2B5EF4-FFF2-40B4-BE49-F238E27FC236}">
                <a16:creationId xmlns:a16="http://schemas.microsoft.com/office/drawing/2014/main" id="{6806504E-77A2-04F8-49DA-3C74BC3F1EE9}"/>
              </a:ext>
            </a:extLst>
          </p:cNvPr>
          <p:cNvPicPr>
            <a:picLocks noChangeAspect="1"/>
          </p:cNvPicPr>
          <p:nvPr/>
        </p:nvPicPr>
        <p:blipFill>
          <a:blip r:embed="rId13">
            <a:clrChange>
              <a:clrFrom>
                <a:srgbClr val="1E1E1E"/>
              </a:clrFrom>
              <a:clrTo>
                <a:srgbClr val="1E1E1E">
                  <a:alpha val="0"/>
                </a:srgbClr>
              </a:clrTo>
            </a:clrChange>
          </a:blip>
          <a:stretch>
            <a:fillRect/>
          </a:stretch>
        </p:blipFill>
        <p:spPr>
          <a:xfrm>
            <a:off x="3211987" y="5678464"/>
            <a:ext cx="656006" cy="592707"/>
          </a:xfrm>
          <a:prstGeom prst="rect">
            <a:avLst/>
          </a:prstGeom>
        </p:spPr>
      </p:pic>
      <p:pic>
        <p:nvPicPr>
          <p:cNvPr id="103" name="Picture 102">
            <a:extLst>
              <a:ext uri="{FF2B5EF4-FFF2-40B4-BE49-F238E27FC236}">
                <a16:creationId xmlns:a16="http://schemas.microsoft.com/office/drawing/2014/main" id="{AF47FE27-B25B-E0CC-FDFB-2867DF17740C}"/>
              </a:ext>
            </a:extLst>
          </p:cNvPr>
          <p:cNvPicPr>
            <a:picLocks noChangeAspect="1"/>
          </p:cNvPicPr>
          <p:nvPr/>
        </p:nvPicPr>
        <p:blipFill>
          <a:blip r:embed="rId14">
            <a:clrChange>
              <a:clrFrom>
                <a:srgbClr val="1E1E1E"/>
              </a:clrFrom>
              <a:clrTo>
                <a:srgbClr val="1E1E1E">
                  <a:alpha val="0"/>
                </a:srgbClr>
              </a:clrTo>
            </a:clrChange>
          </a:blip>
          <a:stretch>
            <a:fillRect/>
          </a:stretch>
        </p:blipFill>
        <p:spPr>
          <a:xfrm>
            <a:off x="9438367" y="2738144"/>
            <a:ext cx="761339" cy="666172"/>
          </a:xfrm>
          <a:prstGeom prst="rect">
            <a:avLst/>
          </a:prstGeom>
        </p:spPr>
      </p:pic>
      <p:pic>
        <p:nvPicPr>
          <p:cNvPr id="105" name="Picture 104">
            <a:extLst>
              <a:ext uri="{FF2B5EF4-FFF2-40B4-BE49-F238E27FC236}">
                <a16:creationId xmlns:a16="http://schemas.microsoft.com/office/drawing/2014/main" id="{27574075-C4DE-58D8-F088-B9779C2E1991}"/>
              </a:ext>
            </a:extLst>
          </p:cNvPr>
          <p:cNvPicPr>
            <a:picLocks noChangeAspect="1"/>
          </p:cNvPicPr>
          <p:nvPr/>
        </p:nvPicPr>
        <p:blipFill>
          <a:blip r:embed="rId15">
            <a:clrChange>
              <a:clrFrom>
                <a:srgbClr val="1E1E1E"/>
              </a:clrFrom>
              <a:clrTo>
                <a:srgbClr val="1E1E1E">
                  <a:alpha val="0"/>
                </a:srgbClr>
              </a:clrTo>
            </a:clrChange>
          </a:blip>
          <a:stretch>
            <a:fillRect/>
          </a:stretch>
        </p:blipFill>
        <p:spPr>
          <a:xfrm>
            <a:off x="1075593" y="5576572"/>
            <a:ext cx="599952" cy="641125"/>
          </a:xfrm>
          <a:prstGeom prst="rect">
            <a:avLst/>
          </a:prstGeom>
        </p:spPr>
      </p:pic>
      <p:pic>
        <p:nvPicPr>
          <p:cNvPr id="107" name="Picture 106">
            <a:extLst>
              <a:ext uri="{FF2B5EF4-FFF2-40B4-BE49-F238E27FC236}">
                <a16:creationId xmlns:a16="http://schemas.microsoft.com/office/drawing/2014/main" id="{76500203-06FE-1006-B3CB-0829175411FE}"/>
              </a:ext>
            </a:extLst>
          </p:cNvPr>
          <p:cNvPicPr>
            <a:picLocks noChangeAspect="1"/>
          </p:cNvPicPr>
          <p:nvPr/>
        </p:nvPicPr>
        <p:blipFill>
          <a:blip r:embed="rId16">
            <a:clrChange>
              <a:clrFrom>
                <a:srgbClr val="1E1E1E"/>
              </a:clrFrom>
              <a:clrTo>
                <a:srgbClr val="1E1E1E">
                  <a:alpha val="0"/>
                </a:srgbClr>
              </a:clrTo>
            </a:clrChange>
          </a:blip>
          <a:stretch>
            <a:fillRect/>
          </a:stretch>
        </p:blipFill>
        <p:spPr>
          <a:xfrm>
            <a:off x="5232917" y="4147737"/>
            <a:ext cx="771188" cy="713827"/>
          </a:xfrm>
          <a:prstGeom prst="rect">
            <a:avLst/>
          </a:prstGeom>
        </p:spPr>
      </p:pic>
      <p:pic>
        <p:nvPicPr>
          <p:cNvPr id="109" name="Picture 108">
            <a:extLst>
              <a:ext uri="{FF2B5EF4-FFF2-40B4-BE49-F238E27FC236}">
                <a16:creationId xmlns:a16="http://schemas.microsoft.com/office/drawing/2014/main" id="{A3ACE3B2-CD3E-5C3B-CB5F-A5E438C0B71A}"/>
              </a:ext>
            </a:extLst>
          </p:cNvPr>
          <p:cNvPicPr>
            <a:picLocks noChangeAspect="1"/>
          </p:cNvPicPr>
          <p:nvPr/>
        </p:nvPicPr>
        <p:blipFill>
          <a:blip r:embed="rId17">
            <a:clrChange>
              <a:clrFrom>
                <a:srgbClr val="1E1E1E"/>
              </a:clrFrom>
              <a:clrTo>
                <a:srgbClr val="1E1E1E">
                  <a:alpha val="0"/>
                </a:srgbClr>
              </a:clrTo>
            </a:clrChange>
          </a:blip>
          <a:stretch>
            <a:fillRect/>
          </a:stretch>
        </p:blipFill>
        <p:spPr>
          <a:xfrm>
            <a:off x="5402674" y="5699633"/>
            <a:ext cx="540352" cy="522426"/>
          </a:xfrm>
          <a:prstGeom prst="rect">
            <a:avLst/>
          </a:prstGeom>
        </p:spPr>
      </p:pic>
      <p:pic>
        <p:nvPicPr>
          <p:cNvPr id="111" name="Picture 110">
            <a:extLst>
              <a:ext uri="{FF2B5EF4-FFF2-40B4-BE49-F238E27FC236}">
                <a16:creationId xmlns:a16="http://schemas.microsoft.com/office/drawing/2014/main" id="{A48A5BA3-6430-99CB-FA80-0DD04345B602}"/>
              </a:ext>
            </a:extLst>
          </p:cNvPr>
          <p:cNvPicPr>
            <a:picLocks noChangeAspect="1"/>
          </p:cNvPicPr>
          <p:nvPr/>
        </p:nvPicPr>
        <p:blipFill>
          <a:blip r:embed="rId18">
            <a:clrChange>
              <a:clrFrom>
                <a:srgbClr val="1E1E1E"/>
              </a:clrFrom>
              <a:clrTo>
                <a:srgbClr val="1E1E1E">
                  <a:alpha val="0"/>
                </a:srgbClr>
              </a:clrTo>
            </a:clrChange>
          </a:blip>
          <a:stretch>
            <a:fillRect/>
          </a:stretch>
        </p:blipFill>
        <p:spPr>
          <a:xfrm>
            <a:off x="7423976" y="4166364"/>
            <a:ext cx="643406" cy="676572"/>
          </a:xfrm>
          <a:prstGeom prst="rect">
            <a:avLst/>
          </a:prstGeom>
        </p:spPr>
      </p:pic>
      <p:sp>
        <p:nvSpPr>
          <p:cNvPr id="112" name="TextBox 111">
            <a:extLst>
              <a:ext uri="{FF2B5EF4-FFF2-40B4-BE49-F238E27FC236}">
                <a16:creationId xmlns:a16="http://schemas.microsoft.com/office/drawing/2014/main" id="{D78F9AA8-0522-F0C8-01FB-159985905D51}"/>
              </a:ext>
            </a:extLst>
          </p:cNvPr>
          <p:cNvSpPr txBox="1"/>
          <p:nvPr/>
        </p:nvSpPr>
        <p:spPr>
          <a:xfrm>
            <a:off x="527431" y="6649264"/>
            <a:ext cx="1124266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30000" noProof="0">
                <a:ln>
                  <a:noFill/>
                </a:ln>
                <a:solidFill>
                  <a:srgbClr val="091F2C"/>
                </a:solidFill>
                <a:effectLst/>
                <a:uLnTx/>
                <a:uFillTx/>
                <a:latin typeface="Segoe Sans Display"/>
                <a:ea typeface="+mn-ea"/>
                <a:cs typeface="+mn-cs"/>
              </a:rPr>
              <a:t>1</a:t>
            </a:r>
            <a:r>
              <a:rPr kumimoji="0" lang="es-es" sz="1100" b="0" i="0" u="none" strike="noStrike" kern="1200" cap="none" spc="0" normalizeH="0" baseline="0" noProof="0">
                <a:ln>
                  <a:noFill/>
                </a:ln>
                <a:solidFill>
                  <a:srgbClr val="091F2C"/>
                </a:solidFill>
                <a:effectLst/>
                <a:uLnTx/>
                <a:uFillTx/>
                <a:latin typeface="Segoe Sans Display"/>
                <a:ea typeface="+mn-ea"/>
                <a:cs typeface="+mn-cs"/>
              </a:rPr>
              <a:t>La creación de agentes solo está disponible si el administrador de tu organización ha habilitado esta capacidad.</a:t>
            </a:r>
          </a:p>
        </p:txBody>
      </p:sp>
      <p:pic>
        <p:nvPicPr>
          <p:cNvPr id="116" name="Picture 115">
            <a:extLst>
              <a:ext uri="{FF2B5EF4-FFF2-40B4-BE49-F238E27FC236}">
                <a16:creationId xmlns:a16="http://schemas.microsoft.com/office/drawing/2014/main" id="{72970C4A-0DBA-D091-1AB1-6ADDFEF868FB}"/>
              </a:ext>
            </a:extLst>
          </p:cNvPr>
          <p:cNvPicPr>
            <a:picLocks noChangeAspect="1"/>
          </p:cNvPicPr>
          <p:nvPr/>
        </p:nvPicPr>
        <p:blipFill>
          <a:blip r:embed="rId19"/>
          <a:stretch>
            <a:fillRect/>
          </a:stretch>
        </p:blipFill>
        <p:spPr>
          <a:xfrm>
            <a:off x="5359692" y="2743650"/>
            <a:ext cx="644413" cy="601452"/>
          </a:xfrm>
          <a:prstGeom prst="rect">
            <a:avLst/>
          </a:prstGeom>
        </p:spPr>
      </p:pic>
    </p:spTree>
    <p:extLst>
      <p:ext uri="{BB962C8B-B14F-4D97-AF65-F5344CB8AC3E}">
        <p14:creationId xmlns:p14="http://schemas.microsoft.com/office/powerpoint/2010/main" val="10428300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6BE364DA-A19B-30EA-9B1B-320F7978267C}"/>
              </a:ext>
            </a:extLst>
          </p:cNvPr>
          <p:cNvSpPr txBox="1">
            <a:spLocks/>
          </p:cNvSpPr>
          <p:nvPr/>
        </p:nvSpPr>
        <p:spPr>
          <a:xfrm>
            <a:off x="861977"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es-es" sz="3600" b="0">
                <a:ln w="3175">
                  <a:noFill/>
                </a:ln>
                <a:solidFill>
                  <a:schemeClr val="bg1"/>
                </a:solidFill>
                <a:latin typeface="Segoe Sans Display Semibold" pitchFamily="2" charset="0"/>
                <a:cs typeface="Segoe Sans Display Semibold" pitchFamily="2" charset="0"/>
              </a:rPr>
              <a:t>Durante la presentación</a:t>
            </a:r>
          </a:p>
        </p:txBody>
      </p:sp>
      <p:sp>
        <p:nvSpPr>
          <p:cNvPr id="7" name="TextBox 6">
            <a:extLst>
              <a:ext uri="{FF2B5EF4-FFF2-40B4-BE49-F238E27FC236}">
                <a16:creationId xmlns:a16="http://schemas.microsoft.com/office/drawing/2014/main" id="{04F19507-F8D1-A92F-0092-3D1FC7B67534}"/>
              </a:ext>
            </a:extLst>
          </p:cNvPr>
          <p:cNvSpPr txBox="1"/>
          <p:nvPr/>
        </p:nvSpPr>
        <p:spPr>
          <a:xfrm>
            <a:off x="1613676" y="2649378"/>
            <a:ext cx="3724014" cy="58221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1800" b="0" i="0" u="none" strike="noStrike" kern="1200" cap="none" spc="0" normalizeH="0" noProof="0" dirty="0">
                <a:ln>
                  <a:noFill/>
                </a:ln>
                <a:solidFill>
                  <a:schemeClr val="bg1"/>
                </a:solidFill>
                <a:effectLst/>
                <a:uLnTx/>
                <a:uFillTx/>
                <a:ea typeface="+mn-ea"/>
                <a:cs typeface="Segoe UI Light" panose="020B0502040204020203" pitchFamily="34" charset="0"/>
              </a:rPr>
              <a:t>Silenciaremos tu micrófono durante la primera parte de la llamada de hoy.</a:t>
            </a:r>
          </a:p>
        </p:txBody>
      </p:sp>
      <p:sp>
        <p:nvSpPr>
          <p:cNvPr id="8" name="TextBox 7">
            <a:extLst>
              <a:ext uri="{FF2B5EF4-FFF2-40B4-BE49-F238E27FC236}">
                <a16:creationId xmlns:a16="http://schemas.microsoft.com/office/drawing/2014/main" id="{34C57B09-A016-CF69-732F-36AE6C88041B}"/>
              </a:ext>
            </a:extLst>
          </p:cNvPr>
          <p:cNvSpPr txBox="1"/>
          <p:nvPr/>
        </p:nvSpPr>
        <p:spPr>
          <a:xfrm>
            <a:off x="1613679" y="3838334"/>
            <a:ext cx="3611464" cy="11916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1800" b="0" i="0" u="none" strike="noStrike" kern="1200" cap="none" spc="0" normalizeH="0" noProof="0" dirty="0">
                <a:ln>
                  <a:noFill/>
                </a:ln>
                <a:solidFill>
                  <a:schemeClr val="bg1"/>
                </a:solidFill>
                <a:effectLst/>
                <a:uLnTx/>
                <a:uFillTx/>
                <a:ea typeface="+mn-ea"/>
                <a:cs typeface="Segoe UI Light" panose="020B0502040204020203" pitchFamily="34" charset="0"/>
              </a:rPr>
              <a:t>Haz tus preguntas por chat, responderemos a todas, en directo o después. Las preguntas comunes se responderán en voz alta</a:t>
            </a:r>
          </a:p>
        </p:txBody>
      </p:sp>
      <p:pic>
        <p:nvPicPr>
          <p:cNvPr id="9" name="Graphic 8">
            <a:extLst>
              <a:ext uri="{FF2B5EF4-FFF2-40B4-BE49-F238E27FC236}">
                <a16:creationId xmlns:a16="http://schemas.microsoft.com/office/drawing/2014/main" id="{6C3F7F46-1559-08E6-598A-15137726ABDC}"/>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811177" y="2644616"/>
            <a:ext cx="576422" cy="576422"/>
          </a:xfrm>
          <a:prstGeom prst="rect">
            <a:avLst/>
          </a:prstGeom>
        </p:spPr>
      </p:pic>
      <p:sp>
        <p:nvSpPr>
          <p:cNvPr id="10" name="Graphic 15">
            <a:extLst>
              <a:ext uri="{FF2B5EF4-FFF2-40B4-BE49-F238E27FC236}">
                <a16:creationId xmlns:a16="http://schemas.microsoft.com/office/drawing/2014/main" id="{835636AA-5253-4436-44BF-0C11631D929B}"/>
              </a:ext>
              <a:ext uri="{C183D7F6-B498-43B3-948B-1728B52AA6E4}">
                <adec:decorative xmlns:adec="http://schemas.microsoft.com/office/drawing/2017/decorative" val="1"/>
              </a:ext>
            </a:extLst>
          </p:cNvPr>
          <p:cNvSpPr>
            <a:spLocks noChangeAspect="1"/>
          </p:cNvSpPr>
          <p:nvPr/>
        </p:nvSpPr>
        <p:spPr>
          <a:xfrm>
            <a:off x="811176" y="3838333"/>
            <a:ext cx="487787" cy="437720"/>
          </a:xfrm>
          <a:custGeom>
            <a:avLst/>
            <a:gdLst>
              <a:gd name="connsiteX0" fmla="*/ 111552 w 295982"/>
              <a:gd name="connsiteY0" fmla="*/ 0 h 265602"/>
              <a:gd name="connsiteX1" fmla="*/ 908 w 295982"/>
              <a:gd name="connsiteY1" fmla="*/ 110643 h 265602"/>
              <a:gd name="connsiteX2" fmla="*/ 11274 w 295982"/>
              <a:gd name="connsiteY2" fmla="*/ 157458 h 265602"/>
              <a:gd name="connsiteX3" fmla="*/ 590 w 295982"/>
              <a:gd name="connsiteY3" fmla="*/ 199374 h 265602"/>
              <a:gd name="connsiteX4" fmla="*/ 22774 w 295982"/>
              <a:gd name="connsiteY4" fmla="*/ 221862 h 265602"/>
              <a:gd name="connsiteX5" fmla="*/ 66009 w 295982"/>
              <a:gd name="connsiteY5" fmla="*/ 211505 h 265602"/>
              <a:gd name="connsiteX6" fmla="*/ 111552 w 295982"/>
              <a:gd name="connsiteY6" fmla="*/ 221286 h 265602"/>
              <a:gd name="connsiteX7" fmla="*/ 222195 w 295982"/>
              <a:gd name="connsiteY7" fmla="*/ 110643 h 265602"/>
              <a:gd name="connsiteX8" fmla="*/ 111552 w 295982"/>
              <a:gd name="connsiteY8" fmla="*/ 0 h 265602"/>
              <a:gd name="connsiteX9" fmla="*/ 23037 w 295982"/>
              <a:gd name="connsiteY9" fmla="*/ 110643 h 265602"/>
              <a:gd name="connsiteX10" fmla="*/ 111552 w 295982"/>
              <a:gd name="connsiteY10" fmla="*/ 22129 h 265602"/>
              <a:gd name="connsiteX11" fmla="*/ 200066 w 295982"/>
              <a:gd name="connsiteY11" fmla="*/ 110643 h 265602"/>
              <a:gd name="connsiteX12" fmla="*/ 111552 w 295982"/>
              <a:gd name="connsiteY12" fmla="*/ 199158 h 265602"/>
              <a:gd name="connsiteX13" fmla="*/ 72163 w 295982"/>
              <a:gd name="connsiteY13" fmla="*/ 189936 h 265602"/>
              <a:gd name="connsiteX14" fmla="*/ 68572 w 295982"/>
              <a:gd name="connsiteY14" fmla="*/ 188148 h 265602"/>
              <a:gd name="connsiteX15" fmla="*/ 64670 w 295982"/>
              <a:gd name="connsiteY15" fmla="*/ 189077 h 265602"/>
              <a:gd name="connsiteX16" fmla="*/ 23544 w 295982"/>
              <a:gd name="connsiteY16" fmla="*/ 198919 h 265602"/>
              <a:gd name="connsiteX17" fmla="*/ 33724 w 295982"/>
              <a:gd name="connsiteY17" fmla="*/ 158968 h 265602"/>
              <a:gd name="connsiteX18" fmla="*/ 34759 w 295982"/>
              <a:gd name="connsiteY18" fmla="*/ 154897 h 265602"/>
              <a:gd name="connsiteX19" fmla="*/ 32834 w 295982"/>
              <a:gd name="connsiteY19" fmla="*/ 151165 h 265602"/>
              <a:gd name="connsiteX20" fmla="*/ 23037 w 295982"/>
              <a:gd name="connsiteY20" fmla="*/ 110643 h 265602"/>
              <a:gd name="connsiteX21" fmla="*/ 185314 w 295982"/>
              <a:gd name="connsiteY21" fmla="*/ 265545 h 265602"/>
              <a:gd name="connsiteX22" fmla="*/ 110081 w 295982"/>
              <a:gd name="connsiteY22" fmla="*/ 236031 h 265602"/>
              <a:gd name="connsiteX23" fmla="*/ 111552 w 295982"/>
              <a:gd name="connsiteY23" fmla="*/ 236040 h 265602"/>
              <a:gd name="connsiteX24" fmla="*/ 142253 w 295982"/>
              <a:gd name="connsiteY24" fmla="*/ 232253 h 265602"/>
              <a:gd name="connsiteX25" fmla="*/ 185314 w 295982"/>
              <a:gd name="connsiteY25" fmla="*/ 243416 h 265602"/>
              <a:gd name="connsiteX26" fmla="*/ 224703 w 295982"/>
              <a:gd name="connsiteY26" fmla="*/ 234193 h 265602"/>
              <a:gd name="connsiteX27" fmla="*/ 228294 w 295982"/>
              <a:gd name="connsiteY27" fmla="*/ 232405 h 265602"/>
              <a:gd name="connsiteX28" fmla="*/ 232196 w 295982"/>
              <a:gd name="connsiteY28" fmla="*/ 233335 h 265602"/>
              <a:gd name="connsiteX29" fmla="*/ 272606 w 295982"/>
              <a:gd name="connsiteY29" fmla="*/ 242326 h 265602"/>
              <a:gd name="connsiteX30" fmla="*/ 263142 w 295982"/>
              <a:gd name="connsiteY30" fmla="*/ 203225 h 265602"/>
              <a:gd name="connsiteX31" fmla="*/ 262106 w 295982"/>
              <a:gd name="connsiteY31" fmla="*/ 199156 h 265602"/>
              <a:gd name="connsiteX32" fmla="*/ 264031 w 295982"/>
              <a:gd name="connsiteY32" fmla="*/ 195424 h 265602"/>
              <a:gd name="connsiteX33" fmla="*/ 273828 w 295982"/>
              <a:gd name="connsiteY33" fmla="*/ 154902 h 265602"/>
              <a:gd name="connsiteX34" fmla="*/ 233304 w 295982"/>
              <a:gd name="connsiteY34" fmla="*/ 80513 h 265602"/>
              <a:gd name="connsiteX35" fmla="*/ 221508 w 295982"/>
              <a:gd name="connsiteY35" fmla="*/ 50313 h 265602"/>
              <a:gd name="connsiteX36" fmla="*/ 295957 w 295982"/>
              <a:gd name="connsiteY36" fmla="*/ 154902 h 265602"/>
              <a:gd name="connsiteX37" fmla="*/ 285586 w 295982"/>
              <a:gd name="connsiteY37" fmla="*/ 201726 h 265602"/>
              <a:gd name="connsiteX38" fmla="*/ 295497 w 295982"/>
              <a:gd name="connsiteY38" fmla="*/ 243080 h 265602"/>
              <a:gd name="connsiteX39" fmla="*/ 273849 w 295982"/>
              <a:gd name="connsiteY39" fmla="*/ 265201 h 265602"/>
              <a:gd name="connsiteX40" fmla="*/ 230868 w 295982"/>
              <a:gd name="connsiteY40" fmla="*/ 255758 h 265602"/>
              <a:gd name="connsiteX41" fmla="*/ 185314 w 295982"/>
              <a:gd name="connsiteY41" fmla="*/ 265545 h 26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5982" h="265602">
                <a:moveTo>
                  <a:pt x="111552" y="0"/>
                </a:moveTo>
                <a:cubicBezTo>
                  <a:pt x="50445" y="0"/>
                  <a:pt x="908" y="49537"/>
                  <a:pt x="908" y="110643"/>
                </a:cubicBezTo>
                <a:cubicBezTo>
                  <a:pt x="908" y="127356"/>
                  <a:pt x="4621" y="143228"/>
                  <a:pt x="11274" y="157458"/>
                </a:cubicBezTo>
                <a:cubicBezTo>
                  <a:pt x="7527" y="172181"/>
                  <a:pt x="3340" y="188598"/>
                  <a:pt x="590" y="199374"/>
                </a:cubicBezTo>
                <a:cubicBezTo>
                  <a:pt x="-2848" y="212848"/>
                  <a:pt x="9285" y="225104"/>
                  <a:pt x="22774" y="221862"/>
                </a:cubicBezTo>
                <a:cubicBezTo>
                  <a:pt x="33841" y="219202"/>
                  <a:pt x="50851" y="215118"/>
                  <a:pt x="66009" y="211505"/>
                </a:cubicBezTo>
                <a:cubicBezTo>
                  <a:pt x="79911" y="217791"/>
                  <a:pt x="95336" y="221286"/>
                  <a:pt x="111552" y="221286"/>
                </a:cubicBezTo>
                <a:cubicBezTo>
                  <a:pt x="172658" y="221286"/>
                  <a:pt x="222195" y="171749"/>
                  <a:pt x="222195" y="110643"/>
                </a:cubicBezTo>
                <a:cubicBezTo>
                  <a:pt x="222195" y="49537"/>
                  <a:pt x="172658" y="0"/>
                  <a:pt x="111552" y="0"/>
                </a:cubicBezTo>
                <a:close/>
                <a:moveTo>
                  <a:pt x="23037" y="110643"/>
                </a:moveTo>
                <a:cubicBezTo>
                  <a:pt x="23037" y="61758"/>
                  <a:pt x="62666" y="22129"/>
                  <a:pt x="111552" y="22129"/>
                </a:cubicBezTo>
                <a:cubicBezTo>
                  <a:pt x="160437" y="22129"/>
                  <a:pt x="200066" y="61758"/>
                  <a:pt x="200066" y="110643"/>
                </a:cubicBezTo>
                <a:cubicBezTo>
                  <a:pt x="200066" y="159528"/>
                  <a:pt x="160437" y="199158"/>
                  <a:pt x="111552" y="199158"/>
                </a:cubicBezTo>
                <a:cubicBezTo>
                  <a:pt x="97378" y="199158"/>
                  <a:pt x="84013" y="195835"/>
                  <a:pt x="72163" y="189936"/>
                </a:cubicBezTo>
                <a:lnTo>
                  <a:pt x="68572" y="188148"/>
                </a:lnTo>
                <a:lnTo>
                  <a:pt x="64670" y="189077"/>
                </a:lnTo>
                <a:cubicBezTo>
                  <a:pt x="51057" y="192317"/>
                  <a:pt x="35330" y="196088"/>
                  <a:pt x="23544" y="198919"/>
                </a:cubicBezTo>
                <a:cubicBezTo>
                  <a:pt x="26476" y="187425"/>
                  <a:pt x="30358" y="172196"/>
                  <a:pt x="33724" y="158968"/>
                </a:cubicBezTo>
                <a:lnTo>
                  <a:pt x="34759" y="154897"/>
                </a:lnTo>
                <a:lnTo>
                  <a:pt x="32834" y="151165"/>
                </a:lnTo>
                <a:cubicBezTo>
                  <a:pt x="26576" y="139036"/>
                  <a:pt x="23037" y="125269"/>
                  <a:pt x="23037" y="110643"/>
                </a:cubicBezTo>
                <a:close/>
                <a:moveTo>
                  <a:pt x="185314" y="265545"/>
                </a:moveTo>
                <a:cubicBezTo>
                  <a:pt x="156261" y="265545"/>
                  <a:pt x="129823" y="254346"/>
                  <a:pt x="110081" y="236031"/>
                </a:cubicBezTo>
                <a:cubicBezTo>
                  <a:pt x="110571" y="236037"/>
                  <a:pt x="111061" y="236040"/>
                  <a:pt x="111552" y="236040"/>
                </a:cubicBezTo>
                <a:cubicBezTo>
                  <a:pt x="122144" y="236040"/>
                  <a:pt x="132429" y="234726"/>
                  <a:pt x="142253" y="232253"/>
                </a:cubicBezTo>
                <a:cubicBezTo>
                  <a:pt x="154999" y="239364"/>
                  <a:pt x="169684" y="243416"/>
                  <a:pt x="185314" y="243416"/>
                </a:cubicBezTo>
                <a:cubicBezTo>
                  <a:pt x="199487" y="243416"/>
                  <a:pt x="212852" y="240093"/>
                  <a:pt x="224703" y="234193"/>
                </a:cubicBezTo>
                <a:lnTo>
                  <a:pt x="228294" y="232405"/>
                </a:lnTo>
                <a:lnTo>
                  <a:pt x="232196" y="233335"/>
                </a:lnTo>
                <a:cubicBezTo>
                  <a:pt x="245791" y="236571"/>
                  <a:pt x="261186" y="239911"/>
                  <a:pt x="272606" y="242326"/>
                </a:cubicBezTo>
                <a:cubicBezTo>
                  <a:pt x="270024" y="231254"/>
                  <a:pt x="266502" y="216434"/>
                  <a:pt x="263142" y="203225"/>
                </a:cubicBezTo>
                <a:lnTo>
                  <a:pt x="262106" y="199156"/>
                </a:lnTo>
                <a:lnTo>
                  <a:pt x="264031" y="195424"/>
                </a:lnTo>
                <a:cubicBezTo>
                  <a:pt x="270289" y="183294"/>
                  <a:pt x="273828" y="169527"/>
                  <a:pt x="273828" y="154902"/>
                </a:cubicBezTo>
                <a:cubicBezTo>
                  <a:pt x="273828" y="123703"/>
                  <a:pt x="257689" y="96277"/>
                  <a:pt x="233304" y="80513"/>
                </a:cubicBezTo>
                <a:cubicBezTo>
                  <a:pt x="230673" y="69843"/>
                  <a:pt x="226675" y="59711"/>
                  <a:pt x="221508" y="50313"/>
                </a:cubicBezTo>
                <a:cubicBezTo>
                  <a:pt x="264840" y="65307"/>
                  <a:pt x="295957" y="106470"/>
                  <a:pt x="295957" y="154902"/>
                </a:cubicBezTo>
                <a:cubicBezTo>
                  <a:pt x="295957" y="171618"/>
                  <a:pt x="292242" y="187494"/>
                  <a:pt x="285586" y="201726"/>
                </a:cubicBezTo>
                <a:cubicBezTo>
                  <a:pt x="289320" y="216596"/>
                  <a:pt x="293100" y="232705"/>
                  <a:pt x="295497" y="243080"/>
                </a:cubicBezTo>
                <a:cubicBezTo>
                  <a:pt x="298512" y="256136"/>
                  <a:pt x="287014" y="267953"/>
                  <a:pt x="273849" y="265201"/>
                </a:cubicBezTo>
                <a:cubicBezTo>
                  <a:pt x="263121" y="262959"/>
                  <a:pt x="246267" y="259362"/>
                  <a:pt x="230868" y="255758"/>
                </a:cubicBezTo>
                <a:cubicBezTo>
                  <a:pt x="216964" y="262047"/>
                  <a:pt x="201534" y="265545"/>
                  <a:pt x="185314" y="265545"/>
                </a:cubicBezTo>
                <a:close/>
              </a:path>
            </a:pathLst>
          </a:custGeom>
          <a:solidFill>
            <a:schemeClr val="bg1"/>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Text Placeholder 2">
            <a:extLst>
              <a:ext uri="{FF2B5EF4-FFF2-40B4-BE49-F238E27FC236}">
                <a16:creationId xmlns:a16="http://schemas.microsoft.com/office/drawing/2014/main" id="{CBCAA3C6-D822-CC3B-5140-DE3F7E0071FE}"/>
              </a:ext>
            </a:extLst>
          </p:cNvPr>
          <p:cNvSpPr txBox="1">
            <a:spLocks/>
          </p:cNvSpPr>
          <p:nvPr/>
        </p:nvSpPr>
        <p:spPr>
          <a:xfrm>
            <a:off x="6954929" y="898294"/>
            <a:ext cx="4114800" cy="9971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b="1" i="0" kern="1200" spc="0" baseline="0">
                <a:solidFill>
                  <a:schemeClr val="accent1"/>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fontAlgn="auto">
              <a:lnSpc>
                <a:spcPct val="90000"/>
              </a:lnSpc>
              <a:spcBef>
                <a:spcPct val="0"/>
              </a:spcBef>
              <a:spcAft>
                <a:spcPts val="0"/>
              </a:spcAft>
              <a:buClrTx/>
              <a:buSzPct val="90000"/>
              <a:tabLst/>
              <a:defRPr/>
            </a:pPr>
            <a:r>
              <a:rPr lang="es-es" sz="3600" b="0">
                <a:ln w="3175">
                  <a:noFill/>
                </a:ln>
                <a:gradFill flip="none" rotWithShape="1">
                  <a:gsLst>
                    <a:gs pos="14000">
                      <a:srgbClr val="94D8FE"/>
                    </a:gs>
                    <a:gs pos="100000">
                      <a:schemeClr val="bg1"/>
                    </a:gs>
                  </a:gsLst>
                  <a:lin ang="13500000" scaled="1"/>
                  <a:tileRect/>
                </a:gradFill>
                <a:latin typeface="Segoe Sans Display Semibold" pitchFamily="2" charset="0"/>
                <a:cs typeface="Segoe Sans Display Semibold" pitchFamily="2" charset="0"/>
              </a:rPr>
              <a:t>Después de la presentación</a:t>
            </a:r>
          </a:p>
        </p:txBody>
      </p:sp>
      <p:sp>
        <p:nvSpPr>
          <p:cNvPr id="12" name="TextBox 11">
            <a:extLst>
              <a:ext uri="{FF2B5EF4-FFF2-40B4-BE49-F238E27FC236}">
                <a16:creationId xmlns:a16="http://schemas.microsoft.com/office/drawing/2014/main" id="{26684F27-9249-AD6C-E0CA-E961E296E004}"/>
              </a:ext>
            </a:extLst>
          </p:cNvPr>
          <p:cNvSpPr txBox="1"/>
          <p:nvPr/>
        </p:nvSpPr>
        <p:spPr>
          <a:xfrm>
            <a:off x="7579630" y="3838334"/>
            <a:ext cx="3915684" cy="646908"/>
          </a:xfrm>
          <a:prstGeom prst="rect">
            <a:avLst/>
          </a:prstGeom>
          <a:noFill/>
        </p:spPr>
        <p:txBody>
          <a:bodyPr wrap="square" lIns="0" tIns="0" rIns="0" bIns="0" rtlCol="0" anchor="t">
            <a:spAutoFit/>
          </a:bodyPr>
          <a:lstStyle/>
          <a:p>
            <a:pPr lvl="0" defTabSz="914400">
              <a:lnSpc>
                <a:spcPct val="110000"/>
              </a:lnSpc>
              <a:defRPr/>
            </a:pPr>
            <a:r>
              <a:rPr lang="es-es" sz="2000" dirty="0">
                <a:solidFill>
                  <a:schemeClr val="bg1"/>
                </a:solidFill>
                <a:cs typeface="Segoe UI Light" panose="020B0502040204020203" pitchFamily="34" charset="0"/>
              </a:rPr>
              <a:t>Micrófono abierto:</a:t>
            </a:r>
            <a:r>
              <a:rPr lang="es-es" sz="2000" dirty="0">
                <a:solidFill>
                  <a:schemeClr val="bg1"/>
                </a:solidFill>
                <a:cs typeface="Segoe UI Light" panose="020B0502040204020203" pitchFamily="34" charset="0"/>
                <a:sym typeface="Symbol" panose="05050102010706020507" pitchFamily="18" charset="2"/>
              </a:rPr>
              <a:t> de</a:t>
            </a:r>
            <a:r>
              <a:rPr lang="es-es" sz="2000" dirty="0">
                <a:solidFill>
                  <a:schemeClr val="bg1"/>
                </a:solidFill>
                <a:cs typeface="Segoe UI Light" panose="020B0502040204020203" pitchFamily="34" charset="0"/>
              </a:rPr>
              <a:t>sactiva el silencio y pregunta lo que quieras</a:t>
            </a:r>
          </a:p>
        </p:txBody>
      </p:sp>
      <p:pic>
        <p:nvPicPr>
          <p:cNvPr id="13" name="Graphic 12">
            <a:extLst>
              <a:ext uri="{FF2B5EF4-FFF2-40B4-BE49-F238E27FC236}">
                <a16:creationId xmlns:a16="http://schemas.microsoft.com/office/drawing/2014/main" id="{65AB42F6-64BE-3215-F365-58F2561290E8}"/>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6859597" y="3838333"/>
            <a:ext cx="576072" cy="576072"/>
          </a:xfrm>
          <a:prstGeom prst="rect">
            <a:avLst/>
          </a:prstGeom>
        </p:spPr>
      </p:pic>
      <p:pic>
        <p:nvPicPr>
          <p:cNvPr id="14" name="Graphic 13">
            <a:extLst>
              <a:ext uri="{FF2B5EF4-FFF2-40B4-BE49-F238E27FC236}">
                <a16:creationId xmlns:a16="http://schemas.microsoft.com/office/drawing/2014/main" id="{2297191D-BE1F-6D52-1EC6-D0DE1E9A1554}"/>
              </a:ext>
              <a:ext uri="{C183D7F6-B498-43B3-948B-1728B52AA6E4}">
                <adec:decorative xmlns:adec="http://schemas.microsoft.com/office/drawing/2017/decorative" val="1"/>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6854311" y="2644616"/>
            <a:ext cx="581184" cy="581184"/>
          </a:xfrm>
          <a:prstGeom prst="rect">
            <a:avLst/>
          </a:prstGeom>
        </p:spPr>
      </p:pic>
      <p:sp>
        <p:nvSpPr>
          <p:cNvPr id="15" name="TextBox 14">
            <a:extLst>
              <a:ext uri="{FF2B5EF4-FFF2-40B4-BE49-F238E27FC236}">
                <a16:creationId xmlns:a16="http://schemas.microsoft.com/office/drawing/2014/main" id="{4A284CF6-D14F-DF56-1331-5EA56741FEEB}"/>
              </a:ext>
            </a:extLst>
          </p:cNvPr>
          <p:cNvSpPr txBox="1"/>
          <p:nvPr/>
        </p:nvSpPr>
        <p:spPr>
          <a:xfrm>
            <a:off x="7579628" y="2649378"/>
            <a:ext cx="4114800" cy="6469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2000" b="0" i="0" u="none" strike="noStrike" kern="1200" cap="none" spc="0" normalizeH="0" noProof="0" dirty="0">
                <a:ln>
                  <a:noFill/>
                </a:ln>
                <a:solidFill>
                  <a:schemeClr val="bg1"/>
                </a:solidFill>
                <a:effectLst/>
                <a:uLnTx/>
                <a:uFillTx/>
                <a:ea typeface="+mn-ea"/>
                <a:cs typeface="Segoe UI Light" panose="020B0502040204020203" pitchFamily="34" charset="0"/>
              </a:rPr>
              <a:t>Levanta la mano y te daremos </a:t>
            </a:r>
            <a:br>
              <a:rPr kumimoji="0" lang="es-es" sz="2000" b="0" i="0" u="none" strike="noStrike" kern="1200" cap="none" spc="0" normalizeH="0" noProof="0" dirty="0">
                <a:ln>
                  <a:noFill/>
                </a:ln>
                <a:solidFill>
                  <a:schemeClr val="bg1"/>
                </a:solidFill>
                <a:effectLst/>
                <a:uLnTx/>
                <a:uFillTx/>
                <a:ea typeface="+mn-ea"/>
                <a:cs typeface="Segoe UI Light" panose="020B0502040204020203" pitchFamily="34" charset="0"/>
              </a:rPr>
            </a:br>
            <a:r>
              <a:rPr kumimoji="0" lang="es-es" sz="2000" b="0" i="0" u="none" strike="noStrike" kern="1200" cap="none" spc="0" normalizeH="0" noProof="0" dirty="0">
                <a:ln>
                  <a:noFill/>
                </a:ln>
                <a:solidFill>
                  <a:schemeClr val="bg1"/>
                </a:solidFill>
                <a:effectLst/>
                <a:uLnTx/>
                <a:uFillTx/>
                <a:ea typeface="+mn-ea"/>
                <a:cs typeface="Segoe UI Light" panose="020B0502040204020203" pitchFamily="34" charset="0"/>
              </a:rPr>
              <a:t>la palabra</a:t>
            </a:r>
          </a:p>
        </p:txBody>
      </p:sp>
    </p:spTree>
    <p:extLst>
      <p:ext uri="{BB962C8B-B14F-4D97-AF65-F5344CB8AC3E}">
        <p14:creationId xmlns:p14="http://schemas.microsoft.com/office/powerpoint/2010/main" val="96936748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165EA-E4DF-D944-557F-BDE648F09A95}"/>
              </a:ext>
            </a:extLst>
          </p:cNvPr>
          <p:cNvSpPr>
            <a:spLocks noGrp="1"/>
          </p:cNvSpPr>
          <p:nvPr>
            <p:ph type="title"/>
          </p:nvPr>
        </p:nvSpPr>
        <p:spPr/>
        <p:txBody>
          <a:bodyPr/>
          <a:lstStyle/>
          <a:p>
            <a:r>
              <a:rPr lang="es-es" dirty="0"/>
              <a:t>Ejemplos </a:t>
            </a:r>
            <a:br>
              <a:rPr lang="es-es" dirty="0"/>
            </a:br>
            <a:r>
              <a:rPr lang="es-es" dirty="0"/>
              <a:t>de agentes</a:t>
            </a:r>
          </a:p>
        </p:txBody>
      </p:sp>
      <p:pic>
        <p:nvPicPr>
          <p:cNvPr id="5" name="Picture 4">
            <a:extLst>
              <a:ext uri="{FF2B5EF4-FFF2-40B4-BE49-F238E27FC236}">
                <a16:creationId xmlns:a16="http://schemas.microsoft.com/office/drawing/2014/main" id="{3733A812-F8FC-2710-9286-D0B721604A7A}"/>
              </a:ext>
            </a:extLst>
          </p:cNvPr>
          <p:cNvPicPr>
            <a:picLocks noChangeAspect="1"/>
          </p:cNvPicPr>
          <p:nvPr/>
        </p:nvPicPr>
        <p:blipFill>
          <a:blip r:embed="rId3"/>
          <a:stretch>
            <a:fillRect/>
          </a:stretch>
        </p:blipFill>
        <p:spPr>
          <a:xfrm>
            <a:off x="3791965" y="0"/>
            <a:ext cx="8400035" cy="6858000"/>
          </a:xfrm>
          <a:prstGeom prst="rect">
            <a:avLst/>
          </a:prstGeom>
        </p:spPr>
      </p:pic>
      <p:sp>
        <p:nvSpPr>
          <p:cNvPr id="6" name="TextBox 5">
            <a:extLst>
              <a:ext uri="{FF2B5EF4-FFF2-40B4-BE49-F238E27FC236}">
                <a16:creationId xmlns:a16="http://schemas.microsoft.com/office/drawing/2014/main" id="{47C78954-1472-AFA2-87C1-7BB4CF074537}"/>
              </a:ext>
            </a:extLst>
          </p:cNvPr>
          <p:cNvSpPr txBox="1"/>
          <p:nvPr/>
        </p:nvSpPr>
        <p:spPr>
          <a:xfrm>
            <a:off x="225380" y="2201031"/>
            <a:ext cx="3258355" cy="3385542"/>
          </a:xfrm>
          <a:prstGeom prst="rect">
            <a:avLst/>
          </a:prstGeom>
          <a:noFill/>
        </p:spPr>
        <p:txBody>
          <a:bodyPr wrap="square" lIns="0" tIns="0" rIns="0" bIns="0" rtlCol="0">
            <a:spAutoFit/>
          </a:bodyPr>
          <a:lstStyle/>
          <a:p>
            <a:pPr algn="l"/>
            <a:r>
              <a:rPr lang="es-es" sz="2000" dirty="0"/>
              <a:t>Vídeo de demostración</a:t>
            </a:r>
          </a:p>
          <a:p>
            <a:pPr algn="l"/>
            <a:endParaRPr lang="en-GB" sz="2000" dirty="0"/>
          </a:p>
          <a:p>
            <a:pPr algn="l"/>
            <a:r>
              <a:rPr lang="es-es" sz="2000" dirty="0"/>
              <a:t>Configuración de agentes</a:t>
            </a:r>
          </a:p>
          <a:p>
            <a:pPr algn="l"/>
            <a:endParaRPr lang="en-GB" sz="2000" dirty="0"/>
          </a:p>
          <a:p>
            <a:pPr algn="l"/>
            <a:r>
              <a:rPr lang="es-es" sz="2000" dirty="0"/>
              <a:t>Iconos</a:t>
            </a:r>
          </a:p>
          <a:p>
            <a:pPr algn="l"/>
            <a:endParaRPr lang="en-GB" sz="2000" dirty="0"/>
          </a:p>
          <a:p>
            <a:pPr algn="l"/>
            <a:r>
              <a:rPr lang="es-es" sz="2000" dirty="0"/>
              <a:t>Instrucciones de creación </a:t>
            </a:r>
          </a:p>
          <a:p>
            <a:pPr algn="l"/>
            <a:endParaRPr lang="en-GB" sz="2000" dirty="0"/>
          </a:p>
          <a:p>
            <a:pPr algn="l"/>
            <a:r>
              <a:rPr lang="es-es" sz="2000" dirty="0">
                <a:hlinkClick r:id="rId4"/>
              </a:rPr>
              <a:t>aka.ms/copilotquickstarts </a:t>
            </a:r>
            <a:endParaRPr lang="en-US" sz="2000" dirty="0">
              <a:solidFill>
                <a:srgbClr val="000000"/>
              </a:solidFill>
              <a:latin typeface="Segoe UI"/>
            </a:endParaRPr>
          </a:p>
          <a:p>
            <a:pPr lvl="0" defTabSz="914400">
              <a:defRPr/>
            </a:pPr>
            <a:endParaRPr lang="en-US" sz="2000" dirty="0">
              <a:solidFill>
                <a:srgbClr val="000000"/>
              </a:solidFill>
              <a:latin typeface="Segoe UI"/>
            </a:endParaRPr>
          </a:p>
          <a:p>
            <a:pPr algn="l"/>
            <a:endParaRPr lang="en-GB" sz="2000" dirty="0"/>
          </a:p>
        </p:txBody>
      </p:sp>
    </p:spTree>
    <p:extLst>
      <p:ext uri="{BB962C8B-B14F-4D97-AF65-F5344CB8AC3E}">
        <p14:creationId xmlns:p14="http://schemas.microsoft.com/office/powerpoint/2010/main" val="281793284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BE0C6-DED5-DD9A-FEEB-0AB2A154CBDB}"/>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9CB135EE-1C60-F9DD-2E10-16ACE1016D8A}"/>
              </a:ext>
            </a:extLst>
          </p:cNvPr>
          <p:cNvSpPr txBox="1">
            <a:spLocks noGrp="1"/>
          </p:cNvSpPr>
          <p:nvPr>
            <p:ph type="title"/>
          </p:nvPr>
        </p:nvSpPr>
        <p:spPr>
          <a:xfrm>
            <a:off x="588263" y="494585"/>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lang="es-es" dirty="0"/>
              <a:t>C</a:t>
            </a:r>
            <a:r>
              <a:rPr lang="es-es" sz="3600" dirty="0"/>
              <a:t>rear agentes mediante ejemplos de </a:t>
            </a:r>
            <a:r>
              <a:rPr lang="es-es" dirty="0"/>
              <a:t>agentes</a:t>
            </a:r>
            <a:r>
              <a:rPr lang="es-es" sz="3600" dirty="0"/>
              <a:t> </a:t>
            </a:r>
            <a:endParaRPr kumimoji="0" lang="en-US" sz="3600" b="0" i="0" u="none" strike="noStrike" kern="1200" cap="none" spc="-50" normalizeH="0" baseline="0" noProof="0" dirty="0">
              <a:ln w="3175">
                <a:noFill/>
              </a:ln>
              <a:solidFill>
                <a:srgbClr val="000000"/>
              </a:solidFill>
              <a:effectLst/>
              <a:uLnTx/>
              <a:uFillTx/>
              <a:latin typeface="Segoe UI Semibold"/>
              <a:ea typeface="+mn-ea"/>
              <a:cs typeface="Segoe UI Semibold"/>
            </a:endParaRPr>
          </a:p>
        </p:txBody>
      </p:sp>
      <p:pic>
        <p:nvPicPr>
          <p:cNvPr id="4" name="Picture 3">
            <a:extLst>
              <a:ext uri="{FF2B5EF4-FFF2-40B4-BE49-F238E27FC236}">
                <a16:creationId xmlns:a16="http://schemas.microsoft.com/office/drawing/2014/main" id="{6F545880-2A0F-906F-F23B-709A3D2E0CD4}"/>
              </a:ext>
            </a:extLst>
          </p:cNvPr>
          <p:cNvPicPr>
            <a:picLocks noChangeAspect="1"/>
          </p:cNvPicPr>
          <p:nvPr/>
        </p:nvPicPr>
        <p:blipFill>
          <a:blip r:embed="rId3"/>
          <a:srcRect/>
          <a:stretch/>
        </p:blipFill>
        <p:spPr>
          <a:xfrm>
            <a:off x="3246" y="1285027"/>
            <a:ext cx="12185507" cy="1532708"/>
          </a:xfrm>
          <a:prstGeom prst="rect">
            <a:avLst/>
          </a:prstGeom>
        </p:spPr>
      </p:pic>
      <p:pic>
        <p:nvPicPr>
          <p:cNvPr id="5" name="Picture 4">
            <a:extLst>
              <a:ext uri="{FF2B5EF4-FFF2-40B4-BE49-F238E27FC236}">
                <a16:creationId xmlns:a16="http://schemas.microsoft.com/office/drawing/2014/main" id="{13BBC8B1-F7C8-799C-22ED-B27160A7071F}"/>
              </a:ext>
            </a:extLst>
          </p:cNvPr>
          <p:cNvPicPr>
            <a:picLocks noChangeAspect="1"/>
          </p:cNvPicPr>
          <p:nvPr/>
        </p:nvPicPr>
        <p:blipFill>
          <a:blip r:embed="rId4"/>
          <a:stretch>
            <a:fillRect/>
          </a:stretch>
        </p:blipFill>
        <p:spPr>
          <a:xfrm>
            <a:off x="6202280" y="2716083"/>
            <a:ext cx="5775139" cy="4075743"/>
          </a:xfrm>
          <a:prstGeom prst="rect">
            <a:avLst/>
          </a:prstGeom>
        </p:spPr>
      </p:pic>
      <p:sp>
        <p:nvSpPr>
          <p:cNvPr id="7" name="TextBox 6">
            <a:extLst>
              <a:ext uri="{FF2B5EF4-FFF2-40B4-BE49-F238E27FC236}">
                <a16:creationId xmlns:a16="http://schemas.microsoft.com/office/drawing/2014/main" id="{2689F384-2C62-56BB-2316-50D6500E727E}"/>
              </a:ext>
            </a:extLst>
          </p:cNvPr>
          <p:cNvSpPr txBox="1"/>
          <p:nvPr/>
        </p:nvSpPr>
        <p:spPr>
          <a:xfrm>
            <a:off x="4436035" y="2970837"/>
            <a:ext cx="1810343" cy="1508105"/>
          </a:xfrm>
          <a:prstGeom prst="rect">
            <a:avLst/>
          </a:prstGeom>
          <a:noFill/>
        </p:spPr>
        <p:txBody>
          <a:bodyPr wrap="square" lIns="0" tIns="0" rIns="0" bIns="0" rtlCol="0">
            <a:spAutoFit/>
          </a:bodyPr>
          <a:lstStyle/>
          <a:p>
            <a:pPr algn="l"/>
            <a:r>
              <a:rPr lang="es-es" sz="1400" dirty="0"/>
              <a:t>Ingresa:</a:t>
            </a:r>
          </a:p>
          <a:p>
            <a:pPr marL="457200" indent="-457200" algn="l">
              <a:buFont typeface="+mj-lt"/>
              <a:buAutoNum type="arabicPeriod"/>
            </a:pPr>
            <a:r>
              <a:rPr lang="es-es" sz="1400" dirty="0"/>
              <a:t>Detalles</a:t>
            </a:r>
          </a:p>
          <a:p>
            <a:pPr marL="457200" indent="-457200" algn="l">
              <a:buFont typeface="+mj-lt"/>
              <a:buAutoNum type="arabicPeriod"/>
            </a:pPr>
            <a:r>
              <a:rPr lang="es-es" sz="1400" dirty="0"/>
              <a:t>Instrucciones</a:t>
            </a:r>
          </a:p>
          <a:p>
            <a:pPr marL="457200" indent="-457200" algn="l">
              <a:buFont typeface="+mj-lt"/>
              <a:buAutoNum type="arabicPeriod"/>
            </a:pPr>
            <a:r>
              <a:rPr lang="es-es" sz="1400" dirty="0"/>
              <a:t>Conocimientos</a:t>
            </a:r>
          </a:p>
          <a:p>
            <a:pPr marL="457200" indent="-457200" algn="l">
              <a:buFont typeface="+mj-lt"/>
              <a:buAutoNum type="arabicPeriod"/>
            </a:pPr>
            <a:r>
              <a:rPr lang="es-es" sz="1400" dirty="0"/>
              <a:t>Capacidades</a:t>
            </a:r>
          </a:p>
          <a:p>
            <a:pPr marL="457200" indent="-457200" algn="l">
              <a:buFont typeface="+mj-lt"/>
              <a:buAutoNum type="arabicPeriod"/>
            </a:pPr>
            <a:r>
              <a:rPr lang="es-es" sz="1400" dirty="0"/>
              <a:t>Indicaciones sugeridas</a:t>
            </a:r>
          </a:p>
        </p:txBody>
      </p:sp>
      <p:pic>
        <p:nvPicPr>
          <p:cNvPr id="8" name="Picture 7">
            <a:extLst>
              <a:ext uri="{FF2B5EF4-FFF2-40B4-BE49-F238E27FC236}">
                <a16:creationId xmlns:a16="http://schemas.microsoft.com/office/drawing/2014/main" id="{04E9EF89-A055-D107-462E-5D53270C0A1A}"/>
              </a:ext>
            </a:extLst>
          </p:cNvPr>
          <p:cNvPicPr>
            <a:picLocks noChangeAspect="1"/>
          </p:cNvPicPr>
          <p:nvPr/>
        </p:nvPicPr>
        <p:blipFill>
          <a:blip r:embed="rId5"/>
          <a:stretch>
            <a:fillRect/>
          </a:stretch>
        </p:blipFill>
        <p:spPr>
          <a:xfrm>
            <a:off x="72639" y="2869531"/>
            <a:ext cx="4148438" cy="3386889"/>
          </a:xfrm>
          <a:prstGeom prst="rect">
            <a:avLst/>
          </a:prstGeom>
        </p:spPr>
      </p:pic>
    </p:spTree>
    <p:extLst>
      <p:ext uri="{BB962C8B-B14F-4D97-AF65-F5344CB8AC3E}">
        <p14:creationId xmlns:p14="http://schemas.microsoft.com/office/powerpoint/2010/main" val="273689158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26776-445A-95DB-99BA-094D1B07D70B}"/>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A76DF80F-0DDF-E2BB-834B-D49418DBA0E7}"/>
              </a:ext>
            </a:extLst>
          </p:cNvPr>
          <p:cNvSpPr txBox="1">
            <a:spLocks noGrp="1"/>
          </p:cNvSpPr>
          <p:nvPr>
            <p:ph type="title"/>
          </p:nvPr>
        </p:nvSpPr>
        <p:spPr>
          <a:xfrm>
            <a:off x="588263" y="36448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s-es" sz="3200">
                <a:cs typeface="Segoe UI"/>
              </a:rPr>
              <a:t>Uso combinado de agentes para mejorar el flujo de trabajo</a:t>
            </a:r>
            <a:endParaRPr lang="en-US" sz="3200" b="0" i="0" u="none" strike="noStrike" kern="1200" cap="none" spc="-50" normalizeH="0" baseline="0" noProof="0">
              <a:ln w="3175">
                <a:noFill/>
              </a:ln>
              <a:solidFill>
                <a:srgbClr val="000000"/>
              </a:solidFill>
              <a:effectLst/>
              <a:uLnTx/>
              <a:uFillTx/>
              <a:latin typeface="Segoe UI Semibold"/>
              <a:cs typeface="Segoe UI"/>
            </a:endParaRPr>
          </a:p>
        </p:txBody>
      </p:sp>
      <p:grpSp>
        <p:nvGrpSpPr>
          <p:cNvPr id="45" name="Group 44">
            <a:extLst>
              <a:ext uri="{FF2B5EF4-FFF2-40B4-BE49-F238E27FC236}">
                <a16:creationId xmlns:a16="http://schemas.microsoft.com/office/drawing/2014/main" id="{06314874-9084-F9DF-A5F3-5273A73364B3}"/>
              </a:ext>
            </a:extLst>
          </p:cNvPr>
          <p:cNvGrpSpPr/>
          <p:nvPr/>
        </p:nvGrpSpPr>
        <p:grpSpPr>
          <a:xfrm>
            <a:off x="4270008" y="3483894"/>
            <a:ext cx="1675510" cy="1323157"/>
            <a:chOff x="5029590" y="2636415"/>
            <a:chExt cx="2158060" cy="1706984"/>
          </a:xfrm>
        </p:grpSpPr>
        <p:sp>
          <p:nvSpPr>
            <p:cNvPr id="10" name="Rectangle: Rounded Corners 9">
              <a:extLst>
                <a:ext uri="{FF2B5EF4-FFF2-40B4-BE49-F238E27FC236}">
                  <a16:creationId xmlns:a16="http://schemas.microsoft.com/office/drawing/2014/main" id="{0554DAF3-A36A-E543-EC51-01DE21663BD7}"/>
                </a:ext>
                <a:ext uri="{C183D7F6-B498-43B3-948B-1728B52AA6E4}">
                  <adec:decorative xmlns:adec="http://schemas.microsoft.com/office/drawing/2017/decorative" val="1"/>
                </a:ext>
              </a:extLst>
            </p:cNvPr>
            <p:cNvSpPr/>
            <p:nvPr/>
          </p:nvSpPr>
          <p:spPr bwMode="auto">
            <a:xfrm>
              <a:off x="5029590" y="2636415"/>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E0159830-D419-92C0-43F1-3BCF574A3DF2}"/>
                </a:ext>
              </a:extLst>
            </p:cNvPr>
            <p:cNvSpPr txBox="1"/>
            <p:nvPr/>
          </p:nvSpPr>
          <p:spPr>
            <a:xfrm>
              <a:off x="5244256" y="2638851"/>
              <a:ext cx="1696175" cy="555880"/>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Mentor de narración</a:t>
              </a:r>
            </a:p>
          </p:txBody>
        </p:sp>
        <p:sp>
          <p:nvSpPr>
            <p:cNvPr id="12" name="TextBox 11">
              <a:extLst>
                <a:ext uri="{FF2B5EF4-FFF2-40B4-BE49-F238E27FC236}">
                  <a16:creationId xmlns:a16="http://schemas.microsoft.com/office/drawing/2014/main" id="{C4FF830E-709E-983C-742F-5A962A681679}"/>
                </a:ext>
              </a:extLst>
            </p:cNvPr>
            <p:cNvSpPr txBox="1"/>
            <p:nvPr/>
          </p:nvSpPr>
          <p:spPr>
            <a:xfrm>
              <a:off x="5166575" y="3841598"/>
              <a:ext cx="1884090" cy="436763"/>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Segoe UI"/>
                  <a:ea typeface="+mn-ea"/>
                  <a:cs typeface="Segoe UI"/>
                </a:rPr>
                <a:t>Mejora tu comunicación</a:t>
              </a:r>
            </a:p>
          </p:txBody>
        </p:sp>
      </p:grpSp>
      <p:grpSp>
        <p:nvGrpSpPr>
          <p:cNvPr id="42" name="Group 41">
            <a:extLst>
              <a:ext uri="{FF2B5EF4-FFF2-40B4-BE49-F238E27FC236}">
                <a16:creationId xmlns:a16="http://schemas.microsoft.com/office/drawing/2014/main" id="{B420C8C5-C462-3FEF-7DAE-8CFE4B6E681A}"/>
              </a:ext>
            </a:extLst>
          </p:cNvPr>
          <p:cNvGrpSpPr/>
          <p:nvPr/>
        </p:nvGrpSpPr>
        <p:grpSpPr>
          <a:xfrm>
            <a:off x="2367189" y="2811238"/>
            <a:ext cx="1665616" cy="1309544"/>
            <a:chOff x="557513" y="4415392"/>
            <a:chExt cx="2158060" cy="1706984"/>
          </a:xfrm>
        </p:grpSpPr>
        <p:sp>
          <p:nvSpPr>
            <p:cNvPr id="29" name="Rectangle: Rounded Corners 28">
              <a:extLst>
                <a:ext uri="{FF2B5EF4-FFF2-40B4-BE49-F238E27FC236}">
                  <a16:creationId xmlns:a16="http://schemas.microsoft.com/office/drawing/2014/main" id="{34BEAB79-73CF-2175-3F1C-9EF710ACDDEA}"/>
                </a:ext>
                <a:ext uri="{C183D7F6-B498-43B3-948B-1728B52AA6E4}">
                  <adec:decorative xmlns:adec="http://schemas.microsoft.com/office/drawing/2017/decorative" val="1"/>
                </a:ext>
              </a:extLst>
            </p:cNvPr>
            <p:cNvSpPr/>
            <p:nvPr/>
          </p:nvSpPr>
          <p:spPr bwMode="auto">
            <a:xfrm>
              <a:off x="557513" y="4415392"/>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B74CE632-A990-131D-6D38-FFBFADF2FDB6}"/>
                </a:ext>
              </a:extLst>
            </p:cNvPr>
            <p:cNvSpPr txBox="1"/>
            <p:nvPr/>
          </p:nvSpPr>
          <p:spPr>
            <a:xfrm>
              <a:off x="557513" y="4442531"/>
              <a:ext cx="2155386" cy="341007"/>
            </a:xfrm>
            <a:prstGeom prst="rect">
              <a:avLst/>
            </a:prstGeom>
            <a:noFill/>
            <a:ln>
              <a:noFill/>
            </a:ln>
            <a:effectLst/>
          </p:spPr>
          <p:txBody>
            <a:bodyPr wrap="square" lIns="91440" tIns="45720" rIns="91440" bIns="45720" anchor="ctr">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Creador de producto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32" name="TextBox 31">
              <a:extLst>
                <a:ext uri="{FF2B5EF4-FFF2-40B4-BE49-F238E27FC236}">
                  <a16:creationId xmlns:a16="http://schemas.microsoft.com/office/drawing/2014/main" id="{F92889E8-B842-FC04-0B3B-2571F6EFC277}"/>
                </a:ext>
              </a:extLst>
            </p:cNvPr>
            <p:cNvSpPr txBox="1"/>
            <p:nvPr/>
          </p:nvSpPr>
          <p:spPr>
            <a:xfrm>
              <a:off x="683794" y="5626124"/>
              <a:ext cx="1957308" cy="441303"/>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Segoe UI"/>
                  <a:ea typeface="+mn-ea"/>
                  <a:cs typeface="Segoe UI"/>
                </a:rPr>
                <a:t>Acelera la planificación de productos</a:t>
              </a:r>
            </a:p>
          </p:txBody>
        </p:sp>
      </p:grpSp>
      <p:grpSp>
        <p:nvGrpSpPr>
          <p:cNvPr id="44" name="Group 43">
            <a:extLst>
              <a:ext uri="{FF2B5EF4-FFF2-40B4-BE49-F238E27FC236}">
                <a16:creationId xmlns:a16="http://schemas.microsoft.com/office/drawing/2014/main" id="{BA00C13E-9194-7CD9-20C6-C3E4745F5E7A}"/>
              </a:ext>
            </a:extLst>
          </p:cNvPr>
          <p:cNvGrpSpPr/>
          <p:nvPr/>
        </p:nvGrpSpPr>
        <p:grpSpPr>
          <a:xfrm>
            <a:off x="8101323" y="2763549"/>
            <a:ext cx="1670694" cy="1355298"/>
            <a:chOff x="2776832" y="4373875"/>
            <a:chExt cx="2174933" cy="1748502"/>
          </a:xfrm>
        </p:grpSpPr>
        <p:sp>
          <p:nvSpPr>
            <p:cNvPr id="28" name="Rectangle: Rounded Corners 27">
              <a:extLst>
                <a:ext uri="{FF2B5EF4-FFF2-40B4-BE49-F238E27FC236}">
                  <a16:creationId xmlns:a16="http://schemas.microsoft.com/office/drawing/2014/main" id="{76DE5356-C0F3-8410-AF2A-3157A74E3136}"/>
                </a:ext>
                <a:ext uri="{C183D7F6-B498-43B3-948B-1728B52AA6E4}">
                  <adec:decorative xmlns:adec="http://schemas.microsoft.com/office/drawing/2017/decorative" val="1"/>
                </a:ext>
              </a:extLst>
            </p:cNvPr>
            <p:cNvSpPr/>
            <p:nvPr/>
          </p:nvSpPr>
          <p:spPr bwMode="auto">
            <a:xfrm>
              <a:off x="2785269" y="4415392"/>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TextBox 32">
              <a:extLst>
                <a:ext uri="{FF2B5EF4-FFF2-40B4-BE49-F238E27FC236}">
                  <a16:creationId xmlns:a16="http://schemas.microsoft.com/office/drawing/2014/main" id="{C6381BBA-EBB9-529B-01CC-6EC584BF8FA1}"/>
                </a:ext>
              </a:extLst>
            </p:cNvPr>
            <p:cNvSpPr txBox="1"/>
            <p:nvPr/>
          </p:nvSpPr>
          <p:spPr>
            <a:xfrm>
              <a:off x="2776832" y="4373875"/>
              <a:ext cx="2174933" cy="555897"/>
            </a:xfrm>
            <a:prstGeom prst="rect">
              <a:avLst/>
            </a:prstGeom>
            <a:noFill/>
            <a:ln>
              <a:noFill/>
            </a:ln>
            <a:effectLst/>
          </p:spPr>
          <p:txBody>
            <a:bodyPr wrap="square" lIns="91440" tIns="45720" rIns="91440" bIns="45720" anchor="ctr">
              <a:spAutoFit/>
            </a:bodyPr>
            <a:lstStyle/>
            <a:p>
              <a:pPr lvl="0" algn="ctr" defTabSz="932472" fontAlgn="base">
                <a:spcBef>
                  <a:spcPct val="0"/>
                </a:spcBef>
                <a:spcAft>
                  <a:spcPct val="0"/>
                </a:spcAf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sistente de presentación de venta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34" name="TextBox 33">
              <a:extLst>
                <a:ext uri="{FF2B5EF4-FFF2-40B4-BE49-F238E27FC236}">
                  <a16:creationId xmlns:a16="http://schemas.microsoft.com/office/drawing/2014/main" id="{84408F5B-8C8E-8B97-1A02-DCE63D90D457}"/>
                </a:ext>
              </a:extLst>
            </p:cNvPr>
            <p:cNvSpPr txBox="1"/>
            <p:nvPr/>
          </p:nvSpPr>
          <p:spPr>
            <a:xfrm>
              <a:off x="2852559" y="5668316"/>
              <a:ext cx="2009120" cy="43677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Segoe UI"/>
                  <a:ea typeface="+mn-ea"/>
                  <a:cs typeface="Segoe UI"/>
                </a:rPr>
                <a:t>Impulsa el éxito </a:t>
              </a:r>
              <a:br>
                <a:rPr kumimoji="0" lang="es-es" sz="1100" b="0" i="0" u="none" strike="noStrike" kern="1200" cap="none" spc="0" normalizeH="0" baseline="0" noProof="0" dirty="0">
                  <a:ln>
                    <a:noFill/>
                  </a:ln>
                  <a:solidFill>
                    <a:srgbClr val="000000"/>
                  </a:solidFill>
                  <a:effectLst/>
                  <a:uLnTx/>
                  <a:uFillTx/>
                  <a:latin typeface="Segoe UI"/>
                  <a:ea typeface="+mn-ea"/>
                  <a:cs typeface="Segoe UI"/>
                </a:rPr>
              </a:br>
              <a:r>
                <a:rPr kumimoji="0" lang="es-es" sz="1100" b="0" i="0" u="none" strike="noStrike" kern="1200" cap="none" spc="0" normalizeH="0" baseline="0" noProof="0" dirty="0">
                  <a:ln>
                    <a:noFill/>
                  </a:ln>
                  <a:solidFill>
                    <a:srgbClr val="000000"/>
                  </a:solidFill>
                  <a:effectLst/>
                  <a:uLnTx/>
                  <a:uFillTx/>
                  <a:latin typeface="Segoe UI"/>
                  <a:ea typeface="+mn-ea"/>
                  <a:cs typeface="Segoe UI"/>
                </a:rPr>
                <a:t>en ventas</a:t>
              </a:r>
            </a:p>
          </p:txBody>
        </p:sp>
      </p:grpSp>
      <p:grpSp>
        <p:nvGrpSpPr>
          <p:cNvPr id="46" name="Group 45">
            <a:extLst>
              <a:ext uri="{FF2B5EF4-FFF2-40B4-BE49-F238E27FC236}">
                <a16:creationId xmlns:a16="http://schemas.microsoft.com/office/drawing/2014/main" id="{8C3D3306-DCD6-7E16-5A8D-217434088635}"/>
              </a:ext>
            </a:extLst>
          </p:cNvPr>
          <p:cNvGrpSpPr/>
          <p:nvPr/>
        </p:nvGrpSpPr>
        <p:grpSpPr>
          <a:xfrm>
            <a:off x="4249466" y="2087669"/>
            <a:ext cx="1689100" cy="1321083"/>
            <a:chOff x="5006226" y="4406016"/>
            <a:chExt cx="2175564" cy="1716361"/>
          </a:xfrm>
        </p:grpSpPr>
        <p:sp>
          <p:nvSpPr>
            <p:cNvPr id="30" name="Rectangle: Rounded Corners 29">
              <a:extLst>
                <a:ext uri="{FF2B5EF4-FFF2-40B4-BE49-F238E27FC236}">
                  <a16:creationId xmlns:a16="http://schemas.microsoft.com/office/drawing/2014/main" id="{F96584C6-DD61-67AB-98BC-C7071D6EA330}"/>
                </a:ext>
                <a:ext uri="{C183D7F6-B498-43B3-948B-1728B52AA6E4}">
                  <adec:decorative xmlns:adec="http://schemas.microsoft.com/office/drawing/2017/decorative" val="1"/>
                </a:ext>
              </a:extLst>
            </p:cNvPr>
            <p:cNvSpPr/>
            <p:nvPr/>
          </p:nvSpPr>
          <p:spPr bwMode="auto">
            <a:xfrm>
              <a:off x="502372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F1C4D321-E84A-EBD2-4D22-46819F087101}"/>
                </a:ext>
              </a:extLst>
            </p:cNvPr>
            <p:cNvSpPr txBox="1"/>
            <p:nvPr/>
          </p:nvSpPr>
          <p:spPr>
            <a:xfrm>
              <a:off x="5238395" y="4406016"/>
              <a:ext cx="1696175" cy="559811"/>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gente de marketing</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36" name="TextBox 35">
              <a:extLst>
                <a:ext uri="{FF2B5EF4-FFF2-40B4-BE49-F238E27FC236}">
                  <a16:creationId xmlns:a16="http://schemas.microsoft.com/office/drawing/2014/main" id="{AFBC5D43-84CE-F251-18B5-164C81C80D59}"/>
                </a:ext>
              </a:extLst>
            </p:cNvPr>
            <p:cNvSpPr txBox="1"/>
            <p:nvPr/>
          </p:nvSpPr>
          <p:spPr>
            <a:xfrm>
              <a:off x="5006226" y="5654595"/>
              <a:ext cx="2175564" cy="439852"/>
            </a:xfrm>
            <a:prstGeom prst="rect">
              <a:avLst/>
            </a:prstGeom>
            <a:noFill/>
            <a:ln>
              <a:noFill/>
            </a:ln>
            <a:effec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Segoe UI"/>
                  <a:ea typeface="+mn-ea"/>
                  <a:cs typeface="Segoe UI"/>
                </a:rPr>
                <a:t>Escribe contenido </a:t>
              </a:r>
              <a:br>
                <a:rPr kumimoji="0" lang="es-es" sz="1100" b="0" i="0" u="none" strike="noStrike" kern="1200" cap="none" spc="0" normalizeH="0" baseline="0" noProof="0" dirty="0">
                  <a:ln>
                    <a:noFill/>
                  </a:ln>
                  <a:solidFill>
                    <a:srgbClr val="000000"/>
                  </a:solidFill>
                  <a:effectLst/>
                  <a:uLnTx/>
                  <a:uFillTx/>
                  <a:latin typeface="Segoe UI"/>
                  <a:ea typeface="+mn-ea"/>
                  <a:cs typeface="Segoe UI"/>
                </a:rPr>
              </a:br>
              <a:r>
                <a:rPr kumimoji="0" lang="es-es" sz="1100" b="0" i="0" u="none" strike="noStrike" kern="1200" cap="none" spc="0" normalizeH="0" baseline="0" noProof="0" dirty="0">
                  <a:ln>
                    <a:noFill/>
                  </a:ln>
                  <a:solidFill>
                    <a:srgbClr val="000000"/>
                  </a:solidFill>
                  <a:effectLst/>
                  <a:uLnTx/>
                  <a:uFillTx/>
                  <a:latin typeface="Segoe UI"/>
                  <a:ea typeface="+mn-ea"/>
                  <a:cs typeface="Segoe UI"/>
                </a:rPr>
                <a:t>efectivo</a:t>
              </a:r>
            </a:p>
          </p:txBody>
        </p:sp>
      </p:grpSp>
      <p:grpSp>
        <p:nvGrpSpPr>
          <p:cNvPr id="50" name="Group 49">
            <a:extLst>
              <a:ext uri="{FF2B5EF4-FFF2-40B4-BE49-F238E27FC236}">
                <a16:creationId xmlns:a16="http://schemas.microsoft.com/office/drawing/2014/main" id="{E6DB99F2-4688-D31B-8D26-553EE7ABBD3D}"/>
              </a:ext>
            </a:extLst>
          </p:cNvPr>
          <p:cNvGrpSpPr/>
          <p:nvPr/>
        </p:nvGrpSpPr>
        <p:grpSpPr>
          <a:xfrm>
            <a:off x="10008748" y="2766816"/>
            <a:ext cx="1666217" cy="1347828"/>
            <a:chOff x="7262189" y="4371269"/>
            <a:chExt cx="2158060" cy="1751108"/>
          </a:xfrm>
        </p:grpSpPr>
        <p:sp>
          <p:nvSpPr>
            <p:cNvPr id="27" name="Rectangle: Rounded Corners 26">
              <a:extLst>
                <a:ext uri="{FF2B5EF4-FFF2-40B4-BE49-F238E27FC236}">
                  <a16:creationId xmlns:a16="http://schemas.microsoft.com/office/drawing/2014/main" id="{8E47F50F-D56E-7F2F-F6A7-C43267B854DE}"/>
                </a:ext>
                <a:ext uri="{C183D7F6-B498-43B3-948B-1728B52AA6E4}">
                  <adec:decorative xmlns:adec="http://schemas.microsoft.com/office/drawing/2017/decorative" val="1"/>
                </a:ext>
              </a:extLst>
            </p:cNvPr>
            <p:cNvSpPr/>
            <p:nvPr/>
          </p:nvSpPr>
          <p:spPr bwMode="auto">
            <a:xfrm>
              <a:off x="7262189" y="4415393"/>
              <a:ext cx="2158060" cy="1706984"/>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TextBox 36">
              <a:extLst>
                <a:ext uri="{FF2B5EF4-FFF2-40B4-BE49-F238E27FC236}">
                  <a16:creationId xmlns:a16="http://schemas.microsoft.com/office/drawing/2014/main" id="{5733B391-F653-F99E-1B1B-AA6E32FEFBF1}"/>
                </a:ext>
              </a:extLst>
            </p:cNvPr>
            <p:cNvSpPr txBox="1"/>
            <p:nvPr/>
          </p:nvSpPr>
          <p:spPr>
            <a:xfrm>
              <a:off x="7491481" y="4371269"/>
              <a:ext cx="1699476" cy="55981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sistente de negociación</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38" name="TextBox 37">
              <a:extLst>
                <a:ext uri="{FF2B5EF4-FFF2-40B4-BE49-F238E27FC236}">
                  <a16:creationId xmlns:a16="http://schemas.microsoft.com/office/drawing/2014/main" id="{F2E614BB-B634-06FF-C9F7-559F7BF09CE9}"/>
                </a:ext>
              </a:extLst>
            </p:cNvPr>
            <p:cNvSpPr txBox="1"/>
            <p:nvPr/>
          </p:nvSpPr>
          <p:spPr>
            <a:xfrm>
              <a:off x="7272171" y="5747518"/>
              <a:ext cx="2129109" cy="219926"/>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Segoe UI"/>
                  <a:ea typeface="+mn-ea"/>
                  <a:cs typeface="Segoe UI"/>
                </a:rPr>
                <a:t>Logra mejores acuerdos</a:t>
              </a:r>
            </a:p>
          </p:txBody>
        </p:sp>
      </p:grpSp>
      <p:grpSp>
        <p:nvGrpSpPr>
          <p:cNvPr id="39" name="Group 38">
            <a:extLst>
              <a:ext uri="{FF2B5EF4-FFF2-40B4-BE49-F238E27FC236}">
                <a16:creationId xmlns:a16="http://schemas.microsoft.com/office/drawing/2014/main" id="{6FCEE6F8-2A22-C0FB-C4DD-E3C0F2BBEB20}"/>
              </a:ext>
            </a:extLst>
          </p:cNvPr>
          <p:cNvGrpSpPr/>
          <p:nvPr/>
        </p:nvGrpSpPr>
        <p:grpSpPr>
          <a:xfrm>
            <a:off x="6147705" y="2687430"/>
            <a:ext cx="1737610" cy="1431419"/>
            <a:chOff x="9444865" y="2496750"/>
            <a:chExt cx="2238045" cy="1846650"/>
          </a:xfrm>
        </p:grpSpPr>
        <p:sp>
          <p:nvSpPr>
            <p:cNvPr id="40" name="Rectangle: Rounded Corners 39">
              <a:extLst>
                <a:ext uri="{FF2B5EF4-FFF2-40B4-BE49-F238E27FC236}">
                  <a16:creationId xmlns:a16="http://schemas.microsoft.com/office/drawing/2014/main" id="{0BD1B9C1-1136-6C04-3AE0-D42081DE278B}"/>
                </a:ext>
                <a:ext uri="{C183D7F6-B498-43B3-948B-1728B52AA6E4}">
                  <adec:decorative xmlns:adec="http://schemas.microsoft.com/office/drawing/2017/decorative" val="1"/>
                </a:ext>
              </a:extLst>
            </p:cNvPr>
            <p:cNvSpPr>
              <a:spLocks/>
            </p:cNvSpPr>
            <p:nvPr/>
          </p:nvSpPr>
          <p:spPr bwMode="auto">
            <a:xfrm>
              <a:off x="9506508"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TextBox 53">
              <a:extLst>
                <a:ext uri="{FF2B5EF4-FFF2-40B4-BE49-F238E27FC236}">
                  <a16:creationId xmlns:a16="http://schemas.microsoft.com/office/drawing/2014/main" id="{DBF9AD5E-E1F2-B03E-7978-BDBE96E3CDDB}"/>
                </a:ext>
              </a:extLst>
            </p:cNvPr>
            <p:cNvSpPr txBox="1"/>
            <p:nvPr/>
          </p:nvSpPr>
          <p:spPr>
            <a:xfrm>
              <a:off x="9444865" y="2496750"/>
              <a:ext cx="2238045" cy="77426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Redactor de contenidos de aprendizaje</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55" name="TextBox 54">
              <a:extLst>
                <a:ext uri="{FF2B5EF4-FFF2-40B4-BE49-F238E27FC236}">
                  <a16:creationId xmlns:a16="http://schemas.microsoft.com/office/drawing/2014/main" id="{CF1212A5-DD19-4E76-6C9E-8953F9DA40A1}"/>
                </a:ext>
              </a:extLst>
            </p:cNvPr>
            <p:cNvSpPr txBox="1"/>
            <p:nvPr/>
          </p:nvSpPr>
          <p:spPr>
            <a:xfrm>
              <a:off x="9489967" y="3874921"/>
              <a:ext cx="2170233" cy="436763"/>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Segoe UI"/>
                  <a:ea typeface="+mn-ea"/>
                  <a:cs typeface="Segoe UI"/>
                </a:rPr>
                <a:t>Materiales para </a:t>
              </a:r>
              <a:br>
                <a:rPr kumimoji="0" lang="es-es" sz="1100" b="0" i="0" u="none" strike="noStrike" kern="1200" cap="none" spc="0" normalizeH="0" baseline="0" noProof="0" dirty="0">
                  <a:ln>
                    <a:noFill/>
                  </a:ln>
                  <a:solidFill>
                    <a:srgbClr val="000000"/>
                  </a:solidFill>
                  <a:effectLst/>
                  <a:uLnTx/>
                  <a:uFillTx/>
                  <a:latin typeface="Segoe UI"/>
                  <a:ea typeface="+mn-ea"/>
                  <a:cs typeface="Segoe UI"/>
                </a:rPr>
              </a:br>
              <a:r>
                <a:rPr kumimoji="0" lang="es-es" sz="1100" b="0" i="0" u="none" strike="noStrike" kern="1200" cap="none" spc="0" normalizeH="0" baseline="0" noProof="0" dirty="0">
                  <a:ln>
                    <a:noFill/>
                  </a:ln>
                  <a:solidFill>
                    <a:srgbClr val="000000"/>
                  </a:solidFill>
                  <a:effectLst/>
                  <a:uLnTx/>
                  <a:uFillTx/>
                  <a:latin typeface="Segoe UI"/>
                  <a:ea typeface="+mn-ea"/>
                  <a:cs typeface="Segoe UI"/>
                </a:rPr>
                <a:t>el aprendizaje</a:t>
              </a:r>
              <a:endParaRPr kumimoji="0" lang="en-US" sz="1100" b="0" i="0" u="none" strike="noStrike" kern="1200" cap="none" spc="0" normalizeH="0" baseline="0" noProof="0" dirty="0">
                <a:ln>
                  <a:noFill/>
                </a:ln>
                <a:solidFill>
                  <a:srgbClr val="000000"/>
                </a:solidFill>
                <a:effectLst/>
                <a:uLnTx/>
                <a:uFillTx/>
                <a:latin typeface="Segoe UI"/>
                <a:ea typeface="+mn-ea"/>
                <a:cs typeface="Segoe UI"/>
              </a:endParaRPr>
            </a:p>
          </p:txBody>
        </p:sp>
      </p:grpSp>
      <p:grpSp>
        <p:nvGrpSpPr>
          <p:cNvPr id="57" name="Group 56">
            <a:extLst>
              <a:ext uri="{FF2B5EF4-FFF2-40B4-BE49-F238E27FC236}">
                <a16:creationId xmlns:a16="http://schemas.microsoft.com/office/drawing/2014/main" id="{A1E9BA55-A8C9-769A-0413-01AB02F3D48F}"/>
              </a:ext>
            </a:extLst>
          </p:cNvPr>
          <p:cNvGrpSpPr/>
          <p:nvPr/>
        </p:nvGrpSpPr>
        <p:grpSpPr>
          <a:xfrm>
            <a:off x="411266" y="2741291"/>
            <a:ext cx="1862341" cy="1389725"/>
            <a:chOff x="9415397" y="2550537"/>
            <a:chExt cx="2398699" cy="1792863"/>
          </a:xfrm>
        </p:grpSpPr>
        <p:sp>
          <p:nvSpPr>
            <p:cNvPr id="62" name="Rectangle: Rounded Corners 61">
              <a:extLst>
                <a:ext uri="{FF2B5EF4-FFF2-40B4-BE49-F238E27FC236}">
                  <a16:creationId xmlns:a16="http://schemas.microsoft.com/office/drawing/2014/main" id="{AEC4B9AC-5FE3-8C93-963E-776A705BCDBE}"/>
                </a:ext>
                <a:ext uri="{C183D7F6-B498-43B3-948B-1728B52AA6E4}">
                  <adec:decorative xmlns:adec="http://schemas.microsoft.com/office/drawing/2017/decorative" val="1"/>
                </a:ext>
              </a:extLst>
            </p:cNvPr>
            <p:cNvSpPr>
              <a:spLocks/>
            </p:cNvSpPr>
            <p:nvPr/>
          </p:nvSpPr>
          <p:spPr bwMode="auto">
            <a:xfrm>
              <a:off x="9506509" y="2636415"/>
              <a:ext cx="2158060" cy="1706985"/>
            </a:xfrm>
            <a:prstGeom prst="roundRect">
              <a:avLst>
                <a:gd name="adj" fmla="val 4127"/>
              </a:avLst>
            </a:prstGeom>
            <a:solidFill>
              <a:srgbClr val="FFFFFF">
                <a:alpha val="74118"/>
              </a:srgbClr>
            </a:solidFill>
            <a:ln>
              <a:solidFill>
                <a:srgbClr val="3579CF"/>
              </a:solidFill>
            </a:ln>
            <a:effectLst>
              <a:outerShdw blurRad="343645" dist="38100" dir="2700000" algn="tl" rotWithShape="0">
                <a:srgbClr val="F3484C">
                  <a:alpha val="15816"/>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 name="TextBox 72">
              <a:extLst>
                <a:ext uri="{FF2B5EF4-FFF2-40B4-BE49-F238E27FC236}">
                  <a16:creationId xmlns:a16="http://schemas.microsoft.com/office/drawing/2014/main" id="{0FC73834-C0E9-9697-1BBF-00E502F57697}"/>
                </a:ext>
              </a:extLst>
            </p:cNvPr>
            <p:cNvSpPr txBox="1"/>
            <p:nvPr/>
          </p:nvSpPr>
          <p:spPr>
            <a:xfrm>
              <a:off x="9415397" y="2550537"/>
              <a:ext cx="2398699" cy="774262"/>
            </a:xfrm>
            <a:prstGeom prst="rect">
              <a:avLst/>
            </a:prstGeom>
            <a:noFill/>
            <a:ln>
              <a:noFill/>
            </a:ln>
            <a:effectLst/>
          </p:spPr>
          <p:txBody>
            <a:bodyPr wrap="square" lIns="91440" tIns="45720" rIns="91440" bIns="4572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78D4"/>
                  </a:solidFill>
                  <a:effectLst/>
                  <a:uLnTx/>
                  <a:uFillTx/>
                  <a:latin typeface="Segoe UI Semibold"/>
                  <a:ea typeface="+mn-ea"/>
                  <a:cs typeface="Segoe UI"/>
                </a:rPr>
                <a:t>Agente de comparación de productos</a:t>
              </a:r>
              <a:endParaRPr lang="en-US" sz="1100" b="0" i="0" u="none" strike="noStrike" kern="1200" cap="none" spc="0" normalizeH="0" baseline="0" noProof="0" dirty="0">
                <a:ln>
                  <a:noFill/>
                </a:ln>
                <a:solidFill>
                  <a:srgbClr val="0078D4"/>
                </a:solidFill>
                <a:effectLst/>
                <a:uLnTx/>
                <a:uFillTx/>
                <a:latin typeface="Segoe UI Semibold"/>
                <a:cs typeface="Segoe UI"/>
              </a:endParaRPr>
            </a:p>
          </p:txBody>
        </p:sp>
        <p:sp>
          <p:nvSpPr>
            <p:cNvPr id="80" name="TextBox 79">
              <a:extLst>
                <a:ext uri="{FF2B5EF4-FFF2-40B4-BE49-F238E27FC236}">
                  <a16:creationId xmlns:a16="http://schemas.microsoft.com/office/drawing/2014/main" id="{1EB6E5A8-CDEF-E217-1FF5-EACF229D3316}"/>
                </a:ext>
              </a:extLst>
            </p:cNvPr>
            <p:cNvSpPr txBox="1"/>
            <p:nvPr/>
          </p:nvSpPr>
          <p:spPr>
            <a:xfrm>
              <a:off x="9489967" y="3858022"/>
              <a:ext cx="2170234" cy="436763"/>
            </a:xfrm>
            <a:prstGeom prst="rect">
              <a:avLst/>
            </a:prstGeom>
            <a:noFill/>
            <a:ln>
              <a:noFill/>
            </a:ln>
            <a:effectLst/>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100" dirty="0">
                  <a:solidFill>
                    <a:srgbClr val="000000"/>
                  </a:solidFill>
                  <a:latin typeface="Segoe UI"/>
                  <a:cs typeface="Segoe UI"/>
                </a:rPr>
                <a:t>C</a:t>
              </a:r>
              <a:r>
                <a:rPr kumimoji="0" lang="es-es" sz="1100" b="0" i="0" u="none" strike="noStrike" kern="1200" cap="none" spc="0" normalizeH="0" baseline="0" noProof="0" dirty="0" err="1">
                  <a:ln>
                    <a:noFill/>
                  </a:ln>
                  <a:solidFill>
                    <a:srgbClr val="000000"/>
                  </a:solidFill>
                  <a:effectLst/>
                  <a:uLnTx/>
                  <a:uFillTx/>
                  <a:latin typeface="Segoe UI"/>
                  <a:ea typeface="+mn-ea"/>
                  <a:cs typeface="Segoe UI"/>
                </a:rPr>
                <a:t>ompara</a:t>
              </a:r>
              <a:r>
                <a:rPr kumimoji="0" lang="es-es" sz="1100" b="0" i="0" u="none" strike="noStrike" kern="1200" cap="none" spc="0" normalizeH="0" baseline="0" noProof="0" dirty="0">
                  <a:ln>
                    <a:noFill/>
                  </a:ln>
                  <a:solidFill>
                    <a:srgbClr val="000000"/>
                  </a:solidFill>
                  <a:effectLst/>
                  <a:uLnTx/>
                  <a:uFillTx/>
                  <a:latin typeface="Segoe UI"/>
                  <a:ea typeface="+mn-ea"/>
                  <a:cs typeface="Segoe UI"/>
                </a:rPr>
                <a:t> las </a:t>
              </a:r>
              <a:r>
                <a:rPr kumimoji="0" lang="es-es" sz="1100" b="0" i="0" u="none" strike="noStrike" kern="1200" cap="none" spc="0" normalizeH="0" baseline="0" noProof="0" dirty="0" err="1">
                  <a:ln>
                    <a:noFill/>
                  </a:ln>
                  <a:solidFill>
                    <a:srgbClr val="000000"/>
                  </a:solidFill>
                  <a:effectLst/>
                  <a:uLnTx/>
                  <a:uFillTx/>
                  <a:latin typeface="Segoe UI"/>
                  <a:ea typeface="+mn-ea"/>
                  <a:cs typeface="Segoe UI"/>
                </a:rPr>
                <a:t>caracterís</a:t>
              </a:r>
              <a:r>
                <a:rPr kumimoji="0" lang="es-es" sz="1100" b="0" i="0" u="none" strike="noStrike" kern="1200" cap="none" spc="0" normalizeH="0" baseline="0" noProof="0" dirty="0">
                  <a:ln>
                    <a:noFill/>
                  </a:ln>
                  <a:solidFill>
                    <a:srgbClr val="000000"/>
                  </a:solidFill>
                  <a:effectLst/>
                  <a:uLnTx/>
                  <a:uFillTx/>
                  <a:latin typeface="Segoe UI"/>
                  <a:ea typeface="+mn-ea"/>
                  <a:cs typeface="Segoe UI"/>
                </a:rPr>
                <a:t>-ticas del producto.</a:t>
              </a:r>
              <a:endParaRPr kumimoji="0" lang="en-US" sz="1100" b="0" i="0" u="none" strike="noStrike" kern="1200" cap="none" spc="0" normalizeH="0" baseline="0" noProof="0" dirty="0">
                <a:ln>
                  <a:noFill/>
                </a:ln>
                <a:solidFill>
                  <a:srgbClr val="000000"/>
                </a:solidFill>
                <a:effectLst/>
                <a:uLnTx/>
                <a:uFillTx/>
                <a:latin typeface="Segoe UI"/>
                <a:ea typeface="+mn-ea"/>
                <a:cs typeface="Segoe UI"/>
              </a:endParaRPr>
            </a:p>
          </p:txBody>
        </p:sp>
      </p:grpSp>
      <p:pic>
        <p:nvPicPr>
          <p:cNvPr id="85" name="Picture 84">
            <a:extLst>
              <a:ext uri="{FF2B5EF4-FFF2-40B4-BE49-F238E27FC236}">
                <a16:creationId xmlns:a16="http://schemas.microsoft.com/office/drawing/2014/main" id="{A6D95AD4-5DE2-027F-5F01-35D4743A4431}"/>
              </a:ext>
            </a:extLst>
          </p:cNvPr>
          <p:cNvPicPr>
            <a:picLocks noChangeAspect="1"/>
          </p:cNvPicPr>
          <p:nvPr/>
        </p:nvPicPr>
        <p:blipFill>
          <a:blip r:embed="rId3">
            <a:clrChange>
              <a:clrFrom>
                <a:srgbClr val="1E1E1E"/>
              </a:clrFrom>
              <a:clrTo>
                <a:srgbClr val="1E1E1E">
                  <a:alpha val="0"/>
                </a:srgbClr>
              </a:clrTo>
            </a:clrChange>
          </a:blip>
          <a:stretch>
            <a:fillRect/>
          </a:stretch>
        </p:blipFill>
        <p:spPr>
          <a:xfrm>
            <a:off x="8678678" y="3224439"/>
            <a:ext cx="479341" cy="485819"/>
          </a:xfrm>
          <a:prstGeom prst="rect">
            <a:avLst/>
          </a:prstGeom>
        </p:spPr>
      </p:pic>
      <p:pic>
        <p:nvPicPr>
          <p:cNvPr id="93" name="Picture 92">
            <a:extLst>
              <a:ext uri="{FF2B5EF4-FFF2-40B4-BE49-F238E27FC236}">
                <a16:creationId xmlns:a16="http://schemas.microsoft.com/office/drawing/2014/main" id="{0D5A0EBB-8D5A-F269-BA89-99647B95189B}"/>
              </a:ext>
            </a:extLst>
          </p:cNvPr>
          <p:cNvPicPr>
            <a:picLocks noChangeAspect="1"/>
          </p:cNvPicPr>
          <p:nvPr/>
        </p:nvPicPr>
        <p:blipFill>
          <a:blip r:embed="rId4">
            <a:clrChange>
              <a:clrFrom>
                <a:srgbClr val="1E1E1E"/>
              </a:clrFrom>
              <a:clrTo>
                <a:srgbClr val="1E1E1E">
                  <a:alpha val="0"/>
                </a:srgbClr>
              </a:clrTo>
            </a:clrChange>
          </a:blip>
          <a:stretch>
            <a:fillRect/>
          </a:stretch>
        </p:blipFill>
        <p:spPr>
          <a:xfrm>
            <a:off x="2907616" y="3133548"/>
            <a:ext cx="598674" cy="581889"/>
          </a:xfrm>
          <a:prstGeom prst="rect">
            <a:avLst/>
          </a:prstGeom>
        </p:spPr>
      </p:pic>
      <p:pic>
        <p:nvPicPr>
          <p:cNvPr id="95" name="Picture 94">
            <a:extLst>
              <a:ext uri="{FF2B5EF4-FFF2-40B4-BE49-F238E27FC236}">
                <a16:creationId xmlns:a16="http://schemas.microsoft.com/office/drawing/2014/main" id="{0FB3314B-9046-B98C-4CCC-C0424E649977}"/>
              </a:ext>
            </a:extLst>
          </p:cNvPr>
          <p:cNvPicPr>
            <a:picLocks noChangeAspect="1"/>
          </p:cNvPicPr>
          <p:nvPr/>
        </p:nvPicPr>
        <p:blipFill>
          <a:blip r:embed="rId5">
            <a:clrChange>
              <a:clrFrom>
                <a:srgbClr val="1E1E1E"/>
              </a:clrFrom>
              <a:clrTo>
                <a:srgbClr val="1E1E1E">
                  <a:alpha val="0"/>
                </a:srgbClr>
              </a:clrTo>
            </a:clrChange>
          </a:blip>
          <a:stretch>
            <a:fillRect/>
          </a:stretch>
        </p:blipFill>
        <p:spPr>
          <a:xfrm>
            <a:off x="4824628" y="3855665"/>
            <a:ext cx="542786" cy="542786"/>
          </a:xfrm>
          <a:prstGeom prst="rect">
            <a:avLst/>
          </a:prstGeom>
        </p:spPr>
      </p:pic>
      <p:pic>
        <p:nvPicPr>
          <p:cNvPr id="97" name="Picture 96">
            <a:extLst>
              <a:ext uri="{FF2B5EF4-FFF2-40B4-BE49-F238E27FC236}">
                <a16:creationId xmlns:a16="http://schemas.microsoft.com/office/drawing/2014/main" id="{F2E3DC2F-73B5-09AA-972E-DFCAC337DC29}"/>
              </a:ext>
            </a:extLst>
          </p:cNvPr>
          <p:cNvPicPr>
            <a:picLocks noChangeAspect="1"/>
          </p:cNvPicPr>
          <p:nvPr/>
        </p:nvPicPr>
        <p:blipFill>
          <a:blip r:embed="rId6">
            <a:clrChange>
              <a:clrFrom>
                <a:srgbClr val="1E1E1E"/>
              </a:clrFrom>
              <a:clrTo>
                <a:srgbClr val="1E1E1E">
                  <a:alpha val="0"/>
                </a:srgbClr>
              </a:clrTo>
            </a:clrChange>
          </a:blip>
          <a:stretch>
            <a:fillRect/>
          </a:stretch>
        </p:blipFill>
        <p:spPr>
          <a:xfrm>
            <a:off x="6711616" y="3180451"/>
            <a:ext cx="632871" cy="595006"/>
          </a:xfrm>
          <a:prstGeom prst="rect">
            <a:avLst/>
          </a:prstGeom>
        </p:spPr>
      </p:pic>
      <p:pic>
        <p:nvPicPr>
          <p:cNvPr id="99" name="Picture 98">
            <a:extLst>
              <a:ext uri="{FF2B5EF4-FFF2-40B4-BE49-F238E27FC236}">
                <a16:creationId xmlns:a16="http://schemas.microsoft.com/office/drawing/2014/main" id="{1881C3D4-8005-DE9B-B651-B9C77769EB59}"/>
              </a:ext>
            </a:extLst>
          </p:cNvPr>
          <p:cNvPicPr>
            <a:picLocks noChangeAspect="1"/>
          </p:cNvPicPr>
          <p:nvPr/>
        </p:nvPicPr>
        <p:blipFill>
          <a:blip r:embed="rId7">
            <a:clrChange>
              <a:clrFrom>
                <a:srgbClr val="1E1E1E"/>
              </a:clrFrom>
              <a:clrTo>
                <a:srgbClr val="1E1E1E">
                  <a:alpha val="0"/>
                </a:srgbClr>
              </a:clrTo>
            </a:clrChange>
          </a:blip>
          <a:stretch>
            <a:fillRect/>
          </a:stretch>
        </p:blipFill>
        <p:spPr>
          <a:xfrm>
            <a:off x="957391" y="3189781"/>
            <a:ext cx="533108" cy="564163"/>
          </a:xfrm>
          <a:prstGeom prst="rect">
            <a:avLst/>
          </a:prstGeom>
        </p:spPr>
      </p:pic>
      <p:pic>
        <p:nvPicPr>
          <p:cNvPr id="101" name="Picture 100">
            <a:extLst>
              <a:ext uri="{FF2B5EF4-FFF2-40B4-BE49-F238E27FC236}">
                <a16:creationId xmlns:a16="http://schemas.microsoft.com/office/drawing/2014/main" id="{452ED136-7AE3-03F0-B347-F5C29ED86F7B}"/>
              </a:ext>
            </a:extLst>
          </p:cNvPr>
          <p:cNvPicPr>
            <a:picLocks noChangeAspect="1"/>
          </p:cNvPicPr>
          <p:nvPr/>
        </p:nvPicPr>
        <p:blipFill>
          <a:blip r:embed="rId8">
            <a:clrChange>
              <a:clrFrom>
                <a:srgbClr val="1E1E1E"/>
              </a:clrFrom>
              <a:clrTo>
                <a:srgbClr val="1E1E1E">
                  <a:alpha val="0"/>
                </a:srgbClr>
              </a:clrTo>
            </a:clrChange>
          </a:blip>
          <a:stretch>
            <a:fillRect/>
          </a:stretch>
        </p:blipFill>
        <p:spPr>
          <a:xfrm>
            <a:off x="4795688" y="2487705"/>
            <a:ext cx="656006" cy="592707"/>
          </a:xfrm>
          <a:prstGeom prst="rect">
            <a:avLst/>
          </a:prstGeom>
        </p:spPr>
      </p:pic>
      <p:pic>
        <p:nvPicPr>
          <p:cNvPr id="107" name="Picture 106">
            <a:extLst>
              <a:ext uri="{FF2B5EF4-FFF2-40B4-BE49-F238E27FC236}">
                <a16:creationId xmlns:a16="http://schemas.microsoft.com/office/drawing/2014/main" id="{4A5580A2-ED5E-86C0-170A-D0EC92CFB5C4}"/>
              </a:ext>
            </a:extLst>
          </p:cNvPr>
          <p:cNvPicPr>
            <a:picLocks noChangeAspect="1"/>
          </p:cNvPicPr>
          <p:nvPr/>
        </p:nvPicPr>
        <p:blipFill>
          <a:blip r:embed="rId9">
            <a:clrChange>
              <a:clrFrom>
                <a:srgbClr val="1E1E1E"/>
              </a:clrFrom>
              <a:clrTo>
                <a:srgbClr val="1E1E1E">
                  <a:alpha val="0"/>
                </a:srgbClr>
              </a:clrTo>
            </a:clrChange>
          </a:blip>
          <a:stretch>
            <a:fillRect/>
          </a:stretch>
        </p:blipFill>
        <p:spPr>
          <a:xfrm>
            <a:off x="10441065" y="3129955"/>
            <a:ext cx="771188" cy="713827"/>
          </a:xfrm>
          <a:prstGeom prst="rect">
            <a:avLst/>
          </a:prstGeom>
        </p:spPr>
      </p:pic>
      <p:sp>
        <p:nvSpPr>
          <p:cNvPr id="112" name="TextBox 111">
            <a:extLst>
              <a:ext uri="{FF2B5EF4-FFF2-40B4-BE49-F238E27FC236}">
                <a16:creationId xmlns:a16="http://schemas.microsoft.com/office/drawing/2014/main" id="{C2DB688B-4BF8-D55E-D58C-239D8C22F071}"/>
              </a:ext>
            </a:extLst>
          </p:cNvPr>
          <p:cNvSpPr txBox="1"/>
          <p:nvPr/>
        </p:nvSpPr>
        <p:spPr>
          <a:xfrm>
            <a:off x="527431" y="6649264"/>
            <a:ext cx="1124266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30000" noProof="0">
                <a:ln>
                  <a:noFill/>
                </a:ln>
                <a:solidFill>
                  <a:srgbClr val="091F2C"/>
                </a:solidFill>
                <a:effectLst/>
                <a:uLnTx/>
                <a:uFillTx/>
                <a:latin typeface="Segoe Sans Display"/>
                <a:ea typeface="+mn-ea"/>
                <a:cs typeface="+mn-cs"/>
              </a:rPr>
              <a:t>1</a:t>
            </a:r>
            <a:r>
              <a:rPr kumimoji="0" lang="es-es" sz="1100" b="0" i="0" u="none" strike="noStrike" kern="1200" cap="none" spc="0" normalizeH="0" baseline="0" noProof="0">
                <a:ln>
                  <a:noFill/>
                </a:ln>
                <a:solidFill>
                  <a:srgbClr val="091F2C"/>
                </a:solidFill>
                <a:effectLst/>
                <a:uLnTx/>
                <a:uFillTx/>
                <a:latin typeface="Segoe Sans Display"/>
                <a:ea typeface="+mn-ea"/>
                <a:cs typeface="+mn-cs"/>
              </a:rPr>
              <a:t>La creación de agentes solo está disponible si el administrador de tu organización ha habilitado esta capacidad.</a:t>
            </a:r>
          </a:p>
        </p:txBody>
      </p:sp>
    </p:spTree>
    <p:extLst>
      <p:ext uri="{BB962C8B-B14F-4D97-AF65-F5344CB8AC3E}">
        <p14:creationId xmlns:p14="http://schemas.microsoft.com/office/powerpoint/2010/main" val="4617972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BBF349-E496-7563-E8A3-9F04D156ED5E}"/>
              </a:ext>
            </a:extLst>
          </p:cNvPr>
          <p:cNvSpPr>
            <a:spLocks noGrp="1"/>
          </p:cNvSpPr>
          <p:nvPr>
            <p:ph type="title"/>
          </p:nvPr>
        </p:nvSpPr>
        <p:spPr/>
        <p:txBody>
          <a:bodyPr>
            <a:normAutofit fontScale="90000"/>
          </a:bodyPr>
          <a:lstStyle/>
          <a:p>
            <a:r>
              <a:rPr lang="es-es"/>
              <a:t>Uso compartido de agentes de Microsoft 365</a:t>
            </a:r>
          </a:p>
        </p:txBody>
      </p:sp>
      <p:graphicFrame>
        <p:nvGraphicFramePr>
          <p:cNvPr id="5" name="Content Placeholder 4">
            <a:extLst>
              <a:ext uri="{FF2B5EF4-FFF2-40B4-BE49-F238E27FC236}">
                <a16:creationId xmlns:a16="http://schemas.microsoft.com/office/drawing/2014/main" id="{52975948-8884-E41D-5922-62F990AD7B80}"/>
              </a:ext>
            </a:extLst>
          </p:cNvPr>
          <p:cNvGraphicFramePr>
            <a:graphicFrameLocks noGrp="1"/>
          </p:cNvGraphicFramePr>
          <p:nvPr>
            <p:ph idx="1"/>
            <p:extLst>
              <p:ext uri="{D42A27DB-BD31-4B8C-83A1-F6EECF244321}">
                <p14:modId xmlns:p14="http://schemas.microsoft.com/office/powerpoint/2010/main" val="2420286799"/>
              </p:ext>
            </p:extLst>
          </p:nvPr>
        </p:nvGraphicFramePr>
        <p:xfrm>
          <a:off x="1977952" y="1551867"/>
          <a:ext cx="8236095" cy="3794760"/>
        </p:xfrm>
        <a:graphic>
          <a:graphicData uri="http://schemas.openxmlformats.org/drawingml/2006/table">
            <a:tbl>
              <a:tblPr firstRow="1" bandRow="1">
                <a:tableStyleId>{5C22544A-7EE6-4342-B048-85BDC9FD1C3A}</a:tableStyleId>
              </a:tblPr>
              <a:tblGrid>
                <a:gridCol w="1923488">
                  <a:extLst>
                    <a:ext uri="{9D8B030D-6E8A-4147-A177-3AD203B41FA5}">
                      <a16:colId xmlns:a16="http://schemas.microsoft.com/office/drawing/2014/main" val="1125219811"/>
                    </a:ext>
                  </a:extLst>
                </a:gridCol>
                <a:gridCol w="1370950">
                  <a:extLst>
                    <a:ext uri="{9D8B030D-6E8A-4147-A177-3AD203B41FA5}">
                      <a16:colId xmlns:a16="http://schemas.microsoft.com/office/drawing/2014/main" val="3363063403"/>
                    </a:ext>
                  </a:extLst>
                </a:gridCol>
                <a:gridCol w="1647219">
                  <a:extLst>
                    <a:ext uri="{9D8B030D-6E8A-4147-A177-3AD203B41FA5}">
                      <a16:colId xmlns:a16="http://schemas.microsoft.com/office/drawing/2014/main" val="1890905038"/>
                    </a:ext>
                  </a:extLst>
                </a:gridCol>
                <a:gridCol w="1647219">
                  <a:extLst>
                    <a:ext uri="{9D8B030D-6E8A-4147-A177-3AD203B41FA5}">
                      <a16:colId xmlns:a16="http://schemas.microsoft.com/office/drawing/2014/main" val="3328537941"/>
                    </a:ext>
                  </a:extLst>
                </a:gridCol>
                <a:gridCol w="1647219">
                  <a:extLst>
                    <a:ext uri="{9D8B030D-6E8A-4147-A177-3AD203B41FA5}">
                      <a16:colId xmlns:a16="http://schemas.microsoft.com/office/drawing/2014/main" val="3381517951"/>
                    </a:ext>
                  </a:extLst>
                </a:gridCol>
              </a:tblGrid>
              <a:tr h="362543">
                <a:tc>
                  <a:txBody>
                    <a:bodyPr/>
                    <a:lstStyle/>
                    <a:p>
                      <a:pPr algn="l" fontAlgn="b">
                        <a:buNone/>
                      </a:pPr>
                      <a:endParaRPr lang="en-US" sz="1600" b="0" i="0" u="none" strike="noStrike" dirty="0">
                        <a:solidFill>
                          <a:srgbClr val="000000"/>
                        </a:solidFill>
                        <a:effectLst/>
                        <a:latin typeface="Calibri" panose="020F0502020204030204" pitchFamily="34" charset="0"/>
                      </a:endParaRPr>
                    </a:p>
                  </a:txBody>
                  <a:tcPr marL="9525" marR="9525" marT="9525" marB="0" anchor="b"/>
                </a:tc>
                <a:tc gridSpan="4">
                  <a:txBody>
                    <a:bodyPr/>
                    <a:lstStyle/>
                    <a:p>
                      <a:pPr algn="ctr" fontAlgn="b">
                        <a:buNone/>
                      </a:pPr>
                      <a:r>
                        <a:rPr lang="es-es" sz="1600" b="1" i="0" u="none" strike="noStrike" baseline="0" dirty="0">
                          <a:solidFill>
                            <a:schemeClr val="bg1"/>
                          </a:solidFill>
                          <a:effectLst/>
                          <a:latin typeface="Calibri" panose="020F0502020204030204" pitchFamily="34" charset="0"/>
                        </a:rPr>
                        <a:t>Agente de Microsoft 365</a:t>
                      </a:r>
                    </a:p>
                  </a:txBody>
                  <a:tcPr marL="9525" marR="9525"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75859840"/>
                  </a:ext>
                </a:extLst>
              </a:tr>
              <a:tr h="410202">
                <a:tc>
                  <a:txBody>
                    <a:bodyPr/>
                    <a:lstStyle/>
                    <a:p>
                      <a:pPr algn="l" fontAlgn="b">
                        <a:buNone/>
                      </a:pPr>
                      <a:endParaRPr lang="en-US" sz="13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buNone/>
                      </a:pPr>
                      <a:r>
                        <a:rPr lang="es-es" sz="1300" b="0" i="0" u="none" strike="noStrike" dirty="0">
                          <a:solidFill>
                            <a:srgbClr val="366092"/>
                          </a:solidFill>
                          <a:effectLst/>
                          <a:latin typeface="Calibri" panose="020F0502020204030204" pitchFamily="34" charset="0"/>
                        </a:rPr>
                        <a:t>SharePoint</a:t>
                      </a:r>
                    </a:p>
                  </a:txBody>
                  <a:tcPr marL="9525" marR="9525" marT="137160" marB="0" anchor="ctr"/>
                </a:tc>
                <a:tc>
                  <a:txBody>
                    <a:bodyPr/>
                    <a:lstStyle/>
                    <a:p>
                      <a:pPr algn="ctr" fontAlgn="b">
                        <a:buNone/>
                      </a:pPr>
                      <a:r>
                        <a:rPr lang="es-es" sz="1300" b="0" i="0" u="none" strike="noStrike" spc="-10" baseline="0" dirty="0">
                          <a:solidFill>
                            <a:srgbClr val="366092"/>
                          </a:solidFill>
                          <a:effectLst/>
                          <a:latin typeface="Calibri" panose="020F0502020204030204" pitchFamily="34" charset="0"/>
                        </a:rPr>
                        <a:t>Generador de agentes *</a:t>
                      </a:r>
                    </a:p>
                  </a:txBody>
                  <a:tcPr marL="9525" marR="9525" marT="137160" marB="0" anchor="ctr"/>
                </a:tc>
                <a:tc>
                  <a:txBody>
                    <a:bodyPr/>
                    <a:lstStyle/>
                    <a:p>
                      <a:pPr algn="ctr" fontAlgn="b">
                        <a:lnSpc>
                          <a:spcPct val="95000"/>
                        </a:lnSpc>
                        <a:buNone/>
                      </a:pPr>
                      <a:r>
                        <a:rPr lang="es-es" sz="1300" b="0" i="0" u="none" strike="noStrike" dirty="0">
                          <a:solidFill>
                            <a:srgbClr val="366092"/>
                          </a:solidFill>
                          <a:effectLst/>
                          <a:latin typeface="Calibri" panose="020F0502020204030204" pitchFamily="34" charset="0"/>
                        </a:rPr>
                        <a:t>Kit de herramientas </a:t>
                      </a:r>
                      <a:br>
                        <a:rPr lang="es-es" sz="1300" b="0" i="0" u="none" strike="noStrike" dirty="0">
                          <a:solidFill>
                            <a:srgbClr val="366092"/>
                          </a:solidFill>
                          <a:effectLst/>
                          <a:latin typeface="Calibri" panose="020F0502020204030204" pitchFamily="34" charset="0"/>
                        </a:rPr>
                      </a:br>
                      <a:r>
                        <a:rPr lang="es-es" sz="1300" b="0" i="0" u="none" strike="noStrike" dirty="0">
                          <a:solidFill>
                            <a:srgbClr val="366092"/>
                          </a:solidFill>
                          <a:effectLst/>
                          <a:latin typeface="Calibri" panose="020F0502020204030204" pitchFamily="34" charset="0"/>
                        </a:rPr>
                        <a:t>de agentes</a:t>
                      </a:r>
                    </a:p>
                  </a:txBody>
                  <a:tcPr marL="9525" marR="9525" marT="9525" marB="0" anchor="ctr"/>
                </a:tc>
                <a:tc>
                  <a:txBody>
                    <a:bodyPr/>
                    <a:lstStyle/>
                    <a:p>
                      <a:pPr algn="ctr" fontAlgn="b">
                        <a:buNone/>
                      </a:pPr>
                      <a:r>
                        <a:rPr lang="es-es" sz="1300" b="0" i="0" u="none" strike="noStrike" dirty="0" err="1">
                          <a:solidFill>
                            <a:srgbClr val="366092"/>
                          </a:solidFill>
                          <a:effectLst/>
                          <a:latin typeface="Calibri" panose="020F0502020204030204" pitchFamily="34" charset="0"/>
                        </a:rPr>
                        <a:t>Copilot</a:t>
                      </a:r>
                      <a:r>
                        <a:rPr lang="es-es" sz="1300" b="0" i="0" u="none" strike="noStrike" dirty="0">
                          <a:solidFill>
                            <a:srgbClr val="366092"/>
                          </a:solidFill>
                          <a:effectLst/>
                          <a:latin typeface="Calibri" panose="020F0502020204030204" pitchFamily="34" charset="0"/>
                        </a:rPr>
                        <a:t> Studio </a:t>
                      </a:r>
                    </a:p>
                  </a:txBody>
                  <a:tcPr marL="9525" marR="9525" marT="137160" marB="0" anchor="ctr"/>
                </a:tc>
                <a:extLst>
                  <a:ext uri="{0D108BD9-81ED-4DB2-BD59-A6C34878D82A}">
                    <a16:rowId xmlns:a16="http://schemas.microsoft.com/office/drawing/2014/main" val="1246934155"/>
                  </a:ext>
                </a:extLst>
              </a:tr>
              <a:tr h="724464">
                <a:tc>
                  <a:txBody>
                    <a:bodyPr/>
                    <a:lstStyle/>
                    <a:p>
                      <a:pPr algn="l" fontAlgn="b">
                        <a:buNone/>
                      </a:pPr>
                      <a:r>
                        <a:rPr lang="es-es" sz="1300" b="0" i="0" u="none" strike="noStrike" dirty="0">
                          <a:solidFill>
                            <a:srgbClr val="366092"/>
                          </a:solidFill>
                          <a:effectLst/>
                          <a:latin typeface="Calibri" panose="020F0502020204030204" pitchFamily="34" charset="0"/>
                        </a:rPr>
                        <a:t>Uso compartido de enlaces “Permisos similares a los </a:t>
                      </a:r>
                      <a:br>
                        <a:rPr lang="es-es" sz="1300" b="0" i="0" u="none" strike="noStrike" dirty="0">
                          <a:solidFill>
                            <a:srgbClr val="366092"/>
                          </a:solidFill>
                          <a:effectLst/>
                          <a:latin typeface="Calibri" panose="020F0502020204030204" pitchFamily="34" charset="0"/>
                        </a:rPr>
                      </a:br>
                      <a:r>
                        <a:rPr lang="es-es" sz="1300" b="0" i="0" u="none" strike="noStrike" dirty="0">
                          <a:solidFill>
                            <a:srgbClr val="366092"/>
                          </a:solidFill>
                          <a:effectLst/>
                          <a:latin typeface="Calibri" panose="020F0502020204030204" pitchFamily="34" charset="0"/>
                        </a:rPr>
                        <a:t>de archivos”</a:t>
                      </a:r>
                    </a:p>
                  </a:txBody>
                  <a:tcPr marL="9525" marR="9525" marT="9525" marB="0" anchor="ctr"/>
                </a:tc>
                <a:tc>
                  <a:txBody>
                    <a:bodyPr/>
                    <a:lstStyle/>
                    <a:p>
                      <a:pPr algn="ctr" fontAlgn="b">
                        <a:buNone/>
                      </a:pPr>
                      <a:r>
                        <a:rPr lang="es-es" sz="13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dirty="0">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dirty="0">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a:solidFill>
                            <a:srgbClr val="00B05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3600273336"/>
                  </a:ext>
                </a:extLst>
              </a:tr>
              <a:tr h="486080">
                <a:tc>
                  <a:txBody>
                    <a:bodyPr/>
                    <a:lstStyle/>
                    <a:p>
                      <a:pPr algn="l" fontAlgn="b">
                        <a:buNone/>
                      </a:pPr>
                      <a:r>
                        <a:rPr lang="es-es" sz="1300" b="0" i="0" u="none" strike="noStrike" dirty="0">
                          <a:solidFill>
                            <a:srgbClr val="366092"/>
                          </a:solidFill>
                          <a:effectLst/>
                          <a:latin typeface="Calibri" panose="020F0502020204030204" pitchFamily="34" charset="0"/>
                        </a:rPr>
                        <a:t>Comparte e interactúa desde </a:t>
                      </a:r>
                      <a:r>
                        <a:rPr lang="es-es" sz="1300" b="0" i="0" u="none" strike="noStrike" dirty="0" err="1">
                          <a:solidFill>
                            <a:srgbClr val="366092"/>
                          </a:solidFill>
                          <a:effectLst/>
                          <a:latin typeface="Calibri" panose="020F0502020204030204" pitchFamily="34" charset="0"/>
                        </a:rPr>
                        <a:t>Teams</a:t>
                      </a:r>
                      <a:endParaRPr lang="es-es" sz="1300" b="0" i="0" u="none" strike="noStrike" dirty="0">
                        <a:solidFill>
                          <a:srgbClr val="366092"/>
                        </a:solidFill>
                        <a:effectLst/>
                        <a:latin typeface="Calibri" panose="020F0502020204030204" pitchFamily="34" charset="0"/>
                      </a:endParaRPr>
                    </a:p>
                  </a:txBody>
                  <a:tcPr marL="9525" marR="9525" marT="9525" marB="0" anchor="ctr"/>
                </a:tc>
                <a:tc>
                  <a:txBody>
                    <a:bodyPr/>
                    <a:lstStyle/>
                    <a:p>
                      <a:pPr algn="ctr" fontAlgn="b">
                        <a:buNone/>
                      </a:pPr>
                      <a:r>
                        <a:rPr lang="es-es" sz="13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dirty="0">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dirty="0">
                          <a:solidFill>
                            <a:srgbClr val="FF000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442507594"/>
                  </a:ext>
                </a:extLst>
              </a:tr>
              <a:tr h="724464">
                <a:tc>
                  <a:txBody>
                    <a:bodyPr/>
                    <a:lstStyle/>
                    <a:p>
                      <a:pPr algn="l" fontAlgn="b">
                        <a:buNone/>
                      </a:pPr>
                      <a:r>
                        <a:rPr lang="es-es" sz="1300" b="0" i="0" u="none" strike="noStrike" dirty="0">
                          <a:solidFill>
                            <a:srgbClr val="366092"/>
                          </a:solidFill>
                          <a:effectLst/>
                          <a:latin typeface="Calibri" panose="020F0502020204030204" pitchFamily="34" charset="0"/>
                        </a:rPr>
                        <a:t>Publica en la </a:t>
                      </a:r>
                      <a:br>
                        <a:rPr lang="es-es" sz="1300" b="0" i="0" u="none" strike="noStrike" dirty="0">
                          <a:solidFill>
                            <a:srgbClr val="366092"/>
                          </a:solidFill>
                          <a:effectLst/>
                          <a:latin typeface="Calibri" panose="020F0502020204030204" pitchFamily="34" charset="0"/>
                        </a:rPr>
                      </a:br>
                      <a:r>
                        <a:rPr lang="es-es" sz="1300" b="0" i="0" u="none" strike="noStrike" dirty="0">
                          <a:solidFill>
                            <a:srgbClr val="366092"/>
                          </a:solidFill>
                          <a:effectLst/>
                          <a:latin typeface="Calibri" panose="020F0502020204030204" pitchFamily="34" charset="0"/>
                        </a:rPr>
                        <a:t>organización con aprobación</a:t>
                      </a:r>
                    </a:p>
                  </a:txBody>
                  <a:tcPr marL="9525" marR="0" marT="9525" marB="0" anchor="ctr"/>
                </a:tc>
                <a:tc>
                  <a:txBody>
                    <a:bodyPr/>
                    <a:lstStyle/>
                    <a:p>
                      <a:pPr algn="ctr" fontAlgn="b">
                        <a:buNone/>
                      </a:pPr>
                      <a:r>
                        <a:rPr lang="es-es" sz="13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dirty="0">
                          <a:solidFill>
                            <a:srgbClr val="00B05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1902399494"/>
                  </a:ext>
                </a:extLst>
              </a:tr>
              <a:tr h="362543">
                <a:tc>
                  <a:txBody>
                    <a:bodyPr/>
                    <a:lstStyle/>
                    <a:p>
                      <a:pPr algn="l" fontAlgn="b">
                        <a:buNone/>
                      </a:pPr>
                      <a:r>
                        <a:rPr lang="es-es" sz="1300" b="0" i="0" u="none" strike="noStrike" dirty="0">
                          <a:solidFill>
                            <a:srgbClr val="366092"/>
                          </a:solidFill>
                          <a:effectLst/>
                          <a:latin typeface="Calibri" panose="020F0502020204030204" pitchFamily="34" charset="0"/>
                        </a:rPr>
                        <a:t>Creación conjunta</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es" sz="1300" b="0" i="0" u="none" strike="noStrike">
                          <a:solidFill>
                            <a:srgbClr val="FF0000"/>
                          </a:solidFill>
                          <a:effectLst/>
                          <a:latin typeface="Calibri" panose="020F0502020204030204" pitchFamily="34" charset="0"/>
                        </a:rPr>
                        <a:t>❌</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es" sz="13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a:solidFill>
                            <a:srgbClr val="FF000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dirty="0">
                          <a:solidFill>
                            <a:srgbClr val="00B05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292910586"/>
                  </a:ext>
                </a:extLst>
              </a:tr>
              <a:tr h="724464">
                <a:tc>
                  <a:txBody>
                    <a:bodyPr/>
                    <a:lstStyle/>
                    <a:p>
                      <a:pPr algn="l" fontAlgn="b">
                        <a:buNone/>
                      </a:pPr>
                      <a:r>
                        <a:rPr lang="es-es" sz="1300" b="0" i="0" u="none" strike="noStrike" dirty="0">
                          <a:solidFill>
                            <a:srgbClr val="366092"/>
                          </a:solidFill>
                          <a:effectLst/>
                          <a:latin typeface="Calibri" panose="020F0502020204030204" pitchFamily="34" charset="0"/>
                        </a:rPr>
                        <a:t>Exporta como archivo zip para instalación de prueba o aprobación</a:t>
                      </a:r>
                    </a:p>
                  </a:txBody>
                  <a:tcPr marL="9525" marR="9525" marT="9525" marB="0" anchor="ctr"/>
                </a:tc>
                <a:tc>
                  <a:txBody>
                    <a:bodyPr/>
                    <a:lstStyle/>
                    <a:p>
                      <a:pPr algn="ctr" fontAlgn="b">
                        <a:buNone/>
                      </a:pPr>
                      <a:r>
                        <a:rPr lang="es-es" sz="13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a:solidFill>
                            <a:srgbClr val="00B050"/>
                          </a:solidFill>
                          <a:effectLst/>
                          <a:latin typeface="Calibri" panose="020F0502020204030204" pitchFamily="34" charset="0"/>
                        </a:rPr>
                        <a:t>✅</a:t>
                      </a:r>
                    </a:p>
                  </a:txBody>
                  <a:tcPr marL="9525" marR="9525" marT="9525" marB="0" anchor="ctr"/>
                </a:tc>
                <a:tc>
                  <a:txBody>
                    <a:bodyPr/>
                    <a:lstStyle/>
                    <a:p>
                      <a:pPr algn="ctr" fontAlgn="b">
                        <a:buNone/>
                      </a:pPr>
                      <a:r>
                        <a:rPr lang="es-es" sz="1300" b="0" i="0" u="none" strike="noStrike" dirty="0">
                          <a:solidFill>
                            <a:srgbClr val="00B050"/>
                          </a:solidFill>
                          <a:effectLst/>
                          <a:latin typeface="Calibri" panose="020F0502020204030204" pitchFamily="34" charset="0"/>
                        </a:rPr>
                        <a:t>✅</a:t>
                      </a:r>
                    </a:p>
                  </a:txBody>
                  <a:tcPr marL="9525" marR="9525" marT="9525" marB="0" anchor="ctr"/>
                </a:tc>
                <a:extLst>
                  <a:ext uri="{0D108BD9-81ED-4DB2-BD59-A6C34878D82A}">
                    <a16:rowId xmlns:a16="http://schemas.microsoft.com/office/drawing/2014/main" val="2864170515"/>
                  </a:ext>
                </a:extLst>
              </a:tr>
            </a:tbl>
          </a:graphicData>
        </a:graphic>
      </p:graphicFrame>
      <p:sp>
        <p:nvSpPr>
          <p:cNvPr id="7" name="TextBox 6">
            <a:extLst>
              <a:ext uri="{FF2B5EF4-FFF2-40B4-BE49-F238E27FC236}">
                <a16:creationId xmlns:a16="http://schemas.microsoft.com/office/drawing/2014/main" id="{DB984556-5943-D57F-C061-C8F0C8FAB61E}"/>
              </a:ext>
            </a:extLst>
          </p:cNvPr>
          <p:cNvSpPr txBox="1"/>
          <p:nvPr/>
        </p:nvSpPr>
        <p:spPr>
          <a:xfrm>
            <a:off x="1182813" y="5321909"/>
            <a:ext cx="10098100" cy="923330"/>
          </a:xfrm>
          <a:prstGeom prst="rect">
            <a:avLst/>
          </a:prstGeom>
          <a:noFill/>
        </p:spPr>
        <p:txBody>
          <a:bodyPr wrap="square" lIns="91440" tIns="45720" rIns="91440" bIns="45720" anchor="t">
            <a:spAutoFit/>
          </a:bodyPr>
          <a:lstStyle/>
          <a:p>
            <a:r>
              <a:rPr lang="es-es" sz="1800" b="1" i="0" u="none" strike="noStrike" dirty="0">
                <a:solidFill>
                  <a:schemeClr val="bg1"/>
                </a:solidFill>
                <a:effectLst/>
                <a:latin typeface="Calibri"/>
                <a:ea typeface="Calibri"/>
                <a:cs typeface="Calibri"/>
              </a:rPr>
              <a:t>*</a:t>
            </a:r>
            <a:r>
              <a:rPr lang="es-es" sz="1800" b="0" i="0" u="none" strike="noStrike" dirty="0">
                <a:solidFill>
                  <a:schemeClr val="bg1"/>
                </a:solidFill>
                <a:effectLst/>
                <a:latin typeface="Segoe UI"/>
                <a:cs typeface="Segoe UI"/>
              </a:rPr>
              <a:t> </a:t>
            </a:r>
            <a:r>
              <a:rPr lang="es-es" sz="1800" dirty="0">
                <a:solidFill>
                  <a:schemeClr val="bg1"/>
                </a:solidFill>
                <a:latin typeface="Segoe UI"/>
                <a:cs typeface="Segoe UI"/>
              </a:rPr>
              <a:t>L</a:t>
            </a:r>
            <a:r>
              <a:rPr lang="es-es" sz="1800" b="0" i="0" u="none" strike="noStrike" dirty="0">
                <a:solidFill>
                  <a:schemeClr val="bg1"/>
                </a:solidFill>
                <a:effectLst/>
                <a:latin typeface="Segoe UI"/>
                <a:cs typeface="Segoe UI"/>
              </a:rPr>
              <a:t>os administradores tienen la capacidad de restringir la creación de enlaces para compartir </a:t>
            </a:r>
            <a:br>
              <a:rPr lang="es-es" sz="1800" b="0" i="0" u="none" strike="noStrike" dirty="0">
                <a:solidFill>
                  <a:schemeClr val="bg1"/>
                </a:solidFill>
                <a:effectLst/>
                <a:latin typeface="Segoe UI"/>
                <a:cs typeface="Segoe UI"/>
              </a:rPr>
            </a:br>
            <a:r>
              <a:rPr lang="es-es" sz="1800" b="0" i="0" u="none" strike="noStrike" dirty="0">
                <a:solidFill>
                  <a:schemeClr val="bg1"/>
                </a:solidFill>
                <a:effectLst/>
                <a:latin typeface="Segoe UI"/>
                <a:cs typeface="Segoe UI"/>
              </a:rPr>
              <a:t>del generador de agentes, limitándola a grupos específicos o deshabilitando el uso compartido </a:t>
            </a:r>
            <a:br>
              <a:rPr lang="es-es" sz="1800" b="0" i="0" u="none" strike="noStrike" dirty="0">
                <a:solidFill>
                  <a:schemeClr val="bg1"/>
                </a:solidFill>
                <a:effectLst/>
                <a:latin typeface="Segoe UI"/>
                <a:cs typeface="Segoe UI"/>
              </a:rPr>
            </a:br>
            <a:r>
              <a:rPr lang="es-es" sz="1800" b="0" i="0" u="none" strike="noStrike" dirty="0">
                <a:solidFill>
                  <a:schemeClr val="bg1"/>
                </a:solidFill>
                <a:effectLst/>
                <a:latin typeface="Segoe UI"/>
                <a:cs typeface="Segoe UI"/>
              </a:rPr>
              <a:t>en toda la organización.</a:t>
            </a:r>
            <a:r>
              <a:rPr lang="es-es" sz="1750" dirty="0">
                <a:solidFill>
                  <a:schemeClr val="bg1"/>
                </a:solidFill>
              </a:rPr>
              <a:t> (</a:t>
            </a:r>
            <a:r>
              <a:rPr lang="es-es" sz="1750" dirty="0">
                <a:solidFill>
                  <a:schemeClr val="bg1"/>
                </a:solidFill>
                <a:ea typeface="+mn-lt"/>
                <a:cs typeface="+mn-lt"/>
              </a:rPr>
              <a:t>MC1138797</a:t>
            </a:r>
            <a:endParaRPr lang="en-US" dirty="0">
              <a:solidFill>
                <a:schemeClr val="bg1"/>
              </a:solidFill>
            </a:endParaRPr>
          </a:p>
        </p:txBody>
      </p:sp>
    </p:spTree>
    <p:extLst>
      <p:ext uri="{BB962C8B-B14F-4D97-AF65-F5344CB8AC3E}">
        <p14:creationId xmlns:p14="http://schemas.microsoft.com/office/powerpoint/2010/main" val="62142319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8D10B10-2C4A-F390-6EFE-3413B3ECCE11}"/>
              </a:ext>
            </a:extLst>
          </p:cNvPr>
          <p:cNvSpPr txBox="1"/>
          <p:nvPr/>
        </p:nvSpPr>
        <p:spPr>
          <a:xfrm>
            <a:off x="225508" y="1859321"/>
            <a:ext cx="11061948" cy="2240613"/>
          </a:xfrm>
          <a:prstGeom prst="rect">
            <a:avLst/>
          </a:prstGeom>
          <a:noFill/>
          <a:ln>
            <a:noFill/>
            <a:prstDash/>
          </a:ln>
          <a:effectLst/>
        </p:spPr>
        <p:txBody>
          <a:bodyPr wrap="square" lIns="0" rIns="0">
            <a:spAutoFit/>
          </a:bodyPr>
          <a:lstStyle/>
          <a:p>
            <a:pPr algn="ctr">
              <a:lnSpc>
                <a:spcPct val="90000"/>
              </a:lnSpc>
              <a:spcAft>
                <a:spcPts val="600"/>
              </a:spcAft>
            </a:pPr>
            <a:r>
              <a:rPr lang="es-es" sz="48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Pasos siguientes</a:t>
            </a:r>
          </a:p>
          <a:p>
            <a:pPr algn="ctr">
              <a:lnSpc>
                <a:spcPct val="90000"/>
              </a:lnSpc>
              <a:spcAft>
                <a:spcPts val="600"/>
              </a:spcAft>
            </a:pPr>
            <a:r>
              <a:rPr lang="es-es" sz="48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y </a:t>
            </a:r>
          </a:p>
          <a:p>
            <a:pPr marL="25400" algn="ctr">
              <a:lnSpc>
                <a:spcPct val="90000"/>
              </a:lnSpc>
              <a:spcAft>
                <a:spcPts val="600"/>
              </a:spcAft>
            </a:pPr>
            <a:r>
              <a:rPr lang="es-es" sz="4800" dirty="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Llamada a la acción</a:t>
            </a:r>
          </a:p>
        </p:txBody>
      </p:sp>
    </p:spTree>
    <p:extLst>
      <p:ext uri="{BB962C8B-B14F-4D97-AF65-F5344CB8AC3E}">
        <p14:creationId xmlns:p14="http://schemas.microsoft.com/office/powerpoint/2010/main" val="148056649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81A90-0EBD-64F5-FC34-B7D74C0B4EE1}"/>
            </a:ext>
          </a:extLst>
        </p:cNvPr>
        <p:cNvGrpSpPr/>
        <p:nvPr/>
      </p:nvGrpSpPr>
      <p:grpSpPr>
        <a:xfrm>
          <a:off x="0" y="0"/>
          <a:ext cx="0" cy="0"/>
          <a:chOff x="0" y="0"/>
          <a:chExt cx="0" cy="0"/>
        </a:xfrm>
      </p:grpSpPr>
      <p:pic>
        <p:nvPicPr>
          <p:cNvPr id="12" name="Picture 11" descr="Una imagen borrosa de un cielo naranja y rosa  El contenido generado por IA puede ser incorrecto.">
            <a:extLst>
              <a:ext uri="{FF2B5EF4-FFF2-40B4-BE49-F238E27FC236}">
                <a16:creationId xmlns:a16="http://schemas.microsoft.com/office/drawing/2014/main" id="{879953B5-B96A-E1FC-81A7-F589D39253A4}"/>
              </a:ext>
            </a:extLst>
          </p:cNvPr>
          <p:cNvPicPr>
            <a:picLocks noChangeAspect="1"/>
          </p:cNvPicPr>
          <p:nvPr/>
        </p:nvPicPr>
        <p:blipFill>
          <a:blip r:embed="rId3">
            <a:alphaModFix/>
            <a:extLst>
              <a:ext uri="{BEBA8EAE-BF5A-486C-A8C5-ECC9F3942E4B}">
                <a14:imgProps xmlns:a14="http://schemas.microsoft.com/office/drawing/2010/main">
                  <a14:imgLayer r:embed="rId4">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0" y="29685"/>
            <a:ext cx="12138167" cy="6646984"/>
          </a:xfrm>
          <a:prstGeom prst="rect">
            <a:avLst/>
          </a:prstGeom>
          <a:effectLst/>
        </p:spPr>
      </p:pic>
      <p:sp>
        <p:nvSpPr>
          <p:cNvPr id="13" name="TextBox 12">
            <a:extLst>
              <a:ext uri="{FF2B5EF4-FFF2-40B4-BE49-F238E27FC236}">
                <a16:creationId xmlns:a16="http://schemas.microsoft.com/office/drawing/2014/main" id="{37AFB55D-457A-2AC6-CE47-DD155DB9B0EC}"/>
              </a:ext>
            </a:extLst>
          </p:cNvPr>
          <p:cNvSpPr txBox="1"/>
          <p:nvPr/>
        </p:nvSpPr>
        <p:spPr>
          <a:xfrm>
            <a:off x="510639" y="748860"/>
            <a:ext cx="11109861" cy="867930"/>
          </a:xfrm>
          <a:prstGeom prst="rect">
            <a:avLst/>
          </a:prstGeom>
          <a:noFill/>
          <a:ln>
            <a:noFill/>
            <a:prstDash/>
          </a:ln>
          <a:effectLst/>
        </p:spPr>
        <p:txBody>
          <a:bodyPr wrap="square">
            <a:spAutoFit/>
          </a:bodyPr>
          <a:lstStyle/>
          <a:p>
            <a:pPr algn="ctr">
              <a:lnSpc>
                <a:spcPct val="90000"/>
              </a:lnSpc>
              <a:spcAft>
                <a:spcPts val="1800"/>
              </a:spcAft>
            </a:pPr>
            <a:r>
              <a:rPr lang="es-es" sz="28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Visita el </a:t>
            </a:r>
            <a:r>
              <a:rPr lang="es-es" sz="28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hlinkClick r:id="rId5"/>
              </a:rPr>
              <a:t>Centro de agentes de IA</a:t>
            </a:r>
            <a:r>
              <a:rPr lang="es-es" sz="28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 para obtener contenido que </a:t>
            </a:r>
            <a:br>
              <a:rPr lang="es-es" sz="28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br>
            <a:r>
              <a:rPr lang="es-es" sz="28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te ayude a planificar, gestionar y crear agentes.</a:t>
            </a:r>
          </a:p>
        </p:txBody>
      </p:sp>
      <p:pic>
        <p:nvPicPr>
          <p:cNvPr id="3" name="Picture 2">
            <a:extLst>
              <a:ext uri="{FF2B5EF4-FFF2-40B4-BE49-F238E27FC236}">
                <a16:creationId xmlns:a16="http://schemas.microsoft.com/office/drawing/2014/main" id="{C96D840C-3171-9FC6-33FF-DC248A5D3FF4}"/>
              </a:ext>
            </a:extLst>
          </p:cNvPr>
          <p:cNvPicPr>
            <a:picLocks noChangeAspect="1"/>
          </p:cNvPicPr>
          <p:nvPr/>
        </p:nvPicPr>
        <p:blipFill>
          <a:blip r:embed="rId6"/>
          <a:stretch>
            <a:fillRect/>
          </a:stretch>
        </p:blipFill>
        <p:spPr>
          <a:xfrm>
            <a:off x="2960270" y="1847317"/>
            <a:ext cx="6204167" cy="4226205"/>
          </a:xfrm>
          <a:prstGeom prst="roundRect">
            <a:avLst>
              <a:gd name="adj" fmla="val 7675"/>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09764099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9A7C4A-0536-1F37-DE83-47C0C8491735}"/>
              </a:ext>
            </a:extLst>
          </p:cNvPr>
          <p:cNvSpPr>
            <a:spLocks noGrp="1"/>
          </p:cNvSpPr>
          <p:nvPr>
            <p:ph type="title" idx="4294967295"/>
          </p:nvPr>
        </p:nvSpPr>
        <p:spPr>
          <a:xfrm>
            <a:off x="-1" y="256894"/>
            <a:ext cx="12085983" cy="6473952"/>
          </a:xfrm>
        </p:spPr>
        <p:txBody>
          <a:bodyPr wrap="square">
            <a:spAutoFit/>
          </a:bodyPr>
          <a:lstStyle/>
          <a:p>
            <a:pPr algn="ctr">
              <a:lnSpc>
                <a:spcPct val="90000"/>
              </a:lnSpc>
            </a:pPr>
            <a:r>
              <a:rPr lang="es-es" dirty="0">
                <a:solidFill>
                  <a:schemeClr val="bg1"/>
                </a:solidFill>
              </a:rPr>
              <a:t>Inversiones de Microsoft para acelerar tu tiempo </a:t>
            </a:r>
            <a:br>
              <a:rPr lang="es-es" dirty="0">
                <a:solidFill>
                  <a:schemeClr val="bg1"/>
                </a:solidFill>
              </a:rPr>
            </a:br>
            <a:r>
              <a:rPr lang="es-es" dirty="0">
                <a:solidFill>
                  <a:schemeClr val="bg1"/>
                </a:solidFill>
              </a:rPr>
              <a:t>para obtener valor</a:t>
            </a:r>
          </a:p>
        </p:txBody>
      </p:sp>
      <p:pic>
        <p:nvPicPr>
          <p:cNvPr id="2" name="Picture 1">
            <a:extLst>
              <a:ext uri="{FF2B5EF4-FFF2-40B4-BE49-F238E27FC236}">
                <a16:creationId xmlns:a16="http://schemas.microsoft.com/office/drawing/2014/main" id="{67915510-118A-6029-1C2F-62F893052CB6}"/>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587373" y="1387130"/>
            <a:ext cx="11017254" cy="4247425"/>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 name="Rectangle: Top Corners Rounded 5">
            <a:extLst>
              <a:ext uri="{FF2B5EF4-FFF2-40B4-BE49-F238E27FC236}">
                <a16:creationId xmlns:a16="http://schemas.microsoft.com/office/drawing/2014/main" id="{C4CB7184-0299-51B1-BF69-B9A4ACF92838}"/>
              </a:ext>
              <a:ext uri="{C183D7F6-B498-43B3-948B-1728B52AA6E4}">
                <adec:decorative xmlns:adec="http://schemas.microsoft.com/office/drawing/2017/decorative" val="1"/>
              </a:ext>
            </a:extLst>
          </p:cNvPr>
          <p:cNvSpPr>
            <a:spLocks/>
          </p:cNvSpPr>
          <p:nvPr/>
        </p:nvSpPr>
        <p:spPr bwMode="auto">
          <a:xfrm>
            <a:off x="586739" y="5078265"/>
            <a:ext cx="11017254" cy="564952"/>
          </a:xfrm>
          <a:prstGeom prst="round2SameRect">
            <a:avLst>
              <a:gd name="adj1" fmla="val 0"/>
              <a:gd name="adj2" fmla="val 29391"/>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8E01AF9E-FF17-FC65-E60D-CDD41B7320CC}"/>
              </a:ext>
              <a:ext uri="{C183D7F6-B498-43B3-948B-1728B52AA6E4}">
                <adec:decorative xmlns:adec="http://schemas.microsoft.com/office/drawing/2017/decorative" val="1"/>
              </a:ext>
            </a:extLst>
          </p:cNvPr>
          <p:cNvSpPr txBox="1">
            <a:spLocks/>
          </p:cNvSpPr>
          <p:nvPr/>
        </p:nvSpPr>
        <p:spPr>
          <a:xfrm>
            <a:off x="724531"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3" name="TextBox 12">
            <a:extLst>
              <a:ext uri="{FF2B5EF4-FFF2-40B4-BE49-F238E27FC236}">
                <a16:creationId xmlns:a16="http://schemas.microsoft.com/office/drawing/2014/main" id="{73681691-20BB-3D4C-2F76-5868DD0BF3E0}"/>
              </a:ext>
              <a:ext uri="{C183D7F6-B498-43B3-948B-1728B52AA6E4}">
                <adec:decorative xmlns:adec="http://schemas.microsoft.com/office/drawing/2017/decorative" val="1"/>
              </a:ext>
            </a:extLst>
          </p:cNvPr>
          <p:cNvSpPr txBox="1">
            <a:spLocks/>
          </p:cNvSpPr>
          <p:nvPr/>
        </p:nvSpPr>
        <p:spPr>
          <a:xfrm>
            <a:off x="7984918"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7" name="Rectangle: Top Corners Rounded 16">
            <a:extLst>
              <a:ext uri="{FF2B5EF4-FFF2-40B4-BE49-F238E27FC236}">
                <a16:creationId xmlns:a16="http://schemas.microsoft.com/office/drawing/2014/main" id="{5D2A3FB4-7639-F59C-C966-FC8B96EED6F1}"/>
              </a:ext>
              <a:ext uri="{C183D7F6-B498-43B3-948B-1728B52AA6E4}">
                <adec:decorative xmlns:adec="http://schemas.microsoft.com/office/drawing/2017/decorative" val="1"/>
              </a:ext>
            </a:extLst>
          </p:cNvPr>
          <p:cNvSpPr/>
          <p:nvPr/>
        </p:nvSpPr>
        <p:spPr bwMode="auto">
          <a:xfrm>
            <a:off x="2094689" y="2488219"/>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Top Corners Rounded 17">
            <a:extLst>
              <a:ext uri="{FF2B5EF4-FFF2-40B4-BE49-F238E27FC236}">
                <a16:creationId xmlns:a16="http://schemas.microsoft.com/office/drawing/2014/main" id="{7D4C55B4-C4BE-34D2-C7AB-1B27FE243C07}"/>
              </a:ext>
              <a:ext uri="{C183D7F6-B498-43B3-948B-1728B52AA6E4}">
                <adec:decorative xmlns:adec="http://schemas.microsoft.com/office/drawing/2017/decorative" val="1"/>
              </a:ext>
            </a:extLst>
          </p:cNvPr>
          <p:cNvSpPr>
            <a:spLocks/>
          </p:cNvSpPr>
          <p:nvPr/>
        </p:nvSpPr>
        <p:spPr bwMode="auto">
          <a:xfrm>
            <a:off x="9355076" y="2488219"/>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1CA52D74-D3EF-4A3E-A379-85ADA397C946}"/>
              </a:ext>
            </a:extLst>
          </p:cNvPr>
          <p:cNvSpPr txBox="1"/>
          <p:nvPr/>
        </p:nvSpPr>
        <p:spPr>
          <a:xfrm>
            <a:off x="706611" y="2772980"/>
            <a:ext cx="3514584"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dirty="0">
                <a:ln>
                  <a:noFill/>
                </a:ln>
                <a:solidFill>
                  <a:srgbClr val="000000"/>
                </a:solidFill>
                <a:effectLst/>
                <a:uLnTx/>
                <a:uFillTx/>
                <a:latin typeface="Segoe UI"/>
                <a:ea typeface="+mn-ea"/>
                <a:cs typeface="+mn-cs"/>
              </a:rPr>
              <a:t>Encuentra socios que </a:t>
            </a:r>
            <a:br>
              <a:rPr kumimoji="0" lang="es-es" sz="2400" b="0" i="0" u="none" strike="noStrike" kern="1200" cap="none" spc="0" normalizeH="0" baseline="0" noProof="0" dirty="0">
                <a:ln>
                  <a:noFill/>
                </a:ln>
                <a:solidFill>
                  <a:srgbClr val="000000"/>
                </a:solidFill>
                <a:effectLst/>
                <a:uLnTx/>
                <a:uFillTx/>
                <a:latin typeface="Segoe UI"/>
                <a:ea typeface="+mn-ea"/>
                <a:cs typeface="+mn-cs"/>
              </a:rPr>
            </a:br>
            <a:r>
              <a:rPr kumimoji="0" lang="es-es" sz="2400" b="0" i="0" u="none" strike="noStrike" kern="1200" cap="none" spc="0" normalizeH="0" baseline="0" noProof="0" dirty="0">
                <a:ln>
                  <a:noFill/>
                </a:ln>
                <a:solidFill>
                  <a:srgbClr val="000000"/>
                </a:solidFill>
                <a:effectLst/>
                <a:uLnTx/>
                <a:uFillTx/>
                <a:latin typeface="Segoe UI"/>
                <a:ea typeface="+mn-ea"/>
                <a:cs typeface="+mn-cs"/>
              </a:rPr>
              <a:t>te ayuden con la extensibilidad de Microsoft 365 Copilot en </a:t>
            </a:r>
          </a:p>
        </p:txBody>
      </p:sp>
      <p:sp>
        <p:nvSpPr>
          <p:cNvPr id="35" name="TextBox 34">
            <a:extLst>
              <a:ext uri="{FF2B5EF4-FFF2-40B4-BE49-F238E27FC236}">
                <a16:creationId xmlns:a16="http://schemas.microsoft.com/office/drawing/2014/main" id="{E0C2927B-7403-59DF-EE1E-90C5A54567BE}"/>
              </a:ext>
              <a:ext uri="{C183D7F6-B498-43B3-948B-1728B52AA6E4}">
                <adec:decorative xmlns:adec="http://schemas.microsoft.com/office/drawing/2017/decorative" val="1"/>
              </a:ext>
            </a:extLst>
          </p:cNvPr>
          <p:cNvSpPr txBox="1">
            <a:spLocks/>
          </p:cNvSpPr>
          <p:nvPr/>
        </p:nvSpPr>
        <p:spPr>
          <a:xfrm>
            <a:off x="4346016" y="1536572"/>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38" name="Rectangle: Top Corners Rounded 37">
            <a:extLst>
              <a:ext uri="{FF2B5EF4-FFF2-40B4-BE49-F238E27FC236}">
                <a16:creationId xmlns:a16="http://schemas.microsoft.com/office/drawing/2014/main" id="{9E69B886-851A-4BFC-B42B-0DB3A1083649}"/>
              </a:ext>
              <a:ext uri="{C183D7F6-B498-43B3-948B-1728B52AA6E4}">
                <adec:decorative xmlns:adec="http://schemas.microsoft.com/office/drawing/2017/decorative" val="1"/>
              </a:ext>
            </a:extLst>
          </p:cNvPr>
          <p:cNvSpPr/>
          <p:nvPr/>
        </p:nvSpPr>
        <p:spPr bwMode="auto">
          <a:xfrm>
            <a:off x="5716174" y="2488219"/>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DBD0298A-FAE0-CE7C-83BD-AD035A9707E2}"/>
              </a:ext>
            </a:extLst>
          </p:cNvPr>
          <p:cNvSpPr txBox="1"/>
          <p:nvPr/>
        </p:nvSpPr>
        <p:spPr>
          <a:xfrm>
            <a:off x="4487849" y="2772980"/>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dirty="0">
                <a:ln>
                  <a:noFill/>
                </a:ln>
                <a:solidFill>
                  <a:srgbClr val="000000"/>
                </a:solidFill>
                <a:effectLst/>
                <a:uLnTx/>
                <a:uFillTx/>
                <a:latin typeface="Segoe UI"/>
                <a:ea typeface="+mn-ea"/>
                <a:cs typeface="+mn-cs"/>
              </a:rPr>
              <a:t>Los clientes elegibles pueden solicitar asistencia técnica y </a:t>
            </a:r>
            <a:br>
              <a:rPr kumimoji="0" lang="es-es" sz="2400" b="0" i="0" u="none" strike="noStrike" kern="1200" cap="none" spc="0" normalizeH="0" baseline="0" noProof="0" dirty="0">
                <a:ln>
                  <a:noFill/>
                </a:ln>
                <a:solidFill>
                  <a:srgbClr val="000000"/>
                </a:solidFill>
                <a:effectLst/>
                <a:uLnTx/>
                <a:uFillTx/>
                <a:latin typeface="Segoe UI"/>
                <a:ea typeface="+mn-ea"/>
                <a:cs typeface="+mn-cs"/>
              </a:rPr>
            </a:br>
            <a:r>
              <a:rPr kumimoji="0" lang="es-es" sz="2400" b="0" i="0" u="none" strike="noStrike" kern="1200" cap="none" spc="0" normalizeH="0" baseline="0" noProof="0" dirty="0">
                <a:ln>
                  <a:noFill/>
                </a:ln>
                <a:solidFill>
                  <a:srgbClr val="000000"/>
                </a:solidFill>
                <a:effectLst/>
                <a:uLnTx/>
                <a:uFillTx/>
                <a:latin typeface="Segoe UI"/>
                <a:ea typeface="+mn-ea"/>
                <a:cs typeface="+mn-cs"/>
              </a:rPr>
              <a:t>de implementación a </a:t>
            </a:r>
          </a:p>
        </p:txBody>
      </p:sp>
      <p:sp>
        <p:nvSpPr>
          <p:cNvPr id="41" name="TextBox 40">
            <a:extLst>
              <a:ext uri="{FF2B5EF4-FFF2-40B4-BE49-F238E27FC236}">
                <a16:creationId xmlns:a16="http://schemas.microsoft.com/office/drawing/2014/main" id="{9BF808FC-1B6F-4ED3-A609-8BD36DB8C8F2}"/>
              </a:ext>
            </a:extLst>
          </p:cNvPr>
          <p:cNvSpPr txBox="1"/>
          <p:nvPr/>
        </p:nvSpPr>
        <p:spPr>
          <a:xfrm>
            <a:off x="8126751" y="2772980"/>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dirty="0">
                <a:ln>
                  <a:noFill/>
                </a:ln>
                <a:solidFill>
                  <a:srgbClr val="000000"/>
                </a:solidFill>
                <a:effectLst/>
                <a:uLnTx/>
                <a:uFillTx/>
                <a:latin typeface="Segoe UI"/>
                <a:ea typeface="+mn-ea"/>
                <a:cs typeface="+mn-cs"/>
              </a:rPr>
              <a:t>Comienza tu recorrido en Copilot con servicios dirigidos por expertos a través de </a:t>
            </a:r>
          </a:p>
        </p:txBody>
      </p:sp>
      <p:sp>
        <p:nvSpPr>
          <p:cNvPr id="42" name="Rectangle: Rounded Corners 41">
            <a:extLst>
              <a:ext uri="{FF2B5EF4-FFF2-40B4-BE49-F238E27FC236}">
                <a16:creationId xmlns:a16="http://schemas.microsoft.com/office/drawing/2014/main" id="{E254328C-50E5-EFF4-38D1-C35709195A27}"/>
              </a:ext>
            </a:extLst>
          </p:cNvPr>
          <p:cNvSpPr>
            <a:spLocks/>
          </p:cNvSpPr>
          <p:nvPr/>
        </p:nvSpPr>
        <p:spPr bwMode="auto">
          <a:xfrm>
            <a:off x="866365"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Directorio de socios de </a:t>
            </a:r>
            <a:br>
              <a:rPr kumimoji="0" lang="es-es" sz="16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br>
            <a:r>
              <a:rPr kumimoji="0" lang="es-es" sz="16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Microsoft 365 Copilot</a:t>
            </a:r>
            <a:endParaRPr kumimoji="0" lang="en-US" sz="1600" b="0" i="0" u="none" strike="noStrike" kern="1200" cap="none" spc="0" normalizeH="0" baseline="0" noProof="0" dirty="0">
              <a:ln>
                <a:noFill/>
              </a:ln>
              <a:solidFill>
                <a:srgbClr val="0078D4"/>
              </a:solidFill>
              <a:effectLst/>
              <a:uLnTx/>
              <a:uFillTx/>
              <a:latin typeface="Segoe UI Semibold"/>
              <a:ea typeface="Calibri" panose="020F0502020204030204" pitchFamily="34" charset="0"/>
              <a:cs typeface="+mn-cs"/>
            </a:endParaRPr>
          </a:p>
        </p:txBody>
      </p:sp>
      <p:sp>
        <p:nvSpPr>
          <p:cNvPr id="43" name="Rectangle: Rounded Corners 42">
            <a:extLst>
              <a:ext uri="{FF2B5EF4-FFF2-40B4-BE49-F238E27FC236}">
                <a16:creationId xmlns:a16="http://schemas.microsoft.com/office/drawing/2014/main" id="{C1F0D71F-275E-62C3-C81C-9A0FDF1CCBED}"/>
              </a:ext>
            </a:extLst>
          </p:cNvPr>
          <p:cNvSpPr>
            <a:spLocks/>
          </p:cNvSpPr>
          <p:nvPr/>
        </p:nvSpPr>
        <p:spPr bwMode="auto">
          <a:xfrm>
            <a:off x="4487850"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5">
                  <a:extLst>
                    <a:ext uri="{A12FA001-AC4F-418D-AE19-62706E023703}">
                      <ahyp:hlinkClr xmlns:ahyp="http://schemas.microsoft.com/office/drawing/2018/hyperlinkcolor" val="tx"/>
                    </a:ext>
                  </a:extLst>
                </a:hlinkClick>
              </a:rPr>
              <a:t>Microsoft FastTrack</a:t>
            </a:r>
            <a:endParaRPr kumimoji="0" lang="en-US"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44" name="Rectangle: Rounded Corners 43">
            <a:extLst>
              <a:ext uri="{FF2B5EF4-FFF2-40B4-BE49-F238E27FC236}">
                <a16:creationId xmlns:a16="http://schemas.microsoft.com/office/drawing/2014/main" id="{C9F09923-D651-73EA-1851-1C29A3706FE7}"/>
              </a:ext>
            </a:extLst>
          </p:cNvPr>
          <p:cNvSpPr>
            <a:spLocks/>
          </p:cNvSpPr>
          <p:nvPr/>
        </p:nvSpPr>
        <p:spPr bwMode="auto">
          <a:xfrm>
            <a:off x="8126753" y="4485138"/>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6">
                  <a:extLst>
                    <a:ext uri="{A12FA001-AC4F-418D-AE19-62706E023703}">
                      <ahyp:hlinkClr xmlns:ahyp="http://schemas.microsoft.com/office/drawing/2018/hyperlinkcolor" val="tx"/>
                    </a:ext>
                  </a:extLst>
                </a:hlinkClick>
              </a:rPr>
              <a:t>Microsoft Unified</a:t>
            </a:r>
            <a:endParaRPr kumimoji="0" lang="en-US"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9" name="Graphic 2">
            <a:extLst>
              <a:ext uri="{FF2B5EF4-FFF2-40B4-BE49-F238E27FC236}">
                <a16:creationId xmlns:a16="http://schemas.microsoft.com/office/drawing/2014/main" id="{F1A6E0B9-1B23-69CF-89C4-ADF4FE4D6ABF}"/>
              </a:ext>
              <a:ext uri="{C183D7F6-B498-43B3-948B-1728B52AA6E4}">
                <adec:decorative xmlns:adec="http://schemas.microsoft.com/office/drawing/2017/decorative" val="1"/>
              </a:ext>
            </a:extLst>
          </p:cNvPr>
          <p:cNvSpPr/>
          <p:nvPr/>
        </p:nvSpPr>
        <p:spPr>
          <a:xfrm>
            <a:off x="2259610" y="1818920"/>
            <a:ext cx="408584" cy="510642"/>
          </a:xfrm>
          <a:custGeom>
            <a:avLst/>
            <a:gdLst>
              <a:gd name="connsiteX0" fmla="*/ 237141 w 237141"/>
              <a:gd name="connsiteY0" fmla="*/ 211124 h 296376"/>
              <a:gd name="connsiteX1" fmla="*/ 203808 w 237141"/>
              <a:gd name="connsiteY1" fmla="*/ 177791 h 296376"/>
              <a:gd name="connsiteX2" fmla="*/ 203793 w 237141"/>
              <a:gd name="connsiteY2" fmla="*/ 177791 h 296376"/>
              <a:gd name="connsiteX3" fmla="*/ 33348 w 237141"/>
              <a:gd name="connsiteY3" fmla="*/ 177791 h 296376"/>
              <a:gd name="connsiteX4" fmla="*/ 0 w 237141"/>
              <a:gd name="connsiteY4" fmla="*/ 211110 h 296376"/>
              <a:gd name="connsiteX5" fmla="*/ 0 w 237141"/>
              <a:gd name="connsiteY5" fmla="*/ 211139 h 296376"/>
              <a:gd name="connsiteX6" fmla="*/ 0 w 237141"/>
              <a:gd name="connsiteY6" fmla="*/ 224775 h 296376"/>
              <a:gd name="connsiteX7" fmla="*/ 7559 w 237141"/>
              <a:gd name="connsiteY7" fmla="*/ 248415 h 296376"/>
              <a:gd name="connsiteX8" fmla="*/ 118511 w 237141"/>
              <a:gd name="connsiteY8" fmla="*/ 296377 h 296376"/>
              <a:gd name="connsiteX9" fmla="*/ 229523 w 237141"/>
              <a:gd name="connsiteY9" fmla="*/ 248430 h 296376"/>
              <a:gd name="connsiteX10" fmla="*/ 237141 w 237141"/>
              <a:gd name="connsiteY10" fmla="*/ 224760 h 296376"/>
              <a:gd name="connsiteX11" fmla="*/ 237141 w 237141"/>
              <a:gd name="connsiteY11" fmla="*/ 211139 h 296376"/>
              <a:gd name="connsiteX12" fmla="*/ 192633 w 237141"/>
              <a:gd name="connsiteY12" fmla="*/ 74116 h 296376"/>
              <a:gd name="connsiteX13" fmla="*/ 118535 w 237141"/>
              <a:gd name="connsiteY13" fmla="*/ 0 h 296376"/>
              <a:gd name="connsiteX14" fmla="*/ 58870 w 237141"/>
              <a:gd name="connsiteY14" fmla="*/ 30141 h 296376"/>
              <a:gd name="connsiteX15" fmla="*/ 55550 w 237141"/>
              <a:gd name="connsiteY15" fmla="*/ 29622 h 296376"/>
              <a:gd name="connsiteX16" fmla="*/ 18527 w 237141"/>
              <a:gd name="connsiteY16" fmla="*/ 29622 h 296376"/>
              <a:gd name="connsiteX17" fmla="*/ 7411 w 237141"/>
              <a:gd name="connsiteY17" fmla="*/ 40738 h 296376"/>
              <a:gd name="connsiteX18" fmla="*/ 7411 w 237141"/>
              <a:gd name="connsiteY18" fmla="*/ 122226 h 296376"/>
              <a:gd name="connsiteX19" fmla="*/ 48140 w 237141"/>
              <a:gd name="connsiteY19" fmla="*/ 163014 h 296376"/>
              <a:gd name="connsiteX20" fmla="*/ 48169 w 237141"/>
              <a:gd name="connsiteY20" fmla="*/ 163014 h 296376"/>
              <a:gd name="connsiteX21" fmla="*/ 51875 w 237141"/>
              <a:gd name="connsiteY21" fmla="*/ 163014 h 296376"/>
              <a:gd name="connsiteX22" fmla="*/ 51875 w 237141"/>
              <a:gd name="connsiteY22" fmla="*/ 162955 h 296376"/>
              <a:gd name="connsiteX23" fmla="*/ 52023 w 237141"/>
              <a:gd name="connsiteY23" fmla="*/ 162955 h 296376"/>
              <a:gd name="connsiteX24" fmla="*/ 66838 w 237141"/>
              <a:gd name="connsiteY24" fmla="*/ 148187 h 296376"/>
              <a:gd name="connsiteX25" fmla="*/ 52069 w 237141"/>
              <a:gd name="connsiteY25" fmla="*/ 133372 h 296376"/>
              <a:gd name="connsiteX26" fmla="*/ 40373 w 237141"/>
              <a:gd name="connsiteY26" fmla="*/ 139078 h 296376"/>
              <a:gd name="connsiteX27" fmla="*/ 29643 w 237141"/>
              <a:gd name="connsiteY27" fmla="*/ 122241 h 296376"/>
              <a:gd name="connsiteX28" fmla="*/ 29643 w 237141"/>
              <a:gd name="connsiteY28" fmla="*/ 118550 h 296376"/>
              <a:gd name="connsiteX29" fmla="*/ 40729 w 237141"/>
              <a:gd name="connsiteY29" fmla="*/ 118550 h 296376"/>
              <a:gd name="connsiteX30" fmla="*/ 55847 w 237141"/>
              <a:gd name="connsiteY30" fmla="*/ 113689 h 296376"/>
              <a:gd name="connsiteX31" fmla="*/ 158062 w 237141"/>
              <a:gd name="connsiteY31" fmla="*/ 136832 h 296376"/>
              <a:gd name="connsiteX32" fmla="*/ 192633 w 237141"/>
              <a:gd name="connsiteY32" fmla="*/ 74116 h 296376"/>
              <a:gd name="connsiteX33" fmla="*/ 44420 w 237141"/>
              <a:gd name="connsiteY33" fmla="*/ 72545 h 296376"/>
              <a:gd name="connsiteX34" fmla="*/ 44420 w 237141"/>
              <a:gd name="connsiteY34" fmla="*/ 75687 h 296376"/>
              <a:gd name="connsiteX35" fmla="*/ 44420 w 237141"/>
              <a:gd name="connsiteY35" fmla="*/ 92598 h 296376"/>
              <a:gd name="connsiteX36" fmla="*/ 40714 w 237141"/>
              <a:gd name="connsiteY36" fmla="*/ 96304 h 296376"/>
              <a:gd name="connsiteX37" fmla="*/ 29643 w 237141"/>
              <a:gd name="connsiteY37" fmla="*/ 96304 h 296376"/>
              <a:gd name="connsiteX38" fmla="*/ 29643 w 237141"/>
              <a:gd name="connsiteY38" fmla="*/ 51869 h 296376"/>
              <a:gd name="connsiteX39" fmla="*/ 44434 w 237141"/>
              <a:gd name="connsiteY39" fmla="*/ 51869 h 296376"/>
              <a:gd name="connsiteX40" fmla="*/ 44434 w 237141"/>
              <a:gd name="connsiteY40" fmla="*/ 72545 h 29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37141" h="296376">
                <a:moveTo>
                  <a:pt x="237141" y="211124"/>
                </a:moveTo>
                <a:cubicBezTo>
                  <a:pt x="237141" y="192715"/>
                  <a:pt x="222218" y="177791"/>
                  <a:pt x="203808" y="177791"/>
                </a:cubicBezTo>
                <a:cubicBezTo>
                  <a:pt x="203804" y="177791"/>
                  <a:pt x="203798" y="177791"/>
                  <a:pt x="203793" y="177791"/>
                </a:cubicBezTo>
                <a:lnTo>
                  <a:pt x="33348" y="177791"/>
                </a:lnTo>
                <a:cubicBezTo>
                  <a:pt x="14939" y="177782"/>
                  <a:pt x="8" y="192700"/>
                  <a:pt x="0" y="211110"/>
                </a:cubicBezTo>
                <a:cubicBezTo>
                  <a:pt x="0" y="211120"/>
                  <a:pt x="0" y="211129"/>
                  <a:pt x="0" y="211139"/>
                </a:cubicBezTo>
                <a:lnTo>
                  <a:pt x="0" y="224775"/>
                </a:lnTo>
                <a:cubicBezTo>
                  <a:pt x="0" y="233238"/>
                  <a:pt x="2638" y="241508"/>
                  <a:pt x="7559" y="248415"/>
                </a:cubicBezTo>
                <a:cubicBezTo>
                  <a:pt x="30428" y="280488"/>
                  <a:pt x="67808" y="296377"/>
                  <a:pt x="118511" y="296377"/>
                </a:cubicBezTo>
                <a:cubicBezTo>
                  <a:pt x="169200" y="296377"/>
                  <a:pt x="206624" y="280503"/>
                  <a:pt x="229523" y="248430"/>
                </a:cubicBezTo>
                <a:cubicBezTo>
                  <a:pt x="234466" y="241526"/>
                  <a:pt x="237129" y="233251"/>
                  <a:pt x="237141" y="224760"/>
                </a:cubicBezTo>
                <a:lnTo>
                  <a:pt x="237141" y="211139"/>
                </a:lnTo>
                <a:close/>
                <a:moveTo>
                  <a:pt x="192633" y="74116"/>
                </a:moveTo>
                <a:cubicBezTo>
                  <a:pt x="192637" y="33188"/>
                  <a:pt x="159463" y="5"/>
                  <a:pt x="118535" y="0"/>
                </a:cubicBezTo>
                <a:cubicBezTo>
                  <a:pt x="94988" y="-3"/>
                  <a:pt x="72840" y="11185"/>
                  <a:pt x="58870" y="30141"/>
                </a:cubicBezTo>
                <a:cubicBezTo>
                  <a:pt x="57796" y="29801"/>
                  <a:pt x="56677" y="29626"/>
                  <a:pt x="55550" y="29622"/>
                </a:cubicBezTo>
                <a:lnTo>
                  <a:pt x="18527" y="29622"/>
                </a:lnTo>
                <a:cubicBezTo>
                  <a:pt x="12388" y="29622"/>
                  <a:pt x="7411" y="34599"/>
                  <a:pt x="7411" y="40738"/>
                </a:cubicBezTo>
                <a:lnTo>
                  <a:pt x="7411" y="122226"/>
                </a:lnTo>
                <a:cubicBezTo>
                  <a:pt x="7394" y="144737"/>
                  <a:pt x="25629" y="162998"/>
                  <a:pt x="48140" y="163014"/>
                </a:cubicBezTo>
                <a:cubicBezTo>
                  <a:pt x="48150" y="163014"/>
                  <a:pt x="48159" y="163014"/>
                  <a:pt x="48169" y="163014"/>
                </a:cubicBezTo>
                <a:lnTo>
                  <a:pt x="51875" y="163014"/>
                </a:lnTo>
                <a:lnTo>
                  <a:pt x="51875" y="162955"/>
                </a:lnTo>
                <a:lnTo>
                  <a:pt x="52023" y="162955"/>
                </a:lnTo>
                <a:cubicBezTo>
                  <a:pt x="60192" y="162968"/>
                  <a:pt x="66825" y="156355"/>
                  <a:pt x="66838" y="148187"/>
                </a:cubicBezTo>
                <a:cubicBezTo>
                  <a:pt x="66850" y="140018"/>
                  <a:pt x="60238" y="133385"/>
                  <a:pt x="52069" y="133372"/>
                </a:cubicBezTo>
                <a:cubicBezTo>
                  <a:pt x="47498" y="133364"/>
                  <a:pt x="43181" y="135470"/>
                  <a:pt x="40373" y="139078"/>
                </a:cubicBezTo>
                <a:cubicBezTo>
                  <a:pt x="33820" y="136038"/>
                  <a:pt x="29631" y="129465"/>
                  <a:pt x="29643" y="122241"/>
                </a:cubicBezTo>
                <a:lnTo>
                  <a:pt x="29643" y="118550"/>
                </a:lnTo>
                <a:lnTo>
                  <a:pt x="40729" y="118550"/>
                </a:lnTo>
                <a:cubicBezTo>
                  <a:pt x="46361" y="118550"/>
                  <a:pt x="51593" y="116742"/>
                  <a:pt x="55847" y="113689"/>
                </a:cubicBezTo>
                <a:cubicBezTo>
                  <a:pt x="77682" y="148306"/>
                  <a:pt x="123445" y="158667"/>
                  <a:pt x="158062" y="136832"/>
                </a:cubicBezTo>
                <a:cubicBezTo>
                  <a:pt x="179593" y="123252"/>
                  <a:pt x="192646" y="99572"/>
                  <a:pt x="192633" y="74116"/>
                </a:cubicBezTo>
                <a:close/>
                <a:moveTo>
                  <a:pt x="44420" y="72545"/>
                </a:moveTo>
                <a:cubicBezTo>
                  <a:pt x="44398" y="73592"/>
                  <a:pt x="44398" y="74640"/>
                  <a:pt x="44420" y="75687"/>
                </a:cubicBezTo>
                <a:lnTo>
                  <a:pt x="44420" y="92598"/>
                </a:lnTo>
                <a:cubicBezTo>
                  <a:pt x="44420" y="94645"/>
                  <a:pt x="42761" y="96304"/>
                  <a:pt x="40714" y="96304"/>
                </a:cubicBezTo>
                <a:lnTo>
                  <a:pt x="29643" y="96304"/>
                </a:lnTo>
                <a:lnTo>
                  <a:pt x="29643" y="51869"/>
                </a:lnTo>
                <a:lnTo>
                  <a:pt x="44434" y="51869"/>
                </a:lnTo>
                <a:lnTo>
                  <a:pt x="44434" y="7254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0" name="Graphic 5">
            <a:extLst>
              <a:ext uri="{FF2B5EF4-FFF2-40B4-BE49-F238E27FC236}">
                <a16:creationId xmlns:a16="http://schemas.microsoft.com/office/drawing/2014/main" id="{71C07B2C-5385-20FF-B78D-1D4C4C12C4B7}"/>
              </a:ext>
              <a:ext uri="{C183D7F6-B498-43B3-948B-1728B52AA6E4}">
                <adec:decorative xmlns:adec="http://schemas.microsoft.com/office/drawing/2017/decorative" val="1"/>
              </a:ext>
            </a:extLst>
          </p:cNvPr>
          <p:cNvSpPr/>
          <p:nvPr/>
        </p:nvSpPr>
        <p:spPr>
          <a:xfrm>
            <a:off x="5843385" y="1834468"/>
            <a:ext cx="484004" cy="479546"/>
          </a:xfrm>
          <a:custGeom>
            <a:avLst/>
            <a:gdLst>
              <a:gd name="connsiteX0" fmla="*/ 22232 w 308503"/>
              <a:gd name="connsiteY0" fmla="*/ 163035 h 305660"/>
              <a:gd name="connsiteX1" fmla="*/ 160204 w 308503"/>
              <a:gd name="connsiteY1" fmla="*/ 163035 h 305660"/>
              <a:gd name="connsiteX2" fmla="*/ 133392 w 308503"/>
              <a:gd name="connsiteY2" fmla="*/ 229731 h 305660"/>
              <a:gd name="connsiteX3" fmla="*/ 144345 w 308503"/>
              <a:gd name="connsiteY3" fmla="*/ 274387 h 305660"/>
              <a:gd name="connsiteX4" fmla="*/ 96339 w 308503"/>
              <a:gd name="connsiteY4" fmla="*/ 281605 h 305660"/>
              <a:gd name="connsiteX5" fmla="*/ 74 w 308503"/>
              <a:gd name="connsiteY5" fmla="*/ 218318 h 305660"/>
              <a:gd name="connsiteX6" fmla="*/ 0 w 308503"/>
              <a:gd name="connsiteY6" fmla="*/ 214909 h 305660"/>
              <a:gd name="connsiteX7" fmla="*/ 0 w 308503"/>
              <a:gd name="connsiteY7" fmla="*/ 185267 h 305660"/>
              <a:gd name="connsiteX8" fmla="*/ 20098 w 308503"/>
              <a:gd name="connsiteY8" fmla="*/ 163138 h 305660"/>
              <a:gd name="connsiteX9" fmla="*/ 22232 w 308503"/>
              <a:gd name="connsiteY9" fmla="*/ 163035 h 305660"/>
              <a:gd name="connsiteX10" fmla="*/ 281605 w 308503"/>
              <a:gd name="connsiteY10" fmla="*/ 81517 h 305660"/>
              <a:gd name="connsiteX11" fmla="*/ 229731 w 308503"/>
              <a:gd name="connsiteY11" fmla="*/ 133392 h 305660"/>
              <a:gd name="connsiteX12" fmla="*/ 177856 w 308503"/>
              <a:gd name="connsiteY12" fmla="*/ 81517 h 305660"/>
              <a:gd name="connsiteX13" fmla="*/ 229731 w 308503"/>
              <a:gd name="connsiteY13" fmla="*/ 29643 h 305660"/>
              <a:gd name="connsiteX14" fmla="*/ 281605 w 308503"/>
              <a:gd name="connsiteY14" fmla="*/ 81517 h 305660"/>
              <a:gd name="connsiteX15" fmla="*/ 96339 w 308503"/>
              <a:gd name="connsiteY15" fmla="*/ 0 h 305660"/>
              <a:gd name="connsiteX16" fmla="*/ 163035 w 308503"/>
              <a:gd name="connsiteY16" fmla="*/ 66696 h 305660"/>
              <a:gd name="connsiteX17" fmla="*/ 96339 w 308503"/>
              <a:gd name="connsiteY17" fmla="*/ 133392 h 305660"/>
              <a:gd name="connsiteX18" fmla="*/ 29643 w 308503"/>
              <a:gd name="connsiteY18" fmla="*/ 66696 h 305660"/>
              <a:gd name="connsiteX19" fmla="*/ 96339 w 308503"/>
              <a:gd name="connsiteY19" fmla="*/ 0 h 305660"/>
              <a:gd name="connsiteX20" fmla="*/ 181962 w 308503"/>
              <a:gd name="connsiteY20" fmla="*/ 177485 h 305660"/>
              <a:gd name="connsiteX21" fmla="*/ 161719 w 308503"/>
              <a:gd name="connsiteY21" fmla="*/ 214195 h 305660"/>
              <a:gd name="connsiteX22" fmla="*/ 160604 w 308503"/>
              <a:gd name="connsiteY22" fmla="*/ 214494 h 305660"/>
              <a:gd name="connsiteX23" fmla="*/ 151948 w 308503"/>
              <a:gd name="connsiteY23" fmla="*/ 216629 h 305660"/>
              <a:gd name="connsiteX24" fmla="*/ 152037 w 308503"/>
              <a:gd name="connsiteY24" fmla="*/ 243411 h 305660"/>
              <a:gd name="connsiteX25" fmla="*/ 160041 w 308503"/>
              <a:gd name="connsiteY25" fmla="*/ 245338 h 305660"/>
              <a:gd name="connsiteX26" fmla="*/ 181917 w 308503"/>
              <a:gd name="connsiteY26" fmla="*/ 281097 h 305660"/>
              <a:gd name="connsiteX27" fmla="*/ 181532 w 308503"/>
              <a:gd name="connsiteY27" fmla="*/ 282539 h 305660"/>
              <a:gd name="connsiteX28" fmla="*/ 178760 w 308503"/>
              <a:gd name="connsiteY28" fmla="*/ 291906 h 305660"/>
              <a:gd name="connsiteX29" fmla="*/ 200770 w 308503"/>
              <a:gd name="connsiteY29" fmla="*/ 305557 h 305660"/>
              <a:gd name="connsiteX30" fmla="*/ 208077 w 308503"/>
              <a:gd name="connsiteY30" fmla="*/ 297879 h 305660"/>
              <a:gd name="connsiteX31" fmla="*/ 249984 w 308503"/>
              <a:gd name="connsiteY31" fmla="*/ 296819 h 305660"/>
              <a:gd name="connsiteX32" fmla="*/ 251044 w 308503"/>
              <a:gd name="connsiteY32" fmla="*/ 297879 h 305660"/>
              <a:gd name="connsiteX33" fmla="*/ 258440 w 308503"/>
              <a:gd name="connsiteY33" fmla="*/ 305660 h 305660"/>
              <a:gd name="connsiteX34" fmla="*/ 280405 w 308503"/>
              <a:gd name="connsiteY34" fmla="*/ 292128 h 305660"/>
              <a:gd name="connsiteX35" fmla="*/ 277470 w 308503"/>
              <a:gd name="connsiteY35" fmla="*/ 281961 h 305660"/>
              <a:gd name="connsiteX36" fmla="*/ 297735 w 308503"/>
              <a:gd name="connsiteY36" fmla="*/ 245263 h 305660"/>
              <a:gd name="connsiteX37" fmla="*/ 298843 w 308503"/>
              <a:gd name="connsiteY37" fmla="*/ 244967 h 305660"/>
              <a:gd name="connsiteX38" fmla="*/ 307483 w 308503"/>
              <a:gd name="connsiteY38" fmla="*/ 242833 h 305660"/>
              <a:gd name="connsiteX39" fmla="*/ 307394 w 308503"/>
              <a:gd name="connsiteY39" fmla="*/ 216036 h 305660"/>
              <a:gd name="connsiteX40" fmla="*/ 299391 w 308503"/>
              <a:gd name="connsiteY40" fmla="*/ 214109 h 305660"/>
              <a:gd name="connsiteX41" fmla="*/ 277531 w 308503"/>
              <a:gd name="connsiteY41" fmla="*/ 178338 h 305660"/>
              <a:gd name="connsiteX42" fmla="*/ 277915 w 308503"/>
              <a:gd name="connsiteY42" fmla="*/ 176907 h 305660"/>
              <a:gd name="connsiteX43" fmla="*/ 280672 w 308503"/>
              <a:gd name="connsiteY43" fmla="*/ 167570 h 305660"/>
              <a:gd name="connsiteX44" fmla="*/ 258677 w 308503"/>
              <a:gd name="connsiteY44" fmla="*/ 153890 h 305660"/>
              <a:gd name="connsiteX45" fmla="*/ 251370 w 308503"/>
              <a:gd name="connsiteY45" fmla="*/ 161582 h 305660"/>
              <a:gd name="connsiteX46" fmla="*/ 209462 w 308503"/>
              <a:gd name="connsiteY46" fmla="*/ 162657 h 305660"/>
              <a:gd name="connsiteX47" fmla="*/ 208388 w 308503"/>
              <a:gd name="connsiteY47" fmla="*/ 161582 h 305660"/>
              <a:gd name="connsiteX48" fmla="*/ 201007 w 308503"/>
              <a:gd name="connsiteY48" fmla="*/ 153801 h 305660"/>
              <a:gd name="connsiteX49" fmla="*/ 179027 w 308503"/>
              <a:gd name="connsiteY49" fmla="*/ 167318 h 305660"/>
              <a:gd name="connsiteX50" fmla="*/ 181962 w 308503"/>
              <a:gd name="connsiteY50" fmla="*/ 177485 h 305660"/>
              <a:gd name="connsiteX51" fmla="*/ 229731 w 308503"/>
              <a:gd name="connsiteY51" fmla="*/ 251963 h 305660"/>
              <a:gd name="connsiteX52" fmla="*/ 208240 w 308503"/>
              <a:gd name="connsiteY52" fmla="*/ 229731 h 305660"/>
              <a:gd name="connsiteX53" fmla="*/ 229731 w 308503"/>
              <a:gd name="connsiteY53" fmla="*/ 207499 h 305660"/>
              <a:gd name="connsiteX54" fmla="*/ 251222 w 308503"/>
              <a:gd name="connsiteY54" fmla="*/ 229731 h 305660"/>
              <a:gd name="connsiteX55" fmla="*/ 229731 w 308503"/>
              <a:gd name="connsiteY55" fmla="*/ 251963 h 30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08503" h="305660">
                <a:moveTo>
                  <a:pt x="22232" y="163035"/>
                </a:moveTo>
                <a:lnTo>
                  <a:pt x="160204" y="163035"/>
                </a:lnTo>
                <a:cubicBezTo>
                  <a:pt x="142967" y="180957"/>
                  <a:pt x="133356" y="204865"/>
                  <a:pt x="133392" y="229731"/>
                </a:cubicBezTo>
                <a:cubicBezTo>
                  <a:pt x="133392" y="245841"/>
                  <a:pt x="137349" y="261033"/>
                  <a:pt x="144345" y="274387"/>
                </a:cubicBezTo>
                <a:cubicBezTo>
                  <a:pt x="128783" y="279575"/>
                  <a:pt x="111619" y="281605"/>
                  <a:pt x="96339" y="281605"/>
                </a:cubicBezTo>
                <a:cubicBezTo>
                  <a:pt x="55995" y="281605"/>
                  <a:pt x="2446" y="267436"/>
                  <a:pt x="74" y="218318"/>
                </a:cubicBezTo>
                <a:lnTo>
                  <a:pt x="0" y="214909"/>
                </a:lnTo>
                <a:lnTo>
                  <a:pt x="0" y="185267"/>
                </a:lnTo>
                <a:cubicBezTo>
                  <a:pt x="1" y="173816"/>
                  <a:pt x="8699" y="164238"/>
                  <a:pt x="20098" y="163138"/>
                </a:cubicBezTo>
                <a:lnTo>
                  <a:pt x="22232" y="163035"/>
                </a:lnTo>
                <a:close/>
                <a:moveTo>
                  <a:pt x="281605" y="81517"/>
                </a:moveTo>
                <a:cubicBezTo>
                  <a:pt x="281605" y="110167"/>
                  <a:pt x="258380" y="133392"/>
                  <a:pt x="229731" y="133392"/>
                </a:cubicBezTo>
                <a:cubicBezTo>
                  <a:pt x="201081" y="133392"/>
                  <a:pt x="177856" y="110167"/>
                  <a:pt x="177856" y="81517"/>
                </a:cubicBezTo>
                <a:cubicBezTo>
                  <a:pt x="177856" y="52868"/>
                  <a:pt x="201081" y="29643"/>
                  <a:pt x="229731" y="29643"/>
                </a:cubicBezTo>
                <a:cubicBezTo>
                  <a:pt x="258380" y="29643"/>
                  <a:pt x="281605" y="52868"/>
                  <a:pt x="281605" y="81517"/>
                </a:cubicBezTo>
                <a:close/>
                <a:moveTo>
                  <a:pt x="96339" y="0"/>
                </a:moveTo>
                <a:cubicBezTo>
                  <a:pt x="133174" y="0"/>
                  <a:pt x="163035" y="29861"/>
                  <a:pt x="163035" y="66696"/>
                </a:cubicBezTo>
                <a:cubicBezTo>
                  <a:pt x="163035" y="103531"/>
                  <a:pt x="133174" y="133392"/>
                  <a:pt x="96339" y="133392"/>
                </a:cubicBezTo>
                <a:cubicBezTo>
                  <a:pt x="59504" y="133392"/>
                  <a:pt x="29643" y="103531"/>
                  <a:pt x="29643" y="66696"/>
                </a:cubicBezTo>
                <a:cubicBezTo>
                  <a:pt x="29643" y="29861"/>
                  <a:pt x="59504" y="0"/>
                  <a:pt x="96339" y="0"/>
                </a:cubicBezTo>
                <a:close/>
                <a:moveTo>
                  <a:pt x="181962" y="177485"/>
                </a:moveTo>
                <a:cubicBezTo>
                  <a:pt x="186509" y="193212"/>
                  <a:pt x="177445" y="209648"/>
                  <a:pt x="161719" y="214195"/>
                </a:cubicBezTo>
                <a:cubicBezTo>
                  <a:pt x="161349" y="214302"/>
                  <a:pt x="160977" y="214402"/>
                  <a:pt x="160604" y="214494"/>
                </a:cubicBezTo>
                <a:lnTo>
                  <a:pt x="151948" y="216629"/>
                </a:lnTo>
                <a:cubicBezTo>
                  <a:pt x="150561" y="225505"/>
                  <a:pt x="150591" y="234545"/>
                  <a:pt x="152037" y="243411"/>
                </a:cubicBezTo>
                <a:lnTo>
                  <a:pt x="160041" y="245338"/>
                </a:lnTo>
                <a:cubicBezTo>
                  <a:pt x="175957" y="249172"/>
                  <a:pt x="185751" y="265182"/>
                  <a:pt x="181917" y="281097"/>
                </a:cubicBezTo>
                <a:cubicBezTo>
                  <a:pt x="181801" y="281582"/>
                  <a:pt x="181672" y="282062"/>
                  <a:pt x="181532" y="282539"/>
                </a:cubicBezTo>
                <a:lnTo>
                  <a:pt x="178760" y="291906"/>
                </a:lnTo>
                <a:cubicBezTo>
                  <a:pt x="185282" y="297627"/>
                  <a:pt x="192692" y="302266"/>
                  <a:pt x="200770" y="305557"/>
                </a:cubicBezTo>
                <a:lnTo>
                  <a:pt x="208077" y="297879"/>
                </a:lnTo>
                <a:cubicBezTo>
                  <a:pt x="219357" y="286015"/>
                  <a:pt x="238120" y="285540"/>
                  <a:pt x="249984" y="296819"/>
                </a:cubicBezTo>
                <a:cubicBezTo>
                  <a:pt x="250346" y="297163"/>
                  <a:pt x="250700" y="297518"/>
                  <a:pt x="251044" y="297879"/>
                </a:cubicBezTo>
                <a:lnTo>
                  <a:pt x="258440" y="305660"/>
                </a:lnTo>
                <a:cubicBezTo>
                  <a:pt x="266459" y="302395"/>
                  <a:pt x="273882" y="297823"/>
                  <a:pt x="280405" y="292128"/>
                </a:cubicBezTo>
                <a:lnTo>
                  <a:pt x="277470" y="281961"/>
                </a:lnTo>
                <a:cubicBezTo>
                  <a:pt x="272932" y="266231"/>
                  <a:pt x="282006" y="249802"/>
                  <a:pt x="297735" y="245263"/>
                </a:cubicBezTo>
                <a:cubicBezTo>
                  <a:pt x="298103" y="245158"/>
                  <a:pt x="298472" y="245059"/>
                  <a:pt x="298843" y="244967"/>
                </a:cubicBezTo>
                <a:lnTo>
                  <a:pt x="307483" y="242833"/>
                </a:lnTo>
                <a:cubicBezTo>
                  <a:pt x="308872" y="233952"/>
                  <a:pt x="308843" y="224908"/>
                  <a:pt x="307394" y="216036"/>
                </a:cubicBezTo>
                <a:lnTo>
                  <a:pt x="299391" y="214109"/>
                </a:lnTo>
                <a:cubicBezTo>
                  <a:pt x="283477" y="210267"/>
                  <a:pt x="273689" y="194253"/>
                  <a:pt x="277531" y="178338"/>
                </a:cubicBezTo>
                <a:cubicBezTo>
                  <a:pt x="277647" y="177859"/>
                  <a:pt x="277776" y="177382"/>
                  <a:pt x="277915" y="176907"/>
                </a:cubicBezTo>
                <a:lnTo>
                  <a:pt x="280672" y="167570"/>
                </a:lnTo>
                <a:cubicBezTo>
                  <a:pt x="274152" y="161819"/>
                  <a:pt x="266717" y="157197"/>
                  <a:pt x="258677" y="153890"/>
                </a:cubicBezTo>
                <a:lnTo>
                  <a:pt x="251370" y="161582"/>
                </a:lnTo>
                <a:cubicBezTo>
                  <a:pt x="240094" y="173451"/>
                  <a:pt x="221331" y="173933"/>
                  <a:pt x="209462" y="162657"/>
                </a:cubicBezTo>
                <a:cubicBezTo>
                  <a:pt x="209095" y="162308"/>
                  <a:pt x="208736" y="161950"/>
                  <a:pt x="208388" y="161582"/>
                </a:cubicBezTo>
                <a:lnTo>
                  <a:pt x="201007" y="153801"/>
                </a:lnTo>
                <a:cubicBezTo>
                  <a:pt x="192944" y="157062"/>
                  <a:pt x="185533" y="161656"/>
                  <a:pt x="179027" y="167318"/>
                </a:cubicBezTo>
                <a:lnTo>
                  <a:pt x="181962" y="177485"/>
                </a:lnTo>
                <a:close/>
                <a:moveTo>
                  <a:pt x="229731" y="251963"/>
                </a:moveTo>
                <a:cubicBezTo>
                  <a:pt x="217874" y="251963"/>
                  <a:pt x="208240" y="242003"/>
                  <a:pt x="208240" y="229731"/>
                </a:cubicBezTo>
                <a:cubicBezTo>
                  <a:pt x="208240" y="217444"/>
                  <a:pt x="217874" y="207499"/>
                  <a:pt x="229731" y="207499"/>
                </a:cubicBezTo>
                <a:cubicBezTo>
                  <a:pt x="241588" y="207499"/>
                  <a:pt x="251222" y="217444"/>
                  <a:pt x="251222" y="229731"/>
                </a:cubicBezTo>
                <a:cubicBezTo>
                  <a:pt x="251222" y="242003"/>
                  <a:pt x="241588" y="251963"/>
                  <a:pt x="229731" y="2519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5" name="Graphic 6">
            <a:extLst>
              <a:ext uri="{FF2B5EF4-FFF2-40B4-BE49-F238E27FC236}">
                <a16:creationId xmlns:a16="http://schemas.microsoft.com/office/drawing/2014/main" id="{550DE085-9727-4EE2-072B-958D977F57DE}"/>
              </a:ext>
              <a:ext uri="{C183D7F6-B498-43B3-948B-1728B52AA6E4}">
                <adec:decorative xmlns:adec="http://schemas.microsoft.com/office/drawing/2017/decorative" val="1"/>
              </a:ext>
            </a:extLst>
          </p:cNvPr>
          <p:cNvSpPr/>
          <p:nvPr/>
        </p:nvSpPr>
        <p:spPr>
          <a:xfrm>
            <a:off x="9484516" y="1834468"/>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46" name="Group 45">
            <a:extLst>
              <a:ext uri="{FF2B5EF4-FFF2-40B4-BE49-F238E27FC236}">
                <a16:creationId xmlns:a16="http://schemas.microsoft.com/office/drawing/2014/main" id="{46FA2823-24E3-274D-4828-A007FE1F1D7C}"/>
              </a:ext>
              <a:ext uri="{C183D7F6-B498-43B3-948B-1728B52AA6E4}">
                <adec:decorative xmlns:adec="http://schemas.microsoft.com/office/drawing/2017/decorative" val="1"/>
              </a:ext>
            </a:extLst>
          </p:cNvPr>
          <p:cNvGrpSpPr/>
          <p:nvPr/>
        </p:nvGrpSpPr>
        <p:grpSpPr>
          <a:xfrm>
            <a:off x="909223" y="4522236"/>
            <a:ext cx="518930" cy="518930"/>
            <a:chOff x="632462" y="5834381"/>
            <a:chExt cx="396238" cy="396238"/>
          </a:xfrm>
        </p:grpSpPr>
        <p:sp>
          <p:nvSpPr>
            <p:cNvPr id="47" name="Freeform: Shape 115">
              <a:extLst>
                <a:ext uri="{FF2B5EF4-FFF2-40B4-BE49-F238E27FC236}">
                  <a16:creationId xmlns:a16="http://schemas.microsoft.com/office/drawing/2014/main" id="{FF246A9C-9882-9E05-7657-569692785013}"/>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8" name="Graphic 255" descr="Icono de un dedo tocando una pantalla">
              <a:extLst>
                <a:ext uri="{FF2B5EF4-FFF2-40B4-BE49-F238E27FC236}">
                  <a16:creationId xmlns:a16="http://schemas.microsoft.com/office/drawing/2014/main" id="{28D9AF22-0DB2-C64A-31D2-1F55F81B7673}"/>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49" name="Group 48">
            <a:extLst>
              <a:ext uri="{FF2B5EF4-FFF2-40B4-BE49-F238E27FC236}">
                <a16:creationId xmlns:a16="http://schemas.microsoft.com/office/drawing/2014/main" id="{D2F384E1-7FD4-C245-F507-217F49F14C46}"/>
              </a:ext>
              <a:ext uri="{C183D7F6-B498-43B3-948B-1728B52AA6E4}">
                <adec:decorative xmlns:adec="http://schemas.microsoft.com/office/drawing/2017/decorative" val="1"/>
              </a:ext>
            </a:extLst>
          </p:cNvPr>
          <p:cNvGrpSpPr/>
          <p:nvPr/>
        </p:nvGrpSpPr>
        <p:grpSpPr>
          <a:xfrm>
            <a:off x="4530708" y="4522236"/>
            <a:ext cx="518930" cy="518930"/>
            <a:chOff x="632462" y="5834381"/>
            <a:chExt cx="396238" cy="396238"/>
          </a:xfrm>
        </p:grpSpPr>
        <p:sp>
          <p:nvSpPr>
            <p:cNvPr id="50" name="Freeform: Shape 115">
              <a:extLst>
                <a:ext uri="{FF2B5EF4-FFF2-40B4-BE49-F238E27FC236}">
                  <a16:creationId xmlns:a16="http://schemas.microsoft.com/office/drawing/2014/main" id="{844C3B0A-085E-ED01-0723-E92574F558FC}"/>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1" name="Graphic 255" descr="Icono de un dedo tocando una pantalla">
              <a:extLst>
                <a:ext uri="{FF2B5EF4-FFF2-40B4-BE49-F238E27FC236}">
                  <a16:creationId xmlns:a16="http://schemas.microsoft.com/office/drawing/2014/main" id="{2A9BFABE-1A21-4EEF-2D5E-EBF2599AB15D}"/>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52" name="Group 51">
            <a:extLst>
              <a:ext uri="{FF2B5EF4-FFF2-40B4-BE49-F238E27FC236}">
                <a16:creationId xmlns:a16="http://schemas.microsoft.com/office/drawing/2014/main" id="{93A158F8-C083-EC61-E920-CE0515DE586B}"/>
              </a:ext>
              <a:ext uri="{C183D7F6-B498-43B3-948B-1728B52AA6E4}">
                <adec:decorative xmlns:adec="http://schemas.microsoft.com/office/drawing/2017/decorative" val="1"/>
              </a:ext>
            </a:extLst>
          </p:cNvPr>
          <p:cNvGrpSpPr/>
          <p:nvPr/>
        </p:nvGrpSpPr>
        <p:grpSpPr>
          <a:xfrm>
            <a:off x="8169611" y="4522236"/>
            <a:ext cx="518930" cy="518930"/>
            <a:chOff x="632462" y="5834381"/>
            <a:chExt cx="396238" cy="396238"/>
          </a:xfrm>
        </p:grpSpPr>
        <p:sp>
          <p:nvSpPr>
            <p:cNvPr id="53" name="Freeform: Shape 115">
              <a:extLst>
                <a:ext uri="{FF2B5EF4-FFF2-40B4-BE49-F238E27FC236}">
                  <a16:creationId xmlns:a16="http://schemas.microsoft.com/office/drawing/2014/main" id="{323855ED-6191-A38E-650D-8A32D451EBDF}"/>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4" name="Graphic 255" descr="Icono de un dedo tocando una pantalla">
              <a:extLst>
                <a:ext uri="{FF2B5EF4-FFF2-40B4-BE49-F238E27FC236}">
                  <a16:creationId xmlns:a16="http://schemas.microsoft.com/office/drawing/2014/main" id="{3A73A677-766E-3260-EC80-2A14347B3BBA}"/>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321255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hyp="http://schemas.microsoft.com/office/drawing/2018/hyperlinkcolor">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nodeType="withEffect">
                                  <p:stCondLst>
                                    <p:cond delay="0"/>
                                  </p:stCondLst>
                                  <p:childTnLst>
                                    <p:animMotion origin="layout" path="M 1.25E-6 0.03889 L 1.25E-6 1.85185E-6 " pathEditMode="relative" rAng="0" ptsTypes="AA">
                                      <p:cBhvr>
                                        <p:cTn id="9" dur="500" fill="hold"/>
                                        <p:tgtEl>
                                          <p:spTgt spid="2"/>
                                        </p:tgtEl>
                                        <p:attrNameLst>
                                          <p:attrName>ppt_x</p:attrName>
                                          <p:attrName>ppt_y</p:attrName>
                                        </p:attrNameLst>
                                      </p:cBhvr>
                                      <p:rCtr x="0" y="-1944"/>
                                    </p:animMotion>
                                  </p:childTnLst>
                                </p:cTn>
                              </p:par>
                            </p:childTnLst>
                          </p:cTn>
                        </p:par>
                        <p:par>
                          <p:cTn id="10" fill="hold">
                            <p:stCondLst>
                              <p:cond delay="500"/>
                            </p:stCondLst>
                            <p:childTnLst>
                              <p:par>
                                <p:cTn id="11" presetID="22" presetClass="entr" presetSubtype="1"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250"/>
                                        <p:tgtEl>
                                          <p:spTgt spid="6"/>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250"/>
                                        <p:tgtEl>
                                          <p:spTgt spid="7"/>
                                        </p:tgtEl>
                                      </p:cBhvr>
                                    </p:animEffect>
                                  </p:childTnLst>
                                </p:cTn>
                              </p:par>
                              <p:par>
                                <p:cTn id="18" presetID="42" presetClass="path" presetSubtype="0" decel="100000" fill="hold" grpId="1" nodeType="withEffect">
                                  <p:stCondLst>
                                    <p:cond delay="0"/>
                                  </p:stCondLst>
                                  <p:childTnLst>
                                    <p:animMotion origin="layout" path="M 1.25E-6 0.03889 L 1.25E-6 1.85185E-6 " pathEditMode="relative" rAng="0" ptsTypes="AA">
                                      <p:cBhvr>
                                        <p:cTn id="19" dur="500" fill="hold"/>
                                        <p:tgtEl>
                                          <p:spTgt spid="7"/>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par>
                                <p:cTn id="23" presetID="42" presetClass="path" presetSubtype="0" decel="100000" fill="hold" grpId="1" nodeType="withEffect">
                                  <p:stCondLst>
                                    <p:cond delay="0"/>
                                  </p:stCondLst>
                                  <p:childTnLst>
                                    <p:animMotion origin="layout" path="M 1.25E-6 0.03889 L 1.25E-6 1.85185E-6 " pathEditMode="relative" rAng="0" ptsTypes="AA">
                                      <p:cBhvr>
                                        <p:cTn id="24" dur="500" fill="hold"/>
                                        <p:tgtEl>
                                          <p:spTgt spid="13"/>
                                        </p:tgtEl>
                                        <p:attrNameLst>
                                          <p:attrName>ppt_x</p:attrName>
                                          <p:attrName>ppt_y</p:attrName>
                                        </p:attrNameLst>
                                      </p:cBhvr>
                                      <p:rCtr x="0" y="-1944"/>
                                    </p:animMotion>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250"/>
                                        <p:tgtEl>
                                          <p:spTgt spid="17"/>
                                        </p:tgtEl>
                                      </p:cBhvr>
                                    </p:animEffect>
                                  </p:childTnLst>
                                </p:cTn>
                              </p:par>
                              <p:par>
                                <p:cTn id="28" presetID="42" presetClass="path" presetSubtype="0" decel="100000" fill="hold" grpId="1" nodeType="withEffect">
                                  <p:stCondLst>
                                    <p:cond delay="0"/>
                                  </p:stCondLst>
                                  <p:childTnLst>
                                    <p:animMotion origin="layout" path="M 1.25E-6 0.03889 L 1.25E-6 1.85185E-6 " pathEditMode="relative" rAng="0" ptsTypes="AA">
                                      <p:cBhvr>
                                        <p:cTn id="29" dur="500" fill="hold"/>
                                        <p:tgtEl>
                                          <p:spTgt spid="17"/>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250"/>
                                        <p:tgtEl>
                                          <p:spTgt spid="18"/>
                                        </p:tgtEl>
                                      </p:cBhvr>
                                    </p:animEffect>
                                  </p:childTnLst>
                                </p:cTn>
                              </p:par>
                              <p:par>
                                <p:cTn id="33" presetID="42" presetClass="path" presetSubtype="0" decel="100000" fill="hold" grpId="1" nodeType="withEffect">
                                  <p:stCondLst>
                                    <p:cond delay="0"/>
                                  </p:stCondLst>
                                  <p:childTnLst>
                                    <p:animMotion origin="layout" path="M 1.25E-6 0.03889 L 1.25E-6 1.85185E-6 " pathEditMode="relative" rAng="0" ptsTypes="AA">
                                      <p:cBhvr>
                                        <p:cTn id="34" dur="500" fill="hold"/>
                                        <p:tgtEl>
                                          <p:spTgt spid="18"/>
                                        </p:tgtEl>
                                        <p:attrNameLst>
                                          <p:attrName>ppt_x</p:attrName>
                                          <p:attrName>ppt_y</p:attrName>
                                        </p:attrNameLst>
                                      </p:cBhvr>
                                      <p:rCtr x="0" y="-1944"/>
                                    </p:animMotion>
                                  </p:childTnLst>
                                </p:cTn>
                              </p:par>
                              <p:par>
                                <p:cTn id="35" presetID="10"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250"/>
                                        <p:tgtEl>
                                          <p:spTgt spid="19"/>
                                        </p:tgtEl>
                                      </p:cBhvr>
                                    </p:animEffect>
                                  </p:childTnLst>
                                </p:cTn>
                              </p:par>
                              <p:par>
                                <p:cTn id="38" presetID="42" presetClass="path" presetSubtype="0" decel="100000" fill="hold" grpId="1" nodeType="withEffect">
                                  <p:stCondLst>
                                    <p:cond delay="0"/>
                                  </p:stCondLst>
                                  <p:childTnLst>
                                    <p:animMotion origin="layout" path="M 1.25E-6 0.03889 L 1.25E-6 1.85185E-6 " pathEditMode="relative" rAng="0" ptsTypes="AA">
                                      <p:cBhvr>
                                        <p:cTn id="39" dur="500" fill="hold"/>
                                        <p:tgtEl>
                                          <p:spTgt spid="19"/>
                                        </p:tgtEl>
                                        <p:attrNameLst>
                                          <p:attrName>ppt_x</p:attrName>
                                          <p:attrName>ppt_y</p:attrName>
                                        </p:attrNameLst>
                                      </p:cBhvr>
                                      <p:rCtr x="0" y="-1944"/>
                                    </p:animMotion>
                                  </p:childTnLst>
                                </p:cTn>
                              </p:par>
                              <p:par>
                                <p:cTn id="40" presetID="10"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250"/>
                                        <p:tgtEl>
                                          <p:spTgt spid="35"/>
                                        </p:tgtEl>
                                      </p:cBhvr>
                                    </p:animEffect>
                                  </p:childTnLst>
                                </p:cTn>
                              </p:par>
                              <p:par>
                                <p:cTn id="43" presetID="42" presetClass="path" presetSubtype="0" decel="100000" fill="hold" grpId="1" nodeType="withEffect">
                                  <p:stCondLst>
                                    <p:cond delay="0"/>
                                  </p:stCondLst>
                                  <p:childTnLst>
                                    <p:animMotion origin="layout" path="M 1.25E-6 0.03889 L 1.25E-6 1.85185E-6 " pathEditMode="relative" rAng="0" ptsTypes="AA">
                                      <p:cBhvr>
                                        <p:cTn id="44" dur="500" fill="hold"/>
                                        <p:tgtEl>
                                          <p:spTgt spid="35"/>
                                        </p:tgtEl>
                                        <p:attrNameLst>
                                          <p:attrName>ppt_x</p:attrName>
                                          <p:attrName>ppt_y</p:attrName>
                                        </p:attrNameLst>
                                      </p:cBhvr>
                                      <p:rCtr x="0" y="-1944"/>
                                    </p:animMotion>
                                  </p:childTnLst>
                                </p:cTn>
                              </p:par>
                              <p:par>
                                <p:cTn id="45" presetID="10" presetClass="entr" presetSubtype="0" fill="hold" grpId="0" nodeType="with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250"/>
                                        <p:tgtEl>
                                          <p:spTgt spid="38"/>
                                        </p:tgtEl>
                                      </p:cBhvr>
                                    </p:animEffect>
                                  </p:childTnLst>
                                </p:cTn>
                              </p:par>
                              <p:par>
                                <p:cTn id="48" presetID="42" presetClass="path" presetSubtype="0" decel="100000" fill="hold" grpId="1" nodeType="withEffect">
                                  <p:stCondLst>
                                    <p:cond delay="0"/>
                                  </p:stCondLst>
                                  <p:childTnLst>
                                    <p:animMotion origin="layout" path="M 1.25E-6 0.03889 L 1.25E-6 1.85185E-6 " pathEditMode="relative" rAng="0" ptsTypes="AA">
                                      <p:cBhvr>
                                        <p:cTn id="49" dur="500" fill="hold"/>
                                        <p:tgtEl>
                                          <p:spTgt spid="38"/>
                                        </p:tgtEl>
                                        <p:attrNameLst>
                                          <p:attrName>ppt_x</p:attrName>
                                          <p:attrName>ppt_y</p:attrName>
                                        </p:attrNameLst>
                                      </p:cBhvr>
                                      <p:rCtr x="0" y="-1944"/>
                                    </p:animMotion>
                                  </p:childTnLst>
                                </p:cTn>
                              </p:par>
                              <p:par>
                                <p:cTn id="50" presetID="10" presetClass="entr" presetSubtype="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250"/>
                                        <p:tgtEl>
                                          <p:spTgt spid="40"/>
                                        </p:tgtEl>
                                      </p:cBhvr>
                                    </p:animEffect>
                                  </p:childTnLst>
                                </p:cTn>
                              </p:par>
                              <p:par>
                                <p:cTn id="53" presetID="42" presetClass="path" presetSubtype="0" decel="100000" fill="hold" grpId="1" nodeType="withEffect">
                                  <p:stCondLst>
                                    <p:cond delay="0"/>
                                  </p:stCondLst>
                                  <p:childTnLst>
                                    <p:animMotion origin="layout" path="M 1.25E-6 0.03889 L 1.25E-6 1.85185E-6 " pathEditMode="relative" rAng="0" ptsTypes="AA">
                                      <p:cBhvr>
                                        <p:cTn id="54" dur="500" fill="hold"/>
                                        <p:tgtEl>
                                          <p:spTgt spid="40"/>
                                        </p:tgtEl>
                                        <p:attrNameLst>
                                          <p:attrName>ppt_x</p:attrName>
                                          <p:attrName>ppt_y</p:attrName>
                                        </p:attrNameLst>
                                      </p:cBhvr>
                                      <p:rCtr x="0" y="-1944"/>
                                    </p:animMotion>
                                  </p:childTnLst>
                                </p:cTn>
                              </p:par>
                              <p:par>
                                <p:cTn id="55" presetID="10"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250"/>
                                        <p:tgtEl>
                                          <p:spTgt spid="41"/>
                                        </p:tgtEl>
                                      </p:cBhvr>
                                    </p:animEffect>
                                  </p:childTnLst>
                                </p:cTn>
                              </p:par>
                              <p:par>
                                <p:cTn id="58" presetID="42" presetClass="path" presetSubtype="0" decel="100000" fill="hold" grpId="1" nodeType="withEffect">
                                  <p:stCondLst>
                                    <p:cond delay="0"/>
                                  </p:stCondLst>
                                  <p:childTnLst>
                                    <p:animMotion origin="layout" path="M 1.25E-6 0.03889 L 1.25E-6 1.85185E-6 " pathEditMode="relative" rAng="0" ptsTypes="AA">
                                      <p:cBhvr>
                                        <p:cTn id="59" dur="500" fill="hold"/>
                                        <p:tgtEl>
                                          <p:spTgt spid="41"/>
                                        </p:tgtEl>
                                        <p:attrNameLst>
                                          <p:attrName>ppt_x</p:attrName>
                                          <p:attrName>ppt_y</p:attrName>
                                        </p:attrNameLst>
                                      </p:cBhvr>
                                      <p:rCtr x="0" y="-1944"/>
                                    </p:animMotion>
                                  </p:childTnLst>
                                </p:cTn>
                              </p:par>
                              <p:par>
                                <p:cTn id="60" presetID="10" presetClass="entr" presetSubtype="0" fill="hold" nodeType="withEffect">
                                  <p:stCondLst>
                                    <p:cond delay="0"/>
                                  </p:stCondLst>
                                  <p:childTnLst>
                                    <p:set>
                                      <p:cBhvr>
                                        <p:cTn id="61" dur="1" fill="hold">
                                          <p:stCondLst>
                                            <p:cond delay="0"/>
                                          </p:stCondLst>
                                        </p:cTn>
                                        <p:tgtEl>
                                          <p:spTgt spid="46"/>
                                        </p:tgtEl>
                                        <p:attrNameLst>
                                          <p:attrName>style.visibility</p:attrName>
                                        </p:attrNameLst>
                                      </p:cBhvr>
                                      <p:to>
                                        <p:strVal val="visible"/>
                                      </p:to>
                                    </p:set>
                                    <p:animEffect transition="in" filter="fade">
                                      <p:cBhvr>
                                        <p:cTn id="62" dur="250"/>
                                        <p:tgtEl>
                                          <p:spTgt spid="46"/>
                                        </p:tgtEl>
                                      </p:cBhvr>
                                    </p:animEffect>
                                  </p:childTnLst>
                                </p:cTn>
                              </p:par>
                              <p:par>
                                <p:cTn id="63" presetID="42" presetClass="path" presetSubtype="0" decel="100000" fill="hold" nodeType="withEffect">
                                  <p:stCondLst>
                                    <p:cond delay="0"/>
                                  </p:stCondLst>
                                  <p:childTnLst>
                                    <p:animMotion origin="layout" path="M -3.33333E-6 0.03889 L -3.33333E-6 -7.40741E-7 " pathEditMode="relative" rAng="0" ptsTypes="AA">
                                      <p:cBhvr>
                                        <p:cTn id="64" dur="500" fill="hold"/>
                                        <p:tgtEl>
                                          <p:spTgt spid="46"/>
                                        </p:tgtEl>
                                        <p:attrNameLst>
                                          <p:attrName>ppt_x</p:attrName>
                                          <p:attrName>ppt_y</p:attrName>
                                        </p:attrNameLst>
                                      </p:cBhvr>
                                      <p:rCtr x="0" y="-1944"/>
                                    </p:animMotion>
                                  </p:childTnLst>
                                </p:cTn>
                              </p:par>
                              <p:par>
                                <p:cTn id="65" presetID="10"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250"/>
                                        <p:tgtEl>
                                          <p:spTgt spid="42"/>
                                        </p:tgtEl>
                                      </p:cBhvr>
                                    </p:animEffect>
                                  </p:childTnLst>
                                </p:cTn>
                              </p:par>
                              <p:par>
                                <p:cTn id="68" presetID="42" presetClass="path" presetSubtype="0" decel="100000" fill="hold" grpId="1" nodeType="withEffect">
                                  <p:stCondLst>
                                    <p:cond delay="0"/>
                                  </p:stCondLst>
                                  <p:childTnLst>
                                    <p:animMotion origin="layout" path="M 1.25E-6 0.03889 L 1.25E-6 1.85185E-6 " pathEditMode="relative" rAng="0" ptsTypes="AA">
                                      <p:cBhvr>
                                        <p:cTn id="69" dur="500" fill="hold"/>
                                        <p:tgtEl>
                                          <p:spTgt spid="42"/>
                                        </p:tgtEl>
                                        <p:attrNameLst>
                                          <p:attrName>ppt_x</p:attrName>
                                          <p:attrName>ppt_y</p:attrName>
                                        </p:attrNameLst>
                                      </p:cBhvr>
                                      <p:rCtr x="0" y="-1944"/>
                                    </p:animMotion>
                                  </p:childTnLst>
                                </p:cTn>
                              </p:par>
                              <p:par>
                                <p:cTn id="70" presetID="10" presetClass="entr" presetSubtype="0" fill="hold" nodeType="with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fade">
                                      <p:cBhvr>
                                        <p:cTn id="72" dur="250"/>
                                        <p:tgtEl>
                                          <p:spTgt spid="49"/>
                                        </p:tgtEl>
                                      </p:cBhvr>
                                    </p:animEffect>
                                  </p:childTnLst>
                                </p:cTn>
                              </p:par>
                              <p:par>
                                <p:cTn id="73" presetID="42" presetClass="path" presetSubtype="0" decel="100000" fill="hold" nodeType="withEffect">
                                  <p:stCondLst>
                                    <p:cond delay="0"/>
                                  </p:stCondLst>
                                  <p:childTnLst>
                                    <p:animMotion origin="layout" path="M 1.45833E-6 0.03889 L 1.45833E-6 -7.40741E-7 " pathEditMode="relative" rAng="0" ptsTypes="AA">
                                      <p:cBhvr>
                                        <p:cTn id="74" dur="500" fill="hold"/>
                                        <p:tgtEl>
                                          <p:spTgt spid="49"/>
                                        </p:tgtEl>
                                        <p:attrNameLst>
                                          <p:attrName>ppt_x</p:attrName>
                                          <p:attrName>ppt_y</p:attrName>
                                        </p:attrNameLst>
                                      </p:cBhvr>
                                      <p:rCtr x="0" y="-1944"/>
                                    </p:animMotion>
                                  </p:childTnLst>
                                </p:cTn>
                              </p:par>
                              <p:par>
                                <p:cTn id="75" presetID="10" presetClass="entr" presetSubtype="0" fill="hold" grpId="0" nodeType="with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250"/>
                                        <p:tgtEl>
                                          <p:spTgt spid="43"/>
                                        </p:tgtEl>
                                      </p:cBhvr>
                                    </p:animEffect>
                                  </p:childTnLst>
                                </p:cTn>
                              </p:par>
                              <p:par>
                                <p:cTn id="78" presetID="42" presetClass="path" presetSubtype="0" decel="100000" fill="hold" grpId="1" nodeType="withEffect">
                                  <p:stCondLst>
                                    <p:cond delay="0"/>
                                  </p:stCondLst>
                                  <p:childTnLst>
                                    <p:animMotion origin="layout" path="M 1.45833E-6 0.03889 L 1.45833E-6 -7.40741E-7 " pathEditMode="relative" rAng="0" ptsTypes="AA">
                                      <p:cBhvr>
                                        <p:cTn id="79" dur="500" fill="hold"/>
                                        <p:tgtEl>
                                          <p:spTgt spid="43"/>
                                        </p:tgtEl>
                                        <p:attrNameLst>
                                          <p:attrName>ppt_x</p:attrName>
                                          <p:attrName>ppt_y</p:attrName>
                                        </p:attrNameLst>
                                      </p:cBhvr>
                                      <p:rCtr x="0" y="-1944"/>
                                    </p:animMotion>
                                  </p:childTnLst>
                                </p:cTn>
                              </p:par>
                              <p:par>
                                <p:cTn id="80" presetID="10" presetClass="entr" presetSubtype="0" fill="hold" nodeType="with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250"/>
                                        <p:tgtEl>
                                          <p:spTgt spid="52"/>
                                        </p:tgtEl>
                                      </p:cBhvr>
                                    </p:animEffect>
                                  </p:childTnLst>
                                </p:cTn>
                              </p:par>
                              <p:par>
                                <p:cTn id="83" presetID="42" presetClass="path" presetSubtype="0" decel="100000" fill="hold" nodeType="withEffect">
                                  <p:stCondLst>
                                    <p:cond delay="0"/>
                                  </p:stCondLst>
                                  <p:childTnLst>
                                    <p:animMotion origin="layout" path="M 3.95833E-6 0.03889 L 3.95833E-6 -7.40741E-7 " pathEditMode="relative" rAng="0" ptsTypes="AA">
                                      <p:cBhvr>
                                        <p:cTn id="84" dur="500" fill="hold"/>
                                        <p:tgtEl>
                                          <p:spTgt spid="52"/>
                                        </p:tgtEl>
                                        <p:attrNameLst>
                                          <p:attrName>ppt_x</p:attrName>
                                          <p:attrName>ppt_y</p:attrName>
                                        </p:attrNameLst>
                                      </p:cBhvr>
                                      <p:rCtr x="0" y="-1944"/>
                                    </p:animMotion>
                                  </p:childTnLst>
                                </p:cTn>
                              </p:par>
                              <p:par>
                                <p:cTn id="85" presetID="10" presetClass="entr" presetSubtype="0" fill="hold" grpId="0" nodeType="with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42" presetClass="path" presetSubtype="0" decel="100000" fill="hold" grpId="1" nodeType="withEffect">
                                  <p:stCondLst>
                                    <p:cond delay="0"/>
                                  </p:stCondLst>
                                  <p:childTnLst>
                                    <p:animMotion origin="layout" path="M 1.25E-6 0.03889 L 1.25E-6 1.85185E-6 " pathEditMode="relative" rAng="0" ptsTypes="AA">
                                      <p:cBhvr>
                                        <p:cTn id="89" dur="500" fill="hold"/>
                                        <p:tgtEl>
                                          <p:spTgt spid="44"/>
                                        </p:tgtEl>
                                        <p:attrNameLst>
                                          <p:attrName>ppt_x</p:attrName>
                                          <p:attrName>ppt_y</p:attrName>
                                        </p:attrNameLst>
                                      </p:cBhvr>
                                      <p:rCtr x="0" y="-1944"/>
                                    </p:animMotion>
                                  </p:childTnLst>
                                </p:cTn>
                              </p:par>
                              <p:par>
                                <p:cTn id="90" presetID="10" presetClass="entr" presetSubtype="0" fill="hold" grpId="0" nodeType="withEffect">
                                  <p:stCondLst>
                                    <p:cond delay="0"/>
                                  </p:stCondLst>
                                  <p:childTnLst>
                                    <p:set>
                                      <p:cBhvr>
                                        <p:cTn id="91" dur="1" fill="hold">
                                          <p:stCondLst>
                                            <p:cond delay="0"/>
                                          </p:stCondLst>
                                        </p:cTn>
                                        <p:tgtEl>
                                          <p:spTgt spid="9"/>
                                        </p:tgtEl>
                                        <p:attrNameLst>
                                          <p:attrName>style.visibility</p:attrName>
                                        </p:attrNameLst>
                                      </p:cBhvr>
                                      <p:to>
                                        <p:strVal val="visible"/>
                                      </p:to>
                                    </p:set>
                                    <p:animEffect transition="in" filter="fade">
                                      <p:cBhvr>
                                        <p:cTn id="92" dur="250"/>
                                        <p:tgtEl>
                                          <p:spTgt spid="9"/>
                                        </p:tgtEl>
                                      </p:cBhvr>
                                    </p:animEffect>
                                  </p:childTnLst>
                                </p:cTn>
                              </p:par>
                              <p:par>
                                <p:cTn id="93" presetID="42" presetClass="path" presetSubtype="0" decel="100000" fill="hold" grpId="1" nodeType="withEffect">
                                  <p:stCondLst>
                                    <p:cond delay="0"/>
                                  </p:stCondLst>
                                  <p:childTnLst>
                                    <p:animMotion origin="layout" path="M 1.25E-6 0.03889 L 1.25E-6 1.85185E-6 " pathEditMode="relative" rAng="0" ptsTypes="AA">
                                      <p:cBhvr>
                                        <p:cTn id="94" dur="500" fill="hold"/>
                                        <p:tgtEl>
                                          <p:spTgt spid="9"/>
                                        </p:tgtEl>
                                        <p:attrNameLst>
                                          <p:attrName>ppt_x</p:attrName>
                                          <p:attrName>ppt_y</p:attrName>
                                        </p:attrNameLst>
                                      </p:cBhvr>
                                      <p:rCtr x="0" y="-1944"/>
                                    </p:animMotion>
                                  </p:childTnLst>
                                </p:cTn>
                              </p:par>
                              <p:par>
                                <p:cTn id="95" presetID="10" presetClass="entr" presetSubtype="0" fill="hold" grpId="0" nodeType="withEffect">
                                  <p:stCondLst>
                                    <p:cond delay="0"/>
                                  </p:stCondLst>
                                  <p:childTnLst>
                                    <p:set>
                                      <p:cBhvr>
                                        <p:cTn id="96" dur="1" fill="hold">
                                          <p:stCondLst>
                                            <p:cond delay="0"/>
                                          </p:stCondLst>
                                        </p:cTn>
                                        <p:tgtEl>
                                          <p:spTgt spid="10"/>
                                        </p:tgtEl>
                                        <p:attrNameLst>
                                          <p:attrName>style.visibility</p:attrName>
                                        </p:attrNameLst>
                                      </p:cBhvr>
                                      <p:to>
                                        <p:strVal val="visible"/>
                                      </p:to>
                                    </p:set>
                                    <p:animEffect transition="in" filter="fade">
                                      <p:cBhvr>
                                        <p:cTn id="97" dur="250"/>
                                        <p:tgtEl>
                                          <p:spTgt spid="10"/>
                                        </p:tgtEl>
                                      </p:cBhvr>
                                    </p:animEffect>
                                  </p:childTnLst>
                                </p:cTn>
                              </p:par>
                              <p:par>
                                <p:cTn id="98" presetID="42" presetClass="path" presetSubtype="0" decel="100000" fill="hold" grpId="1" nodeType="withEffect">
                                  <p:stCondLst>
                                    <p:cond delay="0"/>
                                  </p:stCondLst>
                                  <p:childTnLst>
                                    <p:animMotion origin="layout" path="M 1.25E-6 0.03889 L 1.25E-6 1.85185E-6 " pathEditMode="relative" rAng="0" ptsTypes="AA">
                                      <p:cBhvr>
                                        <p:cTn id="99" dur="500" fill="hold"/>
                                        <p:tgtEl>
                                          <p:spTgt spid="10"/>
                                        </p:tgtEl>
                                        <p:attrNameLst>
                                          <p:attrName>ppt_x</p:attrName>
                                          <p:attrName>ppt_y</p:attrName>
                                        </p:attrNameLst>
                                      </p:cBhvr>
                                      <p:rCtr x="0" y="-1944"/>
                                    </p:animMotion>
                                  </p:childTnLst>
                                </p:cTn>
                              </p:par>
                              <p:par>
                                <p:cTn id="100" presetID="10" presetClass="entr" presetSubtype="0" fill="hold" grpId="0" nodeType="withEffect">
                                  <p:stCondLst>
                                    <p:cond delay="0"/>
                                  </p:stCondLst>
                                  <p:childTnLst>
                                    <p:set>
                                      <p:cBhvr>
                                        <p:cTn id="101" dur="1" fill="hold">
                                          <p:stCondLst>
                                            <p:cond delay="0"/>
                                          </p:stCondLst>
                                        </p:cTn>
                                        <p:tgtEl>
                                          <p:spTgt spid="15"/>
                                        </p:tgtEl>
                                        <p:attrNameLst>
                                          <p:attrName>style.visibility</p:attrName>
                                        </p:attrNameLst>
                                      </p:cBhvr>
                                      <p:to>
                                        <p:strVal val="visible"/>
                                      </p:to>
                                    </p:set>
                                    <p:animEffect transition="in" filter="fade">
                                      <p:cBhvr>
                                        <p:cTn id="102" dur="250"/>
                                        <p:tgtEl>
                                          <p:spTgt spid="15"/>
                                        </p:tgtEl>
                                      </p:cBhvr>
                                    </p:animEffect>
                                  </p:childTnLst>
                                </p:cTn>
                              </p:par>
                              <p:par>
                                <p:cTn id="103" presetID="42" presetClass="path" presetSubtype="0" decel="100000" fill="hold" grpId="1" nodeType="withEffect">
                                  <p:stCondLst>
                                    <p:cond delay="0"/>
                                  </p:stCondLst>
                                  <p:childTnLst>
                                    <p:animMotion origin="layout" path="M 1.25E-6 0.03889 L 1.25E-6 1.85185E-6 " pathEditMode="relative" rAng="0" ptsTypes="AA">
                                      <p:cBhvr>
                                        <p:cTn id="104" dur="500" fill="hold"/>
                                        <p:tgtEl>
                                          <p:spTgt spid="15"/>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7" grpId="1" animBg="1"/>
      <p:bldP spid="13" grpId="0" animBg="1"/>
      <p:bldP spid="13" grpId="1" animBg="1"/>
      <p:bldP spid="17" grpId="0" animBg="1"/>
      <p:bldP spid="17" grpId="1" animBg="1"/>
      <p:bldP spid="18" grpId="0" animBg="1"/>
      <p:bldP spid="18" grpId="1" animBg="1"/>
      <p:bldP spid="19" grpId="0"/>
      <p:bldP spid="19" grpId="1"/>
      <p:bldP spid="35" grpId="0" animBg="1"/>
      <p:bldP spid="35" grpId="1" animBg="1"/>
      <p:bldP spid="38" grpId="0" animBg="1"/>
      <p:bldP spid="38" grpId="1" animBg="1"/>
      <p:bldP spid="40" grpId="0"/>
      <p:bldP spid="40" grpId="1"/>
      <p:bldP spid="41" grpId="0"/>
      <p:bldP spid="41" grpId="1"/>
      <p:bldP spid="42" grpId="0" animBg="1"/>
      <p:bldP spid="42" grpId="1" animBg="1"/>
      <p:bldP spid="43" grpId="0" animBg="1"/>
      <p:bldP spid="43" grpId="1" animBg="1"/>
      <p:bldP spid="44" grpId="0" animBg="1"/>
      <p:bldP spid="44" grpId="1" animBg="1"/>
      <p:bldP spid="9" grpId="0" animBg="1"/>
      <p:bldP spid="9" grpId="1" animBg="1"/>
      <p:bldP spid="10" grpId="0" animBg="1"/>
      <p:bldP spid="10" grpId="1" animBg="1"/>
      <p:bldP spid="15" grpId="0" animBg="1"/>
      <p:bldP spid="15"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769FFE3-B4A9-DABD-6587-4FE32909B048}"/>
              </a:ext>
            </a:extLst>
          </p:cNvPr>
          <p:cNvSpPr/>
          <p:nvPr/>
        </p:nvSpPr>
        <p:spPr bwMode="auto">
          <a:xfrm rot="16200000" flipH="1">
            <a:off x="-136453" y="2742488"/>
            <a:ext cx="4025649" cy="2576099"/>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7" name="Picture 6" descr="Un código QR sobre fondo blanco">
            <a:extLst>
              <a:ext uri="{FF2B5EF4-FFF2-40B4-BE49-F238E27FC236}">
                <a16:creationId xmlns:a16="http://schemas.microsoft.com/office/drawing/2014/main" id="{73434B69-5AE9-898D-CD74-79C32E94922A}"/>
              </a:ext>
            </a:extLst>
          </p:cNvPr>
          <p:cNvPicPr>
            <a:picLocks noChangeAspect="1"/>
          </p:cNvPicPr>
          <p:nvPr/>
        </p:nvPicPr>
        <p:blipFill>
          <a:blip r:embed="rId3"/>
          <a:stretch>
            <a:fillRect/>
          </a:stretch>
        </p:blipFill>
        <p:spPr>
          <a:xfrm>
            <a:off x="971115" y="2441954"/>
            <a:ext cx="1810512" cy="1810512"/>
          </a:xfrm>
          <a:prstGeom prst="roundRect">
            <a:avLst>
              <a:gd name="adj" fmla="val 2933"/>
            </a:avLst>
          </a:prstGeom>
          <a:noFill/>
        </p:spPr>
      </p:pic>
      <p:grpSp>
        <p:nvGrpSpPr>
          <p:cNvPr id="9" name="Group 8">
            <a:extLst>
              <a:ext uri="{FF2B5EF4-FFF2-40B4-BE49-F238E27FC236}">
                <a16:creationId xmlns:a16="http://schemas.microsoft.com/office/drawing/2014/main" id="{820D5F12-A3A3-A4CD-77D1-C117AD33C91C}"/>
              </a:ext>
            </a:extLst>
          </p:cNvPr>
          <p:cNvGrpSpPr/>
          <p:nvPr/>
        </p:nvGrpSpPr>
        <p:grpSpPr>
          <a:xfrm>
            <a:off x="370476" y="4696070"/>
            <a:ext cx="7503737" cy="844463"/>
            <a:chOff x="5607459" y="5376024"/>
            <a:chExt cx="5795892" cy="844463"/>
          </a:xfrm>
        </p:grpSpPr>
        <p:sp>
          <p:nvSpPr>
            <p:cNvPr id="10" name="Rectangle: Rounded Corners 11">
              <a:extLst>
                <a:ext uri="{FF2B5EF4-FFF2-40B4-BE49-F238E27FC236}">
                  <a16:creationId xmlns:a16="http://schemas.microsoft.com/office/drawing/2014/main" id="{A5462F07-51EC-FE13-93F4-2314FCEFECD5}"/>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1">
              <a:extLst>
                <a:ext uri="{FF2B5EF4-FFF2-40B4-BE49-F238E27FC236}">
                  <a16:creationId xmlns:a16="http://schemas.microsoft.com/office/drawing/2014/main" id="{E7411E11-9611-5596-57F4-8F8E3C1C7A50}"/>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descr="Una imagen borrosa de un cielo naranja y rosa  El contenido generado por IA puede ser incorrecto.">
            <a:extLst>
              <a:ext uri="{FF2B5EF4-FFF2-40B4-BE49-F238E27FC236}">
                <a16:creationId xmlns:a16="http://schemas.microsoft.com/office/drawing/2014/main" id="{8B53E518-C6A8-9ECF-F889-F03B4CEBA56D}"/>
              </a:ext>
            </a:extLst>
          </p:cNvPr>
          <p:cNvPicPr>
            <a:picLocks noChangeAspect="1"/>
          </p:cNvPicPr>
          <p:nvPr/>
        </p:nvPicPr>
        <p:blipFill>
          <a:blip r:embed="rId4">
            <a:alphaModFix/>
            <a:extLst>
              <a:ext uri="{BEBA8EAE-BF5A-486C-A8C5-ECC9F3942E4B}">
                <a14:imgProps xmlns:a14="http://schemas.microsoft.com/office/drawing/2010/main">
                  <a14:imgLayer r:embed="rId5">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3624479" y="2"/>
            <a:ext cx="8567520" cy="6646984"/>
          </a:xfrm>
          <a:prstGeom prst="rect">
            <a:avLst/>
          </a:prstGeom>
          <a:effectLst/>
        </p:spPr>
      </p:pic>
      <p:sp>
        <p:nvSpPr>
          <p:cNvPr id="13" name="TextBox 12">
            <a:extLst>
              <a:ext uri="{FF2B5EF4-FFF2-40B4-BE49-F238E27FC236}">
                <a16:creationId xmlns:a16="http://schemas.microsoft.com/office/drawing/2014/main" id="{C4CABB8F-80F5-8CBA-B0D9-1B0D8B936F4A}"/>
              </a:ext>
            </a:extLst>
          </p:cNvPr>
          <p:cNvSpPr txBox="1"/>
          <p:nvPr/>
        </p:nvSpPr>
        <p:spPr>
          <a:xfrm>
            <a:off x="4088315" y="644353"/>
            <a:ext cx="7532185" cy="1255728"/>
          </a:xfrm>
          <a:prstGeom prst="rect">
            <a:avLst/>
          </a:prstGeom>
          <a:noFill/>
          <a:ln>
            <a:noFill/>
            <a:prstDash/>
          </a:ln>
          <a:effectLst/>
        </p:spPr>
        <p:txBody>
          <a:bodyPr wrap="square">
            <a:spAutoFit/>
          </a:bodyPr>
          <a:lstStyle/>
          <a:p>
            <a:pPr algn="ctr">
              <a:lnSpc>
                <a:spcPct val="90000"/>
              </a:lnSpc>
              <a:spcAft>
                <a:spcPts val="1800"/>
              </a:spcAft>
            </a:pPr>
            <a:r>
              <a:rPr lang="es-es" sz="28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Visita el </a:t>
            </a:r>
            <a:r>
              <a:rPr lang="es-ES" sz="28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hlinkClick r:id="rId6"/>
              </a:rPr>
              <a:t>sitio web del Centro de clientes</a:t>
            </a:r>
            <a:r>
              <a:rPr lang="es-ES" sz="28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 </a:t>
            </a:r>
            <a:r>
              <a:rPr lang="es-es" sz="28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para conocer las próximas sesiones, novedades </a:t>
            </a:r>
            <a:br>
              <a:rPr lang="es-es" sz="28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br>
            <a:r>
              <a:rPr lang="es-es" sz="28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y contenido a demanda.</a:t>
            </a:r>
          </a:p>
        </p:txBody>
      </p:sp>
      <p:sp>
        <p:nvSpPr>
          <p:cNvPr id="14" name="Rectangle: Rounded Corners 13">
            <a:extLst>
              <a:ext uri="{FF2B5EF4-FFF2-40B4-BE49-F238E27FC236}">
                <a16:creationId xmlns:a16="http://schemas.microsoft.com/office/drawing/2014/main" id="{DE7ED2F4-D21B-084A-2A38-BC93B81F409C}"/>
              </a:ext>
            </a:extLst>
          </p:cNvPr>
          <p:cNvSpPr/>
          <p:nvPr/>
        </p:nvSpPr>
        <p:spPr bwMode="auto">
          <a:xfrm rot="16200000" flipH="1">
            <a:off x="5821723" y="257308"/>
            <a:ext cx="4052645" cy="7519459"/>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pic>
        <p:nvPicPr>
          <p:cNvPr id="16" name="Picture 15">
            <a:extLst>
              <a:ext uri="{FF2B5EF4-FFF2-40B4-BE49-F238E27FC236}">
                <a16:creationId xmlns:a16="http://schemas.microsoft.com/office/drawing/2014/main" id="{09B68A1B-6C97-5CBE-8BA3-9965A9A3366F}"/>
              </a:ext>
            </a:extLst>
          </p:cNvPr>
          <p:cNvPicPr>
            <a:picLocks noChangeAspect="1"/>
          </p:cNvPicPr>
          <p:nvPr/>
        </p:nvPicPr>
        <p:blipFill>
          <a:blip r:embed="rId7"/>
          <a:stretch>
            <a:fillRect/>
          </a:stretch>
        </p:blipFill>
        <p:spPr>
          <a:xfrm>
            <a:off x="4354189" y="2266134"/>
            <a:ext cx="6987712" cy="3527026"/>
          </a:xfrm>
          <a:prstGeom prst="rect">
            <a:avLst/>
          </a:prstGeom>
        </p:spPr>
      </p:pic>
      <p:sp>
        <p:nvSpPr>
          <p:cNvPr id="18" name="TextBox 17">
            <a:extLst>
              <a:ext uri="{FF2B5EF4-FFF2-40B4-BE49-F238E27FC236}">
                <a16:creationId xmlns:a16="http://schemas.microsoft.com/office/drawing/2014/main" id="{DDBD7BC9-C94D-BA17-C3A3-5295E41DE562}"/>
              </a:ext>
            </a:extLst>
          </p:cNvPr>
          <p:cNvSpPr txBox="1"/>
          <p:nvPr/>
        </p:nvSpPr>
        <p:spPr>
          <a:xfrm>
            <a:off x="711789" y="5033662"/>
            <a:ext cx="2329164" cy="169277"/>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algn="l" defTabSz="914400">
              <a:defRPr/>
            </a:pPr>
            <a:r>
              <a:rPr lang="es-es" sz="1100">
                <a:solidFill>
                  <a:schemeClr val="tx2"/>
                </a:solidFill>
                <a:latin typeface="Segoe Sans Text"/>
                <a:hlinkClick r:id="rId6">
                  <a:extLst>
                    <a:ext uri="{A12FA001-AC4F-418D-AE19-62706E023703}">
                      <ahyp:hlinkClr xmlns:ahyp="http://schemas.microsoft.com/office/drawing/2018/hyperlinkcolor" val="tx"/>
                    </a:ext>
                  </a:extLst>
                </a:hlinkClick>
              </a:rPr>
              <a:t>https://aka.ms/CustomerHubSessions</a:t>
            </a:r>
            <a:r>
              <a:rPr lang="es-es" sz="1100">
                <a:solidFill>
                  <a:schemeClr val="tx2"/>
                </a:solidFill>
                <a:latin typeface="Segoe Sans Text"/>
              </a:rPr>
              <a:t>​</a:t>
            </a:r>
          </a:p>
        </p:txBody>
      </p:sp>
      <p:pic>
        <p:nvPicPr>
          <p:cNvPr id="3" name="Graphic 7">
            <a:extLst>
              <a:ext uri="{FF2B5EF4-FFF2-40B4-BE49-F238E27FC236}">
                <a16:creationId xmlns:a16="http://schemas.microsoft.com/office/drawing/2014/main" id="{F1EB1CD5-5647-0FF0-6BA3-89B7B321DEDA}"/>
              </a:ext>
            </a:extLst>
          </p:cNvPr>
          <p:cNvPicPr>
            <a:picLocks/>
          </p:cNvPicPr>
          <p:nvPr/>
        </p:nvPicPr>
        <p:blipFill>
          <a:blip r:embed="rId8"/>
          <a:srcRect/>
          <a:stretch/>
        </p:blipFill>
        <p:spPr>
          <a:xfrm>
            <a:off x="284218" y="858978"/>
            <a:ext cx="2971800" cy="704088"/>
          </a:xfrm>
          <a:prstGeom prst="rect">
            <a:avLst/>
          </a:prstGeom>
        </p:spPr>
      </p:pic>
    </p:spTree>
    <p:extLst>
      <p:ext uri="{BB962C8B-B14F-4D97-AF65-F5344CB8AC3E}">
        <p14:creationId xmlns:p14="http://schemas.microsoft.com/office/powerpoint/2010/main" val="206910846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951121-1D4C-791C-4F5A-371E412F531D}"/>
            </a:ext>
          </a:extLst>
        </p:cNvPr>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3C69F6D4-D2D0-01A4-410B-B72D218C33B8}"/>
              </a:ext>
            </a:extLst>
          </p:cNvPr>
          <p:cNvSpPr/>
          <p:nvPr/>
        </p:nvSpPr>
        <p:spPr bwMode="auto">
          <a:xfrm rot="5400000">
            <a:off x="7802228" y="2452113"/>
            <a:ext cx="3909527" cy="3521317"/>
          </a:xfrm>
          <a:prstGeom prst="roundRect">
            <a:avLst>
              <a:gd name="adj" fmla="val 14295"/>
            </a:avLst>
          </a:prstGeom>
          <a:solidFill>
            <a:schemeClr val="tx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sp>
        <p:nvSpPr>
          <p:cNvPr id="12" name="Text Placeholder 11">
            <a:extLst>
              <a:ext uri="{FF2B5EF4-FFF2-40B4-BE49-F238E27FC236}">
                <a16:creationId xmlns:a16="http://schemas.microsoft.com/office/drawing/2014/main" id="{4CDE0B7A-8A5F-1F6D-45DB-066A7C44CEF4}"/>
              </a:ext>
            </a:extLst>
          </p:cNvPr>
          <p:cNvSpPr txBox="1">
            <a:spLocks/>
          </p:cNvSpPr>
          <p:nvPr/>
        </p:nvSpPr>
        <p:spPr>
          <a:xfrm>
            <a:off x="8447812" y="2740524"/>
            <a:ext cx="2414260"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es-es" sz="1600">
                <a:solidFill>
                  <a:schemeClr val="bg1"/>
                </a:solidFill>
                <a:cs typeface="Segoe UI Light" panose="020B0502040204020203" pitchFamily="34" charset="0"/>
              </a:rPr>
              <a:t>Aprovecha al máximo Copilot y Microsoft 365</a:t>
            </a:r>
          </a:p>
        </p:txBody>
      </p:sp>
      <p:sp>
        <p:nvSpPr>
          <p:cNvPr id="13" name="Text Placeholder 11">
            <a:extLst>
              <a:ext uri="{FF2B5EF4-FFF2-40B4-BE49-F238E27FC236}">
                <a16:creationId xmlns:a16="http://schemas.microsoft.com/office/drawing/2014/main" id="{83645DB9-C3AA-828A-AF3A-C882454D4474}"/>
              </a:ext>
            </a:extLst>
          </p:cNvPr>
          <p:cNvSpPr txBox="1">
            <a:spLocks/>
          </p:cNvSpPr>
          <p:nvPr/>
        </p:nvSpPr>
        <p:spPr>
          <a:xfrm>
            <a:off x="8447812" y="3484437"/>
            <a:ext cx="2606826"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es-es" sz="1600" dirty="0">
                <a:solidFill>
                  <a:schemeClr val="bg1"/>
                </a:solidFill>
                <a:cs typeface="Segoe UI Light" panose="020B0502040204020203" pitchFamily="34" charset="0"/>
              </a:rPr>
              <a:t>Ayuda a otras personas </a:t>
            </a:r>
            <a:br>
              <a:rPr lang="es-es" sz="1600" dirty="0">
                <a:solidFill>
                  <a:schemeClr val="bg1"/>
                </a:solidFill>
                <a:cs typeface="Segoe UI Light" panose="020B0502040204020203" pitchFamily="34" charset="0"/>
              </a:rPr>
            </a:br>
            <a:r>
              <a:rPr lang="es-es" sz="1600" dirty="0">
                <a:solidFill>
                  <a:schemeClr val="bg1"/>
                </a:solidFill>
                <a:cs typeface="Segoe UI Light" panose="020B0502040204020203" pitchFamily="34" charset="0"/>
              </a:rPr>
              <a:t>a hacer lo mismo</a:t>
            </a:r>
          </a:p>
        </p:txBody>
      </p:sp>
      <p:sp>
        <p:nvSpPr>
          <p:cNvPr id="14" name="Text Placeholder 11">
            <a:extLst>
              <a:ext uri="{FF2B5EF4-FFF2-40B4-BE49-F238E27FC236}">
                <a16:creationId xmlns:a16="http://schemas.microsoft.com/office/drawing/2014/main" id="{926B550B-0BE4-8BB9-2A6B-5C4652412844}"/>
              </a:ext>
            </a:extLst>
          </p:cNvPr>
          <p:cNvSpPr txBox="1">
            <a:spLocks/>
          </p:cNvSpPr>
          <p:nvPr/>
        </p:nvSpPr>
        <p:spPr>
          <a:xfrm>
            <a:off x="8447812" y="4156309"/>
            <a:ext cx="2832899" cy="584775"/>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00000"/>
              <a:buNone/>
            </a:pPr>
            <a:r>
              <a:rPr lang="es-es" sz="1600">
                <a:solidFill>
                  <a:schemeClr val="bg1"/>
                </a:solidFill>
                <a:cs typeface="Segoe UI Light" panose="020B0502040204020203" pitchFamily="34" charset="0"/>
              </a:rPr>
              <a:t>Amplía tus conocimientos y mejora tu carrera profesional</a:t>
            </a:r>
          </a:p>
        </p:txBody>
      </p:sp>
      <p:grpSp>
        <p:nvGrpSpPr>
          <p:cNvPr id="2" name="Group 1">
            <a:extLst>
              <a:ext uri="{FF2B5EF4-FFF2-40B4-BE49-F238E27FC236}">
                <a16:creationId xmlns:a16="http://schemas.microsoft.com/office/drawing/2014/main" id="{C3AB5E3B-FCBC-3AB6-0A88-83D37C3F2291}"/>
              </a:ext>
            </a:extLst>
          </p:cNvPr>
          <p:cNvGrpSpPr/>
          <p:nvPr/>
        </p:nvGrpSpPr>
        <p:grpSpPr>
          <a:xfrm>
            <a:off x="6973207" y="5397648"/>
            <a:ext cx="6080320" cy="844463"/>
            <a:chOff x="5607459" y="5376024"/>
            <a:chExt cx="5795892" cy="844463"/>
          </a:xfrm>
        </p:grpSpPr>
        <p:sp>
          <p:nvSpPr>
            <p:cNvPr id="3" name="Rectangle: Rounded Corners 11">
              <a:extLst>
                <a:ext uri="{FF2B5EF4-FFF2-40B4-BE49-F238E27FC236}">
                  <a16:creationId xmlns:a16="http://schemas.microsoft.com/office/drawing/2014/main" id="{E78C4E7F-9DD8-E6F1-FE84-5EFC623D3590}"/>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11">
              <a:extLst>
                <a:ext uri="{FF2B5EF4-FFF2-40B4-BE49-F238E27FC236}">
                  <a16:creationId xmlns:a16="http://schemas.microsoft.com/office/drawing/2014/main" id="{76CFF2BE-0A1F-7BED-5D3B-9C47887A08BB}"/>
                </a:ext>
              </a:extLst>
            </p:cNvPr>
            <p:cNvSpPr/>
            <p:nvPr/>
          </p:nvSpPr>
          <p:spPr>
            <a:xfrm>
              <a:off x="5711416" y="5460239"/>
              <a:ext cx="558797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 name="Picture 4">
            <a:extLst>
              <a:ext uri="{FF2B5EF4-FFF2-40B4-BE49-F238E27FC236}">
                <a16:creationId xmlns:a16="http://schemas.microsoft.com/office/drawing/2014/main" id="{E78E4B0B-6BFD-E406-725E-538C4E07F71E}"/>
              </a:ext>
              <a:ext uri="{C183D7F6-B498-43B3-948B-1728B52AA6E4}">
                <adec:decorative xmlns:adec="http://schemas.microsoft.com/office/drawing/2017/decorative" val="1"/>
              </a:ext>
            </a:extLst>
          </p:cNvPr>
          <p:cNvPicPr>
            <a:picLocks noChangeAspect="1"/>
          </p:cNvPicPr>
          <p:nvPr/>
        </p:nvPicPr>
        <p:blipFill rotWithShape="1">
          <a:blip r:embed="rId3"/>
          <a:srcRect l="370" t="1" r="531" b="29523"/>
          <a:stretch>
            <a:fillRect/>
          </a:stretch>
        </p:blipFill>
        <p:spPr>
          <a:xfrm rot="10800000" flipV="1">
            <a:off x="-9331" y="6675119"/>
            <a:ext cx="12201331" cy="182880"/>
          </a:xfrm>
          <a:prstGeom prst="rect">
            <a:avLst/>
          </a:prstGeom>
          <a:ln>
            <a:noFill/>
          </a:ln>
          <a:effectLst/>
        </p:spPr>
      </p:pic>
      <p:sp>
        <p:nvSpPr>
          <p:cNvPr id="6" name="TextBox 5">
            <a:extLst>
              <a:ext uri="{FF2B5EF4-FFF2-40B4-BE49-F238E27FC236}">
                <a16:creationId xmlns:a16="http://schemas.microsoft.com/office/drawing/2014/main" id="{735E65A0-22E6-878F-9F35-4ABDCF9F5FA4}"/>
              </a:ext>
            </a:extLst>
          </p:cNvPr>
          <p:cNvSpPr txBox="1"/>
          <p:nvPr/>
        </p:nvSpPr>
        <p:spPr>
          <a:xfrm>
            <a:off x="7359578" y="5664354"/>
            <a:ext cx="4508572" cy="29238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algn="ctr" defTabSz="932472" fontAlgn="base">
              <a:spcBef>
                <a:spcPct val="0"/>
              </a:spcBef>
              <a:spcAft>
                <a:spcPct val="0"/>
              </a:spcAft>
              <a:defRPr sz="2000">
                <a:solidFill>
                  <a:srgbClr val="FFFFFF"/>
                </a:solidFill>
                <a:latin typeface="Segoe UI Semibold"/>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algn="l"/>
            <a:r>
              <a:rPr lang="es-es" sz="1300" dirty="0">
                <a:solidFill>
                  <a:srgbClr val="454142"/>
                </a:solidFill>
                <a:latin typeface="+mn-lt"/>
                <a:cs typeface="Segoe UI Light" panose="020B0502040204020203" pitchFamily="34" charset="0"/>
              </a:rPr>
              <a:t>Únete al programa gratuito en </a:t>
            </a:r>
            <a:r>
              <a:rPr lang="es-es" sz="1300" dirty="0">
                <a:solidFill>
                  <a:srgbClr val="454142"/>
                </a:solidFill>
                <a:latin typeface="+mn-lt"/>
                <a:cs typeface="Segoe UI Light" panose="020B0502040204020203" pitchFamily="34" charset="0"/>
                <a:hlinkClick r:id="rId4">
                  <a:extLst>
                    <a:ext uri="{A12FA001-AC4F-418D-AE19-62706E023703}">
                      <ahyp:hlinkClr xmlns:ahyp="http://schemas.microsoft.com/office/drawing/2018/hyperlinkcolor" val="tx"/>
                    </a:ext>
                  </a:extLst>
                </a:hlinkClick>
              </a:rPr>
              <a:t>aka.ms/M365Champions</a:t>
            </a:r>
            <a:endParaRPr lang="en-US" sz="1300" dirty="0">
              <a:solidFill>
                <a:srgbClr val="454142"/>
              </a:solidFill>
              <a:latin typeface="+mn-lt"/>
              <a:cs typeface="Segoe UI Light" panose="020B0502040204020203" pitchFamily="34" charset="0"/>
            </a:endParaRPr>
          </a:p>
        </p:txBody>
      </p:sp>
      <p:pic>
        <p:nvPicPr>
          <p:cNvPr id="7" name="Graphic 6">
            <a:extLst>
              <a:ext uri="{FF2B5EF4-FFF2-40B4-BE49-F238E27FC236}">
                <a16:creationId xmlns:a16="http://schemas.microsoft.com/office/drawing/2014/main" id="{787FC857-AD76-E5DB-7117-6E41F8168ACB}"/>
              </a:ext>
            </a:extLst>
          </p:cNvPr>
          <p:cNvPicPr>
            <a:picLocks noChangeAspect="1"/>
          </p:cNvPicPr>
          <p:nvPr/>
        </p:nvPicPr>
        <p:blipFill>
          <a:blip>
            <a:extLst>
              <a:ext uri="{96DAC541-7B7A-43D3-8B79-37D633B846F1}">
                <asvg:svgBlip xmlns:asvg="http://schemas.microsoft.com/office/drawing/2016/SVG/main" r:embed="rId5"/>
              </a:ext>
            </a:extLst>
          </a:blip>
          <a:stretch>
            <a:fillRect/>
          </a:stretch>
        </p:blipFill>
        <p:spPr>
          <a:xfrm>
            <a:off x="11567746" y="5678512"/>
            <a:ext cx="300404" cy="282733"/>
          </a:xfrm>
          <a:prstGeom prst="rect">
            <a:avLst/>
          </a:prstGeom>
        </p:spPr>
      </p:pic>
      <p:sp>
        <p:nvSpPr>
          <p:cNvPr id="11" name="Text Placeholder 11">
            <a:extLst>
              <a:ext uri="{FF2B5EF4-FFF2-40B4-BE49-F238E27FC236}">
                <a16:creationId xmlns:a16="http://schemas.microsoft.com/office/drawing/2014/main" id="{44C0E704-E7FD-3B7B-5543-6928E83C8734}"/>
              </a:ext>
            </a:extLst>
          </p:cNvPr>
          <p:cNvSpPr txBox="1">
            <a:spLocks/>
          </p:cNvSpPr>
          <p:nvPr/>
        </p:nvSpPr>
        <p:spPr>
          <a:xfrm>
            <a:off x="501162" y="4462312"/>
            <a:ext cx="4741398" cy="866904"/>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500"/>
              </a:spcAft>
              <a:buSzPct val="100000"/>
              <a:buNone/>
            </a:pPr>
            <a:r>
              <a:rPr lang="es-es" sz="1400" dirty="0">
                <a:solidFill>
                  <a:schemeClr val="bg1"/>
                </a:solidFill>
                <a:cs typeface="Segoe UI Light" panose="020B0502040204020203" pitchFamily="34" charset="0"/>
              </a:rPr>
              <a:t>Aprovecha al máximo </a:t>
            </a:r>
            <a:r>
              <a:rPr lang="es-es" sz="1400" dirty="0" err="1">
                <a:solidFill>
                  <a:schemeClr val="bg1"/>
                </a:solidFill>
                <a:cs typeface="Segoe UI Light" panose="020B0502040204020203" pitchFamily="34" charset="0"/>
              </a:rPr>
              <a:t>Copilot</a:t>
            </a:r>
            <a:r>
              <a:rPr lang="es-es" sz="1400" dirty="0">
                <a:solidFill>
                  <a:schemeClr val="bg1"/>
                </a:solidFill>
                <a:cs typeface="Segoe UI Light" panose="020B0502040204020203" pitchFamily="34" charset="0"/>
              </a:rPr>
              <a:t> y Microsoft 365</a:t>
            </a:r>
          </a:p>
          <a:p>
            <a:pPr marL="0" indent="0">
              <a:spcBef>
                <a:spcPts val="0"/>
              </a:spcBef>
              <a:spcAft>
                <a:spcPts val="500"/>
              </a:spcAft>
              <a:buSzPct val="100000"/>
              <a:buNone/>
            </a:pPr>
            <a:r>
              <a:rPr lang="es-es" sz="1400" dirty="0">
                <a:solidFill>
                  <a:schemeClr val="bg1"/>
                </a:solidFill>
                <a:cs typeface="Segoe UI Light" panose="020B0502040204020203" pitchFamily="34" charset="0"/>
              </a:rPr>
              <a:t>Ayuda a otras personas a hacer lo mismo</a:t>
            </a:r>
          </a:p>
          <a:p>
            <a:pPr marL="0" indent="0">
              <a:spcBef>
                <a:spcPts val="0"/>
              </a:spcBef>
              <a:spcAft>
                <a:spcPts val="500"/>
              </a:spcAft>
              <a:buSzPct val="100000"/>
              <a:buNone/>
            </a:pPr>
            <a:r>
              <a:rPr lang="es-es" sz="1400" dirty="0">
                <a:solidFill>
                  <a:schemeClr val="bg1"/>
                </a:solidFill>
                <a:cs typeface="Segoe UI Light" panose="020B0502040204020203" pitchFamily="34" charset="0"/>
              </a:rPr>
              <a:t>Amplía tus conocimientos y mejora tu carrera profesional</a:t>
            </a:r>
          </a:p>
        </p:txBody>
      </p:sp>
      <p:sp>
        <p:nvSpPr>
          <p:cNvPr id="15" name="TextBox 14">
            <a:extLst>
              <a:ext uri="{FF2B5EF4-FFF2-40B4-BE49-F238E27FC236}">
                <a16:creationId xmlns:a16="http://schemas.microsoft.com/office/drawing/2014/main" id="{69FF5A09-9F9A-5F67-1766-596598E165CF}"/>
              </a:ext>
            </a:extLst>
          </p:cNvPr>
          <p:cNvSpPr txBox="1"/>
          <p:nvPr/>
        </p:nvSpPr>
        <p:spPr>
          <a:xfrm>
            <a:off x="455769" y="1153569"/>
            <a:ext cx="7490468" cy="3080843"/>
          </a:xfrm>
          <a:prstGeom prst="rect">
            <a:avLst/>
          </a:prstGeom>
          <a:noFill/>
          <a:ln>
            <a:noFill/>
            <a:prstDash/>
          </a:ln>
          <a:effectLst/>
        </p:spPr>
        <p:txBody>
          <a:bodyPr wrap="square">
            <a:spAutoFit/>
          </a:bodyPr>
          <a:lstStyle/>
          <a:p>
            <a:pPr>
              <a:lnSpc>
                <a:spcPct val="80000"/>
              </a:lnSpc>
              <a:spcAft>
                <a:spcPts val="1800"/>
              </a:spcAft>
            </a:pPr>
            <a:r>
              <a:rPr lang="es-es" sz="36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Haz la diferencia</a:t>
            </a:r>
          </a:p>
          <a:p>
            <a:pPr marL="800100">
              <a:lnSpc>
                <a:spcPct val="80000"/>
              </a:lnSpc>
              <a:spcAft>
                <a:spcPts val="600"/>
              </a:spcAft>
            </a:pPr>
            <a:r>
              <a:rPr lang="es-es" sz="9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Conviértete </a:t>
            </a:r>
            <a:br>
              <a:rPr lang="es-es" sz="9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br>
            <a:r>
              <a:rPr lang="es-es" sz="9400" dirty="0">
                <a:ln w="3175">
                  <a:noFill/>
                </a:ln>
                <a:gradFill flip="none" rotWithShape="1">
                  <a:gsLst>
                    <a:gs pos="0">
                      <a:srgbClr val="94D8FE"/>
                    </a:gs>
                    <a:gs pos="100000">
                      <a:schemeClr val="bg1"/>
                    </a:gs>
                  </a:gsLst>
                  <a:lin ang="13500000" scaled="1"/>
                  <a:tileRect/>
                </a:gradFill>
                <a:latin typeface="Segoe Sans Display Semibold" pitchFamily="2" charset="0"/>
                <a:cs typeface="Segoe Sans Display Semibold" pitchFamily="2" charset="0"/>
              </a:rPr>
              <a:t>en experto</a:t>
            </a:r>
          </a:p>
        </p:txBody>
      </p:sp>
    </p:spTree>
    <p:extLst>
      <p:ext uri="{BB962C8B-B14F-4D97-AF65-F5344CB8AC3E}">
        <p14:creationId xmlns:p14="http://schemas.microsoft.com/office/powerpoint/2010/main" val="418700525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EB574C26-438B-9E3E-82EC-D8F28756706E}"/>
              </a:ext>
            </a:extLst>
          </p:cNvPr>
          <p:cNvSpPr/>
          <p:nvPr/>
        </p:nvSpPr>
        <p:spPr bwMode="auto">
          <a:xfrm rot="16200000" flipH="1">
            <a:off x="7444947" y="2092709"/>
            <a:ext cx="4778309" cy="3072762"/>
          </a:xfrm>
          <a:prstGeom prst="roundRect">
            <a:avLst>
              <a:gd name="adj" fmla="val 14295"/>
            </a:avLst>
          </a:prstGeom>
          <a:solidFill>
            <a:schemeClr val="accent5">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4" name="Picture 2" descr="Un código QR">
            <a:extLst>
              <a:ext uri="{FF2B5EF4-FFF2-40B4-BE49-F238E27FC236}">
                <a16:creationId xmlns:a16="http://schemas.microsoft.com/office/drawing/2014/main" id="{E0CEA7AE-2C4E-9AEE-E196-A14037070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2636" y="1616582"/>
            <a:ext cx="2202932" cy="2202930"/>
          </a:xfrm>
          <a:prstGeom prst="roundRect">
            <a:avLst>
              <a:gd name="adj" fmla="val 2933"/>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FE95CE7F-4B9E-E2B6-19AF-B22BAEFF52D9}"/>
              </a:ext>
            </a:extLst>
          </p:cNvPr>
          <p:cNvGrpSpPr/>
          <p:nvPr/>
        </p:nvGrpSpPr>
        <p:grpSpPr>
          <a:xfrm>
            <a:off x="4491348" y="4140925"/>
            <a:ext cx="7503737" cy="844463"/>
            <a:chOff x="5607459" y="5376024"/>
            <a:chExt cx="5795892" cy="844463"/>
          </a:xfrm>
        </p:grpSpPr>
        <p:sp>
          <p:nvSpPr>
            <p:cNvPr id="6" name="Rectangle: Rounded Corners 11">
              <a:extLst>
                <a:ext uri="{FF2B5EF4-FFF2-40B4-BE49-F238E27FC236}">
                  <a16:creationId xmlns:a16="http://schemas.microsoft.com/office/drawing/2014/main" id="{B31A9F0F-D339-2CF1-AE14-AAA60BFD4372}"/>
                </a:ext>
              </a:extLst>
            </p:cNvPr>
            <p:cNvSpPr/>
            <p:nvPr/>
          </p:nvSpPr>
          <p:spPr>
            <a:xfrm>
              <a:off x="5607459" y="5376024"/>
              <a:ext cx="5795892" cy="844463"/>
            </a:xfrm>
            <a:prstGeom prst="roundRect">
              <a:avLst>
                <a:gd name="adj" fmla="val 50000"/>
              </a:avLst>
            </a:prstGeom>
            <a:gradFill>
              <a:gsLst>
                <a:gs pos="27000">
                  <a:schemeClr val="bg1">
                    <a:alpha val="80000"/>
                  </a:schemeClr>
                </a:gs>
                <a:gs pos="100000">
                  <a:schemeClr val="bg1">
                    <a:alpha val="50000"/>
                  </a:schemeClr>
                </a:gs>
              </a:gsLst>
              <a:lin ang="2400000" scaled="0"/>
            </a:gradFill>
            <a:ln>
              <a:gradFill>
                <a:gsLst>
                  <a:gs pos="0">
                    <a:schemeClr val="accent1">
                      <a:lumMod val="5000"/>
                      <a:lumOff val="95000"/>
                      <a:alpha val="80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11">
              <a:extLst>
                <a:ext uri="{FF2B5EF4-FFF2-40B4-BE49-F238E27FC236}">
                  <a16:creationId xmlns:a16="http://schemas.microsoft.com/office/drawing/2014/main" id="{C2895031-2100-907D-B0E1-B5CD30A4FB47}"/>
                </a:ext>
              </a:extLst>
            </p:cNvPr>
            <p:cNvSpPr/>
            <p:nvPr/>
          </p:nvSpPr>
          <p:spPr>
            <a:xfrm>
              <a:off x="5683476" y="5460239"/>
              <a:ext cx="5643859" cy="676033"/>
            </a:xfrm>
            <a:prstGeom prst="roundRect">
              <a:avLst>
                <a:gd name="adj" fmla="val 50000"/>
              </a:avLst>
            </a:prstGeom>
            <a:gradFill>
              <a:gsLst>
                <a:gs pos="27000">
                  <a:schemeClr val="bg1">
                    <a:alpha val="90000"/>
                  </a:schemeClr>
                </a:gs>
                <a:gs pos="100000">
                  <a:schemeClr val="bg1">
                    <a:alpha val="90000"/>
                  </a:schemeClr>
                </a:gs>
              </a:gsLst>
              <a:lin ang="2400000" scaled="0"/>
            </a:gradFill>
            <a:ln>
              <a:solidFill>
                <a:schemeClr val="bg1"/>
              </a:soli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extBox 7">
            <a:extLst>
              <a:ext uri="{FF2B5EF4-FFF2-40B4-BE49-F238E27FC236}">
                <a16:creationId xmlns:a16="http://schemas.microsoft.com/office/drawing/2014/main" id="{D97A4B4F-8A86-8C8C-C020-6F19A5DEFEAC}"/>
              </a:ext>
            </a:extLst>
          </p:cNvPr>
          <p:cNvSpPr txBox="1"/>
          <p:nvPr/>
        </p:nvSpPr>
        <p:spPr>
          <a:xfrm>
            <a:off x="5614517" y="4267895"/>
            <a:ext cx="2101537" cy="553998"/>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noProof="0" dirty="0">
                <a:ln>
                  <a:noFill/>
                </a:ln>
                <a:solidFill>
                  <a:schemeClr val="tx2"/>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t>Encuesta de Centro </a:t>
            </a:r>
            <a:br>
              <a:rPr kumimoji="0" lang="es-es" sz="1800" b="0" i="0" u="none" strike="noStrike" kern="1200" cap="none" spc="0" normalizeH="0" noProof="0" dirty="0">
                <a:ln>
                  <a:noFill/>
                </a:ln>
                <a:solidFill>
                  <a:schemeClr val="tx2"/>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br>
            <a:r>
              <a:rPr kumimoji="0" lang="es-es" sz="1800" b="0" i="0" u="none" strike="noStrike" kern="1200" cap="none" spc="0" normalizeH="0" noProof="0" dirty="0">
                <a:ln>
                  <a:noFill/>
                </a:ln>
                <a:solidFill>
                  <a:schemeClr val="tx2"/>
                </a:solidFill>
                <a:effectLst/>
                <a:uLnTx/>
                <a:uFillTx/>
                <a:latin typeface="Segoe Sans Display Semibold"/>
                <a:ea typeface="+mn-ea"/>
                <a:cs typeface="+mn-cs"/>
                <a:hlinkClick r:id="rId4">
                  <a:extLst>
                    <a:ext uri="{A12FA001-AC4F-418D-AE19-62706E023703}">
                      <ahyp:hlinkClr xmlns:ahyp="http://schemas.microsoft.com/office/drawing/2018/hyperlinkcolor" val="tx"/>
                    </a:ext>
                  </a:extLst>
                </a:hlinkClick>
              </a:rPr>
              <a:t>de clientes</a:t>
            </a:r>
            <a:endParaRPr kumimoji="0" lang="en-US" sz="1800" b="0" i="0" u="none" strike="noStrike" kern="1200" cap="none" spc="0" normalizeH="0" noProof="0" dirty="0">
              <a:ln>
                <a:noFill/>
              </a:ln>
              <a:solidFill>
                <a:schemeClr val="tx2"/>
              </a:solidFill>
              <a:effectLst/>
              <a:uLnTx/>
              <a:uFillTx/>
              <a:latin typeface="Segoe Sans Display Semibold"/>
              <a:ea typeface="+mn-ea"/>
              <a:cs typeface="+mn-cs"/>
            </a:endParaRPr>
          </a:p>
        </p:txBody>
      </p:sp>
      <p:sp>
        <p:nvSpPr>
          <p:cNvPr id="9" name="TextBox 8">
            <a:extLst>
              <a:ext uri="{FF2B5EF4-FFF2-40B4-BE49-F238E27FC236}">
                <a16:creationId xmlns:a16="http://schemas.microsoft.com/office/drawing/2014/main" id="{B423CCA0-76FD-A476-81B5-C277DC3A8A6B}"/>
              </a:ext>
            </a:extLst>
          </p:cNvPr>
          <p:cNvSpPr txBox="1"/>
          <p:nvPr/>
        </p:nvSpPr>
        <p:spPr>
          <a:xfrm>
            <a:off x="8688756" y="4455434"/>
            <a:ext cx="2290692" cy="215444"/>
          </a:xfrm>
          <a:prstGeom prst="rect">
            <a:avLst/>
          </a:prstGeom>
          <a:noFill/>
        </p:spPr>
        <p:txBody>
          <a:bodyPr wrap="none" lIns="0" tIns="0" rIns="0" bIns="0">
            <a:spAutoFit/>
          </a:bodyPr>
          <a:lstStyle>
            <a:defPPr>
              <a:defRPr lang="en-US"/>
            </a:defPPr>
            <a:lvl1pPr marR="0" lvl="0" algn="r" fontAlgn="auto">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noProof="0" dirty="0">
                <a:ln>
                  <a:noFill/>
                </a:ln>
                <a:solidFill>
                  <a:schemeClr val="tx2"/>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ka.ms/CustomerHubSurvey </a:t>
            </a:r>
            <a:endParaRPr kumimoji="0" lang="en-US" sz="1400" b="0" i="0" u="none" strike="noStrike" kern="1200" cap="none" spc="0" normalizeH="0" noProof="0" dirty="0">
              <a:ln>
                <a:noFill/>
              </a:ln>
              <a:solidFill>
                <a:schemeClr val="tx2"/>
              </a:solidFill>
              <a:effectLst/>
              <a:uLnTx/>
              <a:uFillTx/>
              <a:latin typeface="Segoe Sans Text"/>
              <a:ea typeface="+mn-ea"/>
              <a:cs typeface="+mn-cs"/>
            </a:endParaRPr>
          </a:p>
        </p:txBody>
      </p:sp>
      <p:cxnSp>
        <p:nvCxnSpPr>
          <p:cNvPr id="10" name="Straight Connector 9">
            <a:extLst>
              <a:ext uri="{FF2B5EF4-FFF2-40B4-BE49-F238E27FC236}">
                <a16:creationId xmlns:a16="http://schemas.microsoft.com/office/drawing/2014/main" id="{75AE50B5-E83E-D89F-14B2-82C4F27EC20A}"/>
              </a:ext>
              <a:ext uri="{C183D7F6-B498-43B3-948B-1728B52AA6E4}">
                <adec:decorative xmlns:adec="http://schemas.microsoft.com/office/drawing/2017/decorative" val="1"/>
              </a:ext>
            </a:extLst>
          </p:cNvPr>
          <p:cNvCxnSpPr>
            <a:cxnSpLocks/>
          </p:cNvCxnSpPr>
          <p:nvPr/>
        </p:nvCxnSpPr>
        <p:spPr>
          <a:xfrm>
            <a:off x="8297721" y="4393752"/>
            <a:ext cx="0" cy="338809"/>
          </a:xfrm>
          <a:prstGeom prst="line">
            <a:avLst/>
          </a:prstGeom>
          <a:ln w="12700">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2A3C751-AA86-5CCC-1606-E07694130D4A}"/>
              </a:ext>
              <a:ext uri="{C183D7F6-B498-43B3-948B-1728B52AA6E4}">
                <adec:decorative xmlns:adec="http://schemas.microsoft.com/office/drawing/2017/decorative" val="1"/>
              </a:ext>
            </a:extLst>
          </p:cNvPr>
          <p:cNvSpPr txBox="1"/>
          <p:nvPr/>
        </p:nvSpPr>
        <p:spPr>
          <a:xfrm>
            <a:off x="6170438" y="1838848"/>
            <a:ext cx="1764009" cy="430887"/>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noProof="0">
                <a:ln>
                  <a:noFill/>
                </a:ln>
                <a:solidFill>
                  <a:schemeClr val="bg1"/>
                </a:solidFill>
                <a:effectLst/>
                <a:uLnTx/>
                <a:uFillTx/>
                <a:latin typeface="+mj-lt"/>
                <a:ea typeface="+mn-ea"/>
                <a:cs typeface="+mn-cs"/>
              </a:rPr>
              <a:t>Escanea con la cámara de tu dispositivo móvil</a:t>
            </a:r>
          </a:p>
        </p:txBody>
      </p:sp>
      <p:sp>
        <p:nvSpPr>
          <p:cNvPr id="13" name="TextBox 12">
            <a:extLst>
              <a:ext uri="{FF2B5EF4-FFF2-40B4-BE49-F238E27FC236}">
                <a16:creationId xmlns:a16="http://schemas.microsoft.com/office/drawing/2014/main" id="{B9DB2F65-825D-538A-E6EA-44804CBDBD3D}"/>
              </a:ext>
            </a:extLst>
          </p:cNvPr>
          <p:cNvSpPr txBox="1"/>
          <p:nvPr/>
        </p:nvSpPr>
        <p:spPr>
          <a:xfrm>
            <a:off x="7160196" y="2610326"/>
            <a:ext cx="774251" cy="430887"/>
          </a:xfrm>
          <a:prstGeom prst="rect">
            <a:avLst/>
          </a:prstGeom>
          <a:noFill/>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2800" b="0" i="0" u="none" strike="noStrike" kern="1200" cap="none" spc="0" normalizeH="0" noProof="0">
                <a:ln>
                  <a:noFill/>
                </a:ln>
                <a:solidFill>
                  <a:schemeClr val="bg1"/>
                </a:solidFill>
                <a:effectLst/>
                <a:uLnTx/>
                <a:uFillTx/>
                <a:latin typeface="+mj-lt"/>
                <a:ea typeface="+mn-ea"/>
                <a:cs typeface="+mn-cs"/>
              </a:rPr>
              <a:t>O BIEN</a:t>
            </a:r>
          </a:p>
        </p:txBody>
      </p:sp>
      <p:sp>
        <p:nvSpPr>
          <p:cNvPr id="14" name="TextBox 13">
            <a:extLst>
              <a:ext uri="{FF2B5EF4-FFF2-40B4-BE49-F238E27FC236}">
                <a16:creationId xmlns:a16="http://schemas.microsoft.com/office/drawing/2014/main" id="{6C92478C-9060-36A9-FFAF-A9F33635E5BF}"/>
              </a:ext>
            </a:extLst>
          </p:cNvPr>
          <p:cNvSpPr txBox="1"/>
          <p:nvPr/>
        </p:nvSpPr>
        <p:spPr>
          <a:xfrm>
            <a:off x="7387022" y="3381803"/>
            <a:ext cx="338233" cy="215444"/>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noProof="0">
                <a:ln>
                  <a:noFill/>
                </a:ln>
                <a:solidFill>
                  <a:schemeClr val="bg1"/>
                </a:solidFill>
                <a:effectLst/>
                <a:uLnTx/>
                <a:uFillTx/>
                <a:latin typeface="+mj-lt"/>
                <a:ea typeface="+mn-ea"/>
                <a:cs typeface="+mn-cs"/>
              </a:rPr>
              <a:t>Visita</a:t>
            </a:r>
          </a:p>
        </p:txBody>
      </p:sp>
      <p:pic>
        <p:nvPicPr>
          <p:cNvPr id="15" name="Picture 14" descr="Una imagen borrosa de un cielo naranja y rosa  El contenido generado por IA puede ser incorrecto.">
            <a:extLst>
              <a:ext uri="{FF2B5EF4-FFF2-40B4-BE49-F238E27FC236}">
                <a16:creationId xmlns:a16="http://schemas.microsoft.com/office/drawing/2014/main" id="{0063B506-7055-28E0-DEF9-F8AAC471EEF3}"/>
              </a:ext>
            </a:extLst>
          </p:cNvPr>
          <p:cNvPicPr>
            <a:picLocks noChangeAspect="1"/>
          </p:cNvPicPr>
          <p:nvPr/>
        </p:nvPicPr>
        <p:blipFill>
          <a:blip r:embed="rId5">
            <a:alphaModFix/>
            <a:extLst>
              <a:ext uri="{BEBA8EAE-BF5A-486C-A8C5-ECC9F3942E4B}">
                <a14:imgProps xmlns:a14="http://schemas.microsoft.com/office/drawing/2010/main">
                  <a14:imgLayer r:embed="rId6">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a:xfrm rot="10800000" flipV="1">
            <a:off x="0" y="0"/>
            <a:ext cx="5143502" cy="6675118"/>
          </a:xfrm>
          <a:prstGeom prst="rect">
            <a:avLst/>
          </a:prstGeom>
          <a:effectLst/>
        </p:spPr>
      </p:pic>
      <p:sp>
        <p:nvSpPr>
          <p:cNvPr id="18" name="Title 19">
            <a:extLst>
              <a:ext uri="{FF2B5EF4-FFF2-40B4-BE49-F238E27FC236}">
                <a16:creationId xmlns:a16="http://schemas.microsoft.com/office/drawing/2014/main" id="{23B379DE-A416-BAF3-D079-7F2CA492E061}"/>
              </a:ext>
            </a:extLst>
          </p:cNvPr>
          <p:cNvSpPr txBox="1">
            <a:spLocks/>
          </p:cNvSpPr>
          <p:nvPr/>
        </p:nvSpPr>
        <p:spPr>
          <a:xfrm>
            <a:off x="588263" y="457200"/>
            <a:ext cx="4393312" cy="1588127"/>
          </a:xfrm>
          <a:prstGeom prst="rect">
            <a:avLst/>
          </a:prstGeom>
        </p:spPr>
        <p:txBody>
          <a:bodyPr vert="horz" wrap="square" lIns="0" tIns="45720" rIns="0" bIns="45720" rtlCol="0" anchor="t">
            <a:spAutoFit/>
          </a:bodyPr>
          <a:lst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pPr defTabSz="914400">
              <a:lnSpc>
                <a:spcPct val="90000"/>
              </a:lnSpc>
            </a:pPr>
            <a:r>
              <a:rPr lang="es-es" spc="0" dirty="0"/>
              <a:t>GRACIAS. </a:t>
            </a:r>
            <a:br>
              <a:rPr lang="es-es" spc="0" dirty="0"/>
            </a:br>
            <a:r>
              <a:rPr lang="es-es" spc="0" dirty="0"/>
              <a:t>Tus comentarios </a:t>
            </a:r>
            <a:br>
              <a:rPr lang="es-es" spc="0" dirty="0"/>
            </a:br>
            <a:r>
              <a:rPr lang="es-es" spc="0" dirty="0"/>
              <a:t>son esenciales</a:t>
            </a:r>
          </a:p>
        </p:txBody>
      </p:sp>
      <p:sp>
        <p:nvSpPr>
          <p:cNvPr id="19" name="TextBox 18">
            <a:extLst>
              <a:ext uri="{FF2B5EF4-FFF2-40B4-BE49-F238E27FC236}">
                <a16:creationId xmlns:a16="http://schemas.microsoft.com/office/drawing/2014/main" id="{5B58808B-612F-B5E0-ED1C-2E295298D00F}"/>
              </a:ext>
            </a:extLst>
          </p:cNvPr>
          <p:cNvSpPr txBox="1"/>
          <p:nvPr/>
        </p:nvSpPr>
        <p:spPr>
          <a:xfrm>
            <a:off x="588263" y="3183661"/>
            <a:ext cx="4123074" cy="195489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lang="es-es" sz="1800" dirty="0">
                <a:solidFill>
                  <a:schemeClr val="bg1"/>
                </a:solidFill>
                <a:cs typeface="Segoe UI Light"/>
              </a:rPr>
              <a:t>Estamos comprometidos a que tu </a:t>
            </a:r>
            <a:r>
              <a:rPr lang="es-es" sz="1800" b="1" dirty="0">
                <a:solidFill>
                  <a:schemeClr val="bg1"/>
                </a:solidFill>
                <a:cs typeface="Segoe UI Light"/>
              </a:rPr>
              <a:t>Centro de clientes</a:t>
            </a:r>
            <a:r>
              <a:rPr lang="es-es" sz="1800" dirty="0">
                <a:solidFill>
                  <a:schemeClr val="bg1"/>
                </a:solidFill>
                <a:cs typeface="Segoe UI Light"/>
              </a:rPr>
              <a:t> sea la mejor experiencia posible. Tus comentarios son un componente fundamental para esto.</a:t>
            </a:r>
          </a:p>
          <a:p>
            <a:pPr marL="0" marR="0" lvl="0" indent="0" algn="l" defTabSz="914400" rtl="0" eaLnBrk="1" fontAlgn="auto" latinLnBrk="0" hangingPunct="1">
              <a:lnSpc>
                <a:spcPct val="110000"/>
              </a:lnSpc>
              <a:spcBef>
                <a:spcPts val="0"/>
              </a:spcBef>
              <a:spcAft>
                <a:spcPts val="1200"/>
              </a:spcAft>
              <a:buClrTx/>
              <a:buSzTx/>
              <a:buFontTx/>
              <a:buNone/>
              <a:tabLst/>
              <a:defRPr/>
            </a:pPr>
            <a:r>
              <a:rPr lang="es-es" sz="1800" dirty="0">
                <a:solidFill>
                  <a:schemeClr val="bg1"/>
                </a:solidFill>
                <a:cs typeface="Segoe UI Light" panose="020B0502040204020203" pitchFamily="34" charset="0"/>
              </a:rPr>
              <a:t>Antes de que te vayas, dedica un momento para enviar tus comentarios.</a:t>
            </a:r>
          </a:p>
        </p:txBody>
      </p:sp>
      <p:sp>
        <p:nvSpPr>
          <p:cNvPr id="20" name="Graphic 3">
            <a:extLst>
              <a:ext uri="{FF2B5EF4-FFF2-40B4-BE49-F238E27FC236}">
                <a16:creationId xmlns:a16="http://schemas.microsoft.com/office/drawing/2014/main" id="{A64DB5FA-1813-0E1E-B6B4-7AD949EB203C}"/>
              </a:ext>
              <a:ext uri="{C183D7F6-B498-43B3-948B-1728B52AA6E4}">
                <adec:decorative xmlns:adec="http://schemas.microsoft.com/office/drawing/2017/decorative" val="1"/>
              </a:ext>
            </a:extLst>
          </p:cNvPr>
          <p:cNvSpPr/>
          <p:nvPr/>
        </p:nvSpPr>
        <p:spPr>
          <a:xfrm>
            <a:off x="588262" y="2556747"/>
            <a:ext cx="447435" cy="404469"/>
          </a:xfrm>
          <a:custGeom>
            <a:avLst/>
            <a:gdLst>
              <a:gd name="connsiteX0" fmla="*/ 97511 w 190073"/>
              <a:gd name="connsiteY0" fmla="*/ 0 h 171822"/>
              <a:gd name="connsiteX1" fmla="*/ 91986 w 190073"/>
              <a:gd name="connsiteY1" fmla="*/ 2629 h 171822"/>
              <a:gd name="connsiteX2" fmla="*/ 91434 w 190073"/>
              <a:gd name="connsiteY2" fmla="*/ 3039 h 171822"/>
              <a:gd name="connsiteX3" fmla="*/ 31750 w 190073"/>
              <a:gd name="connsiteY3" fmla="*/ 17831 h 171822"/>
              <a:gd name="connsiteX4" fmla="*/ 15215 w 190073"/>
              <a:gd name="connsiteY4" fmla="*/ 70314 h 171822"/>
              <a:gd name="connsiteX5" fmla="*/ 15072 w 190073"/>
              <a:gd name="connsiteY5" fmla="*/ 70457 h 171822"/>
              <a:gd name="connsiteX6" fmla="*/ 5947 w 190073"/>
              <a:gd name="connsiteY6" fmla="*/ 79515 h 171822"/>
              <a:gd name="connsiteX7" fmla="*/ 5815 w 190073"/>
              <a:gd name="connsiteY7" fmla="*/ 107910 h 171822"/>
              <a:gd name="connsiteX8" fmla="*/ 5947 w 190073"/>
              <a:gd name="connsiteY8" fmla="*/ 108043 h 171822"/>
              <a:gd name="connsiteX9" fmla="*/ 23025 w 190073"/>
              <a:gd name="connsiteY9" fmla="*/ 113767 h 171822"/>
              <a:gd name="connsiteX10" fmla="*/ 40961 w 190073"/>
              <a:gd name="connsiteY10" fmla="*/ 128607 h 171822"/>
              <a:gd name="connsiteX11" fmla="*/ 60173 w 190073"/>
              <a:gd name="connsiteY11" fmla="*/ 147105 h 171822"/>
              <a:gd name="connsiteX12" fmla="*/ 66098 w 190073"/>
              <a:gd name="connsiteY12" fmla="*/ 160354 h 171822"/>
              <a:gd name="connsiteX13" fmla="*/ 92644 w 190073"/>
              <a:gd name="connsiteY13" fmla="*/ 162230 h 171822"/>
              <a:gd name="connsiteX14" fmla="*/ 96330 w 190073"/>
              <a:gd name="connsiteY14" fmla="*/ 165888 h 171822"/>
              <a:gd name="connsiteX15" fmla="*/ 125172 w 190073"/>
              <a:gd name="connsiteY15" fmla="*/ 165888 h 171822"/>
              <a:gd name="connsiteX16" fmla="*/ 131077 w 190073"/>
              <a:gd name="connsiteY16" fmla="*/ 153334 h 171822"/>
              <a:gd name="connsiteX17" fmla="*/ 149556 w 190073"/>
              <a:gd name="connsiteY17" fmla="*/ 134932 h 171822"/>
              <a:gd name="connsiteX18" fmla="*/ 167367 w 190073"/>
              <a:gd name="connsiteY18" fmla="*/ 119654 h 171822"/>
              <a:gd name="connsiteX19" fmla="*/ 184131 w 190073"/>
              <a:gd name="connsiteY19" fmla="*/ 113881 h 171822"/>
              <a:gd name="connsiteX20" fmla="*/ 184254 w 190073"/>
              <a:gd name="connsiteY20" fmla="*/ 85486 h 171822"/>
              <a:gd name="connsiteX21" fmla="*/ 184131 w 190073"/>
              <a:gd name="connsiteY21" fmla="*/ 85364 h 171822"/>
              <a:gd name="connsiteX22" fmla="*/ 176197 w 190073"/>
              <a:gd name="connsiteY22" fmla="*/ 77467 h 171822"/>
              <a:gd name="connsiteX23" fmla="*/ 177835 w 190073"/>
              <a:gd name="connsiteY23" fmla="*/ 71124 h 171822"/>
              <a:gd name="connsiteX24" fmla="*/ 172835 w 190073"/>
              <a:gd name="connsiteY24" fmla="*/ 30138 h 171822"/>
              <a:gd name="connsiteX25" fmla="*/ 122324 w 190073"/>
              <a:gd name="connsiteY25" fmla="*/ 39 h 171822"/>
              <a:gd name="connsiteX26" fmla="*/ 107017 w 190073"/>
              <a:gd name="connsiteY26" fmla="*/ 39 h 171822"/>
              <a:gd name="connsiteX27" fmla="*/ 105055 w 190073"/>
              <a:gd name="connsiteY27" fmla="*/ 0 h 171822"/>
              <a:gd name="connsiteX28" fmla="*/ 97521 w 190073"/>
              <a:gd name="connsiteY28" fmla="*/ 0 h 171822"/>
              <a:gd name="connsiteX29" fmla="*/ 125372 w 190073"/>
              <a:gd name="connsiteY29" fmla="*/ 47102 h 171822"/>
              <a:gd name="connsiteX30" fmla="*/ 158366 w 190073"/>
              <a:gd name="connsiteY30" fmla="*/ 79887 h 171822"/>
              <a:gd name="connsiteX31" fmla="*/ 158395 w 190073"/>
              <a:gd name="connsiteY31" fmla="*/ 79925 h 171822"/>
              <a:gd name="connsiteX32" fmla="*/ 158528 w 190073"/>
              <a:gd name="connsiteY32" fmla="*/ 80049 h 171822"/>
              <a:gd name="connsiteX33" fmla="*/ 174006 w 190073"/>
              <a:gd name="connsiteY33" fmla="*/ 95431 h 171822"/>
              <a:gd name="connsiteX34" fmla="*/ 174037 w 190073"/>
              <a:gd name="connsiteY34" fmla="*/ 103783 h 171822"/>
              <a:gd name="connsiteX35" fmla="*/ 174006 w 190073"/>
              <a:gd name="connsiteY35" fmla="*/ 103813 h 171822"/>
              <a:gd name="connsiteX36" fmla="*/ 165567 w 190073"/>
              <a:gd name="connsiteY36" fmla="*/ 103813 h 171822"/>
              <a:gd name="connsiteX37" fmla="*/ 150089 w 190073"/>
              <a:gd name="connsiteY37" fmla="*/ 88431 h 171822"/>
              <a:gd name="connsiteX38" fmla="*/ 139954 w 190073"/>
              <a:gd name="connsiteY38" fmla="*/ 88431 h 171822"/>
              <a:gd name="connsiteX39" fmla="*/ 139802 w 190073"/>
              <a:gd name="connsiteY39" fmla="*/ 88593 h 171822"/>
              <a:gd name="connsiteX40" fmla="*/ 139756 w 190073"/>
              <a:gd name="connsiteY40" fmla="*/ 98615 h 171822"/>
              <a:gd name="connsiteX41" fmla="*/ 139802 w 190073"/>
              <a:gd name="connsiteY41" fmla="*/ 98660 h 171822"/>
              <a:gd name="connsiteX42" fmla="*/ 151861 w 190073"/>
              <a:gd name="connsiteY42" fmla="*/ 110652 h 171822"/>
              <a:gd name="connsiteX43" fmla="*/ 151891 w 190073"/>
              <a:gd name="connsiteY43" fmla="*/ 119004 h 171822"/>
              <a:gd name="connsiteX44" fmla="*/ 151861 w 190073"/>
              <a:gd name="connsiteY44" fmla="*/ 119034 h 171822"/>
              <a:gd name="connsiteX45" fmla="*/ 144060 w 190073"/>
              <a:gd name="connsiteY45" fmla="*/ 119606 h 171822"/>
              <a:gd name="connsiteX46" fmla="*/ 134658 w 190073"/>
              <a:gd name="connsiteY46" fmla="*/ 120273 h 171822"/>
              <a:gd name="connsiteX47" fmla="*/ 134068 w 190073"/>
              <a:gd name="connsiteY47" fmla="*/ 129626 h 171822"/>
              <a:gd name="connsiteX48" fmla="*/ 133544 w 190073"/>
              <a:gd name="connsiteY48" fmla="*/ 137427 h 171822"/>
              <a:gd name="connsiteX49" fmla="*/ 125638 w 190073"/>
              <a:gd name="connsiteY49" fmla="*/ 137903 h 171822"/>
              <a:gd name="connsiteX50" fmla="*/ 116161 w 190073"/>
              <a:gd name="connsiteY50" fmla="*/ 138446 h 171822"/>
              <a:gd name="connsiteX51" fmla="*/ 115551 w 190073"/>
              <a:gd name="connsiteY51" fmla="*/ 147867 h 171822"/>
              <a:gd name="connsiteX52" fmla="*/ 115037 w 190073"/>
              <a:gd name="connsiteY52" fmla="*/ 155810 h 171822"/>
              <a:gd name="connsiteX53" fmla="*/ 106464 w 190073"/>
              <a:gd name="connsiteY53" fmla="*/ 155810 h 171822"/>
              <a:gd name="connsiteX54" fmla="*/ 102921 w 190073"/>
              <a:gd name="connsiteY54" fmla="*/ 152296 h 171822"/>
              <a:gd name="connsiteX55" fmla="*/ 103921 w 190073"/>
              <a:gd name="connsiteY55" fmla="*/ 151296 h 171822"/>
              <a:gd name="connsiteX56" fmla="*/ 104044 w 190073"/>
              <a:gd name="connsiteY56" fmla="*/ 122901 h 171822"/>
              <a:gd name="connsiteX57" fmla="*/ 103921 w 190073"/>
              <a:gd name="connsiteY57" fmla="*/ 122778 h 171822"/>
              <a:gd name="connsiteX58" fmla="*/ 90586 w 190073"/>
              <a:gd name="connsiteY58" fmla="*/ 116891 h 171822"/>
              <a:gd name="connsiteX59" fmla="*/ 71974 w 190073"/>
              <a:gd name="connsiteY59" fmla="*/ 97803 h 171822"/>
              <a:gd name="connsiteX60" fmla="*/ 66098 w 190073"/>
              <a:gd name="connsiteY60" fmla="*/ 85192 h 171822"/>
              <a:gd name="connsiteX61" fmla="*/ 49019 w 190073"/>
              <a:gd name="connsiteY61" fmla="*/ 79468 h 171822"/>
              <a:gd name="connsiteX62" fmla="*/ 28845 w 190073"/>
              <a:gd name="connsiteY62" fmla="*/ 64561 h 171822"/>
              <a:gd name="connsiteX63" fmla="*/ 41885 w 190073"/>
              <a:gd name="connsiteY63" fmla="*/ 27890 h 171822"/>
              <a:gd name="connsiteX64" fmla="*/ 75994 w 190073"/>
              <a:gd name="connsiteY64" fmla="*/ 14745 h 171822"/>
              <a:gd name="connsiteX65" fmla="*/ 61735 w 190073"/>
              <a:gd name="connsiteY65" fmla="*/ 25537 h 171822"/>
              <a:gd name="connsiteX66" fmla="*/ 57461 w 190073"/>
              <a:gd name="connsiteY66" fmla="*/ 56413 h 171822"/>
              <a:gd name="connsiteX67" fmla="*/ 57544 w 190073"/>
              <a:gd name="connsiteY67" fmla="*/ 56522 h 171822"/>
              <a:gd name="connsiteX68" fmla="*/ 88577 w 190073"/>
              <a:gd name="connsiteY68" fmla="*/ 60722 h 171822"/>
              <a:gd name="connsiteX69" fmla="*/ 106569 w 190073"/>
              <a:gd name="connsiteY69" fmla="*/ 47092 h 171822"/>
              <a:gd name="connsiteX70" fmla="*/ 125372 w 190073"/>
              <a:gd name="connsiteY70" fmla="*/ 47092 h 171822"/>
              <a:gd name="connsiteX71" fmla="*/ 70355 w 190073"/>
              <a:gd name="connsiteY71" fmla="*/ 36938 h 171822"/>
              <a:gd name="connsiteX72" fmla="*/ 100254 w 190073"/>
              <a:gd name="connsiteY72" fmla="*/ 14288 h 171822"/>
              <a:gd name="connsiteX73" fmla="*/ 105055 w 190073"/>
              <a:gd name="connsiteY73" fmla="*/ 14288 h 171822"/>
              <a:gd name="connsiteX74" fmla="*/ 106836 w 190073"/>
              <a:gd name="connsiteY74" fmla="*/ 14336 h 171822"/>
              <a:gd name="connsiteX75" fmla="*/ 122324 w 190073"/>
              <a:gd name="connsiteY75" fmla="*/ 14336 h 171822"/>
              <a:gd name="connsiteX76" fmla="*/ 160252 w 190073"/>
              <a:gd name="connsiteY76" fmla="*/ 36910 h 171822"/>
              <a:gd name="connsiteX77" fmla="*/ 164481 w 190073"/>
              <a:gd name="connsiteY77" fmla="*/ 65437 h 171822"/>
              <a:gd name="connsiteX78" fmla="*/ 133896 w 190073"/>
              <a:gd name="connsiteY78" fmla="*/ 34995 h 171822"/>
              <a:gd name="connsiteX79" fmla="*/ 128763 w 190073"/>
              <a:gd name="connsiteY79" fmla="*/ 32814 h 171822"/>
              <a:gd name="connsiteX80" fmla="*/ 104178 w 190073"/>
              <a:gd name="connsiteY80" fmla="*/ 32814 h 171822"/>
              <a:gd name="connsiteX81" fmla="*/ 99864 w 190073"/>
              <a:gd name="connsiteY81" fmla="*/ 34262 h 171822"/>
              <a:gd name="connsiteX82" fmla="*/ 79956 w 190073"/>
              <a:gd name="connsiteY82" fmla="*/ 49340 h 171822"/>
              <a:gd name="connsiteX83" fmla="*/ 68888 w 190073"/>
              <a:gd name="connsiteY83" fmla="*/ 47845 h 171822"/>
              <a:gd name="connsiteX84" fmla="*/ 70319 w 190073"/>
              <a:gd name="connsiteY84" fmla="*/ 36973 h 171822"/>
              <a:gd name="connsiteX85" fmla="*/ 70365 w 190073"/>
              <a:gd name="connsiteY85" fmla="*/ 36938 h 171822"/>
              <a:gd name="connsiteX86" fmla="*/ 38408 w 190073"/>
              <a:gd name="connsiteY86" fmla="*/ 112710 h 171822"/>
              <a:gd name="connsiteX87" fmla="*/ 38378 w 190073"/>
              <a:gd name="connsiteY87" fmla="*/ 104358 h 171822"/>
              <a:gd name="connsiteX88" fmla="*/ 38408 w 190073"/>
              <a:gd name="connsiteY88" fmla="*/ 104328 h 171822"/>
              <a:gd name="connsiteX89" fmla="*/ 47524 w 190073"/>
              <a:gd name="connsiteY89" fmla="*/ 95260 h 171822"/>
              <a:gd name="connsiteX90" fmla="*/ 55963 w 190073"/>
              <a:gd name="connsiteY90" fmla="*/ 95260 h 171822"/>
              <a:gd name="connsiteX91" fmla="*/ 56039 w 190073"/>
              <a:gd name="connsiteY91" fmla="*/ 103566 h 171822"/>
              <a:gd name="connsiteX92" fmla="*/ 55963 w 190073"/>
              <a:gd name="connsiteY92" fmla="*/ 103642 h 171822"/>
              <a:gd name="connsiteX93" fmla="*/ 46848 w 190073"/>
              <a:gd name="connsiteY93" fmla="*/ 112700 h 171822"/>
              <a:gd name="connsiteX94" fmla="*/ 46762 w 190073"/>
              <a:gd name="connsiteY94" fmla="*/ 112786 h 171822"/>
              <a:gd name="connsiteX95" fmla="*/ 38408 w 190073"/>
              <a:gd name="connsiteY95" fmla="*/ 112710 h 171822"/>
              <a:gd name="connsiteX96" fmla="*/ 33732 w 190073"/>
              <a:gd name="connsiteY96" fmla="*/ 80620 h 171822"/>
              <a:gd name="connsiteX97" fmla="*/ 33636 w 190073"/>
              <a:gd name="connsiteY97" fmla="*/ 88907 h 171822"/>
              <a:gd name="connsiteX98" fmla="*/ 24521 w 190073"/>
              <a:gd name="connsiteY98" fmla="*/ 97975 h 171822"/>
              <a:gd name="connsiteX99" fmla="*/ 16082 w 190073"/>
              <a:gd name="connsiteY99" fmla="*/ 97975 h 171822"/>
              <a:gd name="connsiteX100" fmla="*/ 16051 w 190073"/>
              <a:gd name="connsiteY100" fmla="*/ 89623 h 171822"/>
              <a:gd name="connsiteX101" fmla="*/ 16082 w 190073"/>
              <a:gd name="connsiteY101" fmla="*/ 89593 h 171822"/>
              <a:gd name="connsiteX102" fmla="*/ 25207 w 190073"/>
              <a:gd name="connsiteY102" fmla="*/ 80534 h 171822"/>
              <a:gd name="connsiteX103" fmla="*/ 33646 w 190073"/>
              <a:gd name="connsiteY103" fmla="*/ 80534 h 171822"/>
              <a:gd name="connsiteX104" fmla="*/ 33732 w 190073"/>
              <a:gd name="connsiteY104" fmla="*/ 80620 h 171822"/>
              <a:gd name="connsiteX105" fmla="*/ 84671 w 190073"/>
              <a:gd name="connsiteY105" fmla="*/ 150286 h 171822"/>
              <a:gd name="connsiteX106" fmla="*/ 76232 w 190073"/>
              <a:gd name="connsiteY106" fmla="*/ 150286 h 171822"/>
              <a:gd name="connsiteX107" fmla="*/ 76202 w 190073"/>
              <a:gd name="connsiteY107" fmla="*/ 141934 h 171822"/>
              <a:gd name="connsiteX108" fmla="*/ 76232 w 190073"/>
              <a:gd name="connsiteY108" fmla="*/ 141904 h 171822"/>
              <a:gd name="connsiteX109" fmla="*/ 85348 w 190073"/>
              <a:gd name="connsiteY109" fmla="*/ 132846 h 171822"/>
              <a:gd name="connsiteX110" fmla="*/ 93787 w 190073"/>
              <a:gd name="connsiteY110" fmla="*/ 132846 h 171822"/>
              <a:gd name="connsiteX111" fmla="*/ 93817 w 190073"/>
              <a:gd name="connsiteY111" fmla="*/ 141197 h 171822"/>
              <a:gd name="connsiteX112" fmla="*/ 93787 w 190073"/>
              <a:gd name="connsiteY112" fmla="*/ 141228 h 171822"/>
              <a:gd name="connsiteX113" fmla="*/ 84671 w 190073"/>
              <a:gd name="connsiteY113" fmla="*/ 150286 h 171822"/>
              <a:gd name="connsiteX114" fmla="*/ 65421 w 190073"/>
              <a:gd name="connsiteY114" fmla="*/ 131160 h 171822"/>
              <a:gd name="connsiteX115" fmla="*/ 56982 w 190073"/>
              <a:gd name="connsiteY115" fmla="*/ 131160 h 171822"/>
              <a:gd name="connsiteX116" fmla="*/ 56896 w 190073"/>
              <a:gd name="connsiteY116" fmla="*/ 122854 h 171822"/>
              <a:gd name="connsiteX117" fmla="*/ 56982 w 190073"/>
              <a:gd name="connsiteY117" fmla="*/ 122778 h 171822"/>
              <a:gd name="connsiteX118" fmla="*/ 66098 w 190073"/>
              <a:gd name="connsiteY118" fmla="*/ 113719 h 171822"/>
              <a:gd name="connsiteX119" fmla="*/ 66174 w 190073"/>
              <a:gd name="connsiteY119" fmla="*/ 113634 h 171822"/>
              <a:gd name="connsiteX120" fmla="*/ 74537 w 190073"/>
              <a:gd name="connsiteY120" fmla="*/ 113719 h 171822"/>
              <a:gd name="connsiteX121" fmla="*/ 74567 w 190073"/>
              <a:gd name="connsiteY121" fmla="*/ 122071 h 171822"/>
              <a:gd name="connsiteX122" fmla="*/ 74537 w 190073"/>
              <a:gd name="connsiteY122" fmla="*/ 122101 h 171822"/>
              <a:gd name="connsiteX123" fmla="*/ 65421 w 190073"/>
              <a:gd name="connsiteY123" fmla="*/ 131160 h 17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90073" h="171822">
                <a:moveTo>
                  <a:pt x="97511" y="0"/>
                </a:moveTo>
                <a:cubicBezTo>
                  <a:pt x="95368" y="1"/>
                  <a:pt x="93339" y="967"/>
                  <a:pt x="91986" y="2629"/>
                </a:cubicBezTo>
                <a:lnTo>
                  <a:pt x="91434" y="3039"/>
                </a:lnTo>
                <a:cubicBezTo>
                  <a:pt x="70333" y="-3383"/>
                  <a:pt x="47410" y="2298"/>
                  <a:pt x="31750" y="17831"/>
                </a:cubicBezTo>
                <a:cubicBezTo>
                  <a:pt x="17920" y="31527"/>
                  <a:pt x="11733" y="51163"/>
                  <a:pt x="15215" y="70314"/>
                </a:cubicBezTo>
                <a:lnTo>
                  <a:pt x="15072" y="70457"/>
                </a:lnTo>
                <a:lnTo>
                  <a:pt x="5947" y="79515"/>
                </a:lnTo>
                <a:cubicBezTo>
                  <a:pt x="-1930" y="87320"/>
                  <a:pt x="-1990" y="100033"/>
                  <a:pt x="5815" y="107910"/>
                </a:cubicBezTo>
                <a:cubicBezTo>
                  <a:pt x="5859" y="107955"/>
                  <a:pt x="5903" y="107999"/>
                  <a:pt x="5947" y="108043"/>
                </a:cubicBezTo>
                <a:cubicBezTo>
                  <a:pt x="10439" y="112504"/>
                  <a:pt x="16752" y="114621"/>
                  <a:pt x="23025" y="113767"/>
                </a:cubicBezTo>
                <a:cubicBezTo>
                  <a:pt x="25287" y="121995"/>
                  <a:pt x="32456" y="127926"/>
                  <a:pt x="40961" y="128607"/>
                </a:cubicBezTo>
                <a:cubicBezTo>
                  <a:pt x="41844" y="138707"/>
                  <a:pt x="50047" y="146605"/>
                  <a:pt x="60173" y="147105"/>
                </a:cubicBezTo>
                <a:cubicBezTo>
                  <a:pt x="60421" y="151934"/>
                  <a:pt x="62392" y="156677"/>
                  <a:pt x="66098" y="160354"/>
                </a:cubicBezTo>
                <a:cubicBezTo>
                  <a:pt x="73337" y="167555"/>
                  <a:pt x="84690" y="168174"/>
                  <a:pt x="92644" y="162230"/>
                </a:cubicBezTo>
                <a:lnTo>
                  <a:pt x="96330" y="165888"/>
                </a:lnTo>
                <a:cubicBezTo>
                  <a:pt x="104316" y="173800"/>
                  <a:pt x="117186" y="173800"/>
                  <a:pt x="125172" y="165888"/>
                </a:cubicBezTo>
                <a:cubicBezTo>
                  <a:pt x="128696" y="162383"/>
                  <a:pt x="130668" y="157906"/>
                  <a:pt x="131077" y="153334"/>
                </a:cubicBezTo>
                <a:cubicBezTo>
                  <a:pt x="140889" y="152502"/>
                  <a:pt x="148684" y="144740"/>
                  <a:pt x="149556" y="134932"/>
                </a:cubicBezTo>
                <a:cubicBezTo>
                  <a:pt x="158137" y="134143"/>
                  <a:pt x="165281" y="128015"/>
                  <a:pt x="167367" y="119654"/>
                </a:cubicBezTo>
                <a:cubicBezTo>
                  <a:pt x="173544" y="120394"/>
                  <a:pt x="179719" y="118267"/>
                  <a:pt x="184131" y="113881"/>
                </a:cubicBezTo>
                <a:cubicBezTo>
                  <a:pt x="192007" y="106074"/>
                  <a:pt x="192061" y="93361"/>
                  <a:pt x="184254" y="85486"/>
                </a:cubicBezTo>
                <a:cubicBezTo>
                  <a:pt x="184213" y="85445"/>
                  <a:pt x="184172" y="85404"/>
                  <a:pt x="184131" y="85364"/>
                </a:cubicBezTo>
                <a:lnTo>
                  <a:pt x="176197" y="77467"/>
                </a:lnTo>
                <a:lnTo>
                  <a:pt x="177835" y="71124"/>
                </a:lnTo>
                <a:cubicBezTo>
                  <a:pt x="181380" y="57319"/>
                  <a:pt x="179595" y="42685"/>
                  <a:pt x="172835" y="30138"/>
                </a:cubicBezTo>
                <a:cubicBezTo>
                  <a:pt x="162814" y="11578"/>
                  <a:pt x="143415" y="18"/>
                  <a:pt x="122324" y="39"/>
                </a:cubicBezTo>
                <a:lnTo>
                  <a:pt x="107017" y="39"/>
                </a:lnTo>
                <a:cubicBezTo>
                  <a:pt x="106364" y="10"/>
                  <a:pt x="105709" y="-3"/>
                  <a:pt x="105055" y="0"/>
                </a:cubicBezTo>
                <a:lnTo>
                  <a:pt x="97521" y="0"/>
                </a:lnTo>
                <a:close/>
                <a:moveTo>
                  <a:pt x="125372" y="47102"/>
                </a:moveTo>
                <a:lnTo>
                  <a:pt x="158366" y="79887"/>
                </a:lnTo>
                <a:lnTo>
                  <a:pt x="158395" y="79925"/>
                </a:lnTo>
                <a:lnTo>
                  <a:pt x="158528" y="80049"/>
                </a:lnTo>
                <a:lnTo>
                  <a:pt x="174006" y="95431"/>
                </a:lnTo>
                <a:cubicBezTo>
                  <a:pt x="176321" y="97729"/>
                  <a:pt x="176334" y="101468"/>
                  <a:pt x="174037" y="103783"/>
                </a:cubicBezTo>
                <a:cubicBezTo>
                  <a:pt x="174026" y="103793"/>
                  <a:pt x="174017" y="103803"/>
                  <a:pt x="174006" y="103813"/>
                </a:cubicBezTo>
                <a:cubicBezTo>
                  <a:pt x="171668" y="106125"/>
                  <a:pt x="167906" y="106125"/>
                  <a:pt x="165567" y="103813"/>
                </a:cubicBezTo>
                <a:lnTo>
                  <a:pt x="150089" y="88431"/>
                </a:lnTo>
                <a:cubicBezTo>
                  <a:pt x="147283" y="85651"/>
                  <a:pt x="142760" y="85651"/>
                  <a:pt x="139954" y="88431"/>
                </a:cubicBezTo>
                <a:lnTo>
                  <a:pt x="139802" y="88593"/>
                </a:lnTo>
                <a:cubicBezTo>
                  <a:pt x="137022" y="91347"/>
                  <a:pt x="137002" y="95834"/>
                  <a:pt x="139756" y="98615"/>
                </a:cubicBezTo>
                <a:cubicBezTo>
                  <a:pt x="139772" y="98630"/>
                  <a:pt x="139787" y="98645"/>
                  <a:pt x="139802" y="98660"/>
                </a:cubicBezTo>
                <a:lnTo>
                  <a:pt x="151861" y="110652"/>
                </a:lnTo>
                <a:cubicBezTo>
                  <a:pt x="154175" y="112950"/>
                  <a:pt x="154189" y="116689"/>
                  <a:pt x="151891" y="119004"/>
                </a:cubicBezTo>
                <a:cubicBezTo>
                  <a:pt x="151881" y="119014"/>
                  <a:pt x="151871" y="119024"/>
                  <a:pt x="151861" y="119034"/>
                </a:cubicBezTo>
                <a:cubicBezTo>
                  <a:pt x="149758" y="121126"/>
                  <a:pt x="146444" y="121369"/>
                  <a:pt x="144060" y="119606"/>
                </a:cubicBezTo>
                <a:cubicBezTo>
                  <a:pt x="141195" y="117462"/>
                  <a:pt x="137191" y="117746"/>
                  <a:pt x="134658" y="120273"/>
                </a:cubicBezTo>
                <a:cubicBezTo>
                  <a:pt x="132133" y="122797"/>
                  <a:pt x="131881" y="126805"/>
                  <a:pt x="134068" y="129626"/>
                </a:cubicBezTo>
                <a:cubicBezTo>
                  <a:pt x="135886" y="131987"/>
                  <a:pt x="135661" y="135332"/>
                  <a:pt x="133544" y="137427"/>
                </a:cubicBezTo>
                <a:cubicBezTo>
                  <a:pt x="131403" y="139549"/>
                  <a:pt x="128019" y="139753"/>
                  <a:pt x="125638" y="137903"/>
                </a:cubicBezTo>
                <a:cubicBezTo>
                  <a:pt x="122790" y="135681"/>
                  <a:pt x="118736" y="135914"/>
                  <a:pt x="116161" y="138446"/>
                </a:cubicBezTo>
                <a:cubicBezTo>
                  <a:pt x="113591" y="140974"/>
                  <a:pt x="113329" y="145028"/>
                  <a:pt x="115551" y="147867"/>
                </a:cubicBezTo>
                <a:cubicBezTo>
                  <a:pt x="117413" y="150263"/>
                  <a:pt x="117192" y="153674"/>
                  <a:pt x="115037" y="155810"/>
                </a:cubicBezTo>
                <a:cubicBezTo>
                  <a:pt x="112662" y="158159"/>
                  <a:pt x="108839" y="158159"/>
                  <a:pt x="106464" y="155810"/>
                </a:cubicBezTo>
                <a:lnTo>
                  <a:pt x="102921" y="152296"/>
                </a:lnTo>
                <a:lnTo>
                  <a:pt x="103921" y="151296"/>
                </a:lnTo>
                <a:cubicBezTo>
                  <a:pt x="111797" y="143488"/>
                  <a:pt x="111851" y="130775"/>
                  <a:pt x="104044" y="122901"/>
                </a:cubicBezTo>
                <a:cubicBezTo>
                  <a:pt x="104003" y="122860"/>
                  <a:pt x="103962" y="122819"/>
                  <a:pt x="103921" y="122778"/>
                </a:cubicBezTo>
                <a:cubicBezTo>
                  <a:pt x="100359" y="119232"/>
                  <a:pt x="95607" y="117134"/>
                  <a:pt x="90586" y="116891"/>
                </a:cubicBezTo>
                <a:cubicBezTo>
                  <a:pt x="90024" y="106772"/>
                  <a:pt x="82077" y="98620"/>
                  <a:pt x="71974" y="97803"/>
                </a:cubicBezTo>
                <a:cubicBezTo>
                  <a:pt x="71584" y="93032"/>
                  <a:pt x="69500" y="88559"/>
                  <a:pt x="66098" y="85192"/>
                </a:cubicBezTo>
                <a:cubicBezTo>
                  <a:pt x="61606" y="80731"/>
                  <a:pt x="55293" y="78614"/>
                  <a:pt x="49019" y="79468"/>
                </a:cubicBezTo>
                <a:cubicBezTo>
                  <a:pt x="46531" y="70445"/>
                  <a:pt x="38201" y="64290"/>
                  <a:pt x="28845" y="64561"/>
                </a:cubicBezTo>
                <a:cubicBezTo>
                  <a:pt x="27380" y="50989"/>
                  <a:pt x="32180" y="37490"/>
                  <a:pt x="41885" y="27890"/>
                </a:cubicBezTo>
                <a:cubicBezTo>
                  <a:pt x="50911" y="18923"/>
                  <a:pt x="63285" y="14154"/>
                  <a:pt x="75994" y="14745"/>
                </a:cubicBezTo>
                <a:lnTo>
                  <a:pt x="61735" y="25537"/>
                </a:lnTo>
                <a:cubicBezTo>
                  <a:pt x="52029" y="32883"/>
                  <a:pt x="50115" y="46707"/>
                  <a:pt x="57461" y="56413"/>
                </a:cubicBezTo>
                <a:cubicBezTo>
                  <a:pt x="57489" y="56449"/>
                  <a:pt x="57516" y="56486"/>
                  <a:pt x="57544" y="56522"/>
                </a:cubicBezTo>
                <a:cubicBezTo>
                  <a:pt x="64977" y="66211"/>
                  <a:pt x="78835" y="68087"/>
                  <a:pt x="88577" y="60722"/>
                </a:cubicBezTo>
                <a:lnTo>
                  <a:pt x="106569" y="47092"/>
                </a:lnTo>
                <a:lnTo>
                  <a:pt x="125372" y="47092"/>
                </a:lnTo>
                <a:close/>
                <a:moveTo>
                  <a:pt x="70355" y="36938"/>
                </a:moveTo>
                <a:lnTo>
                  <a:pt x="100254" y="14288"/>
                </a:lnTo>
                <a:lnTo>
                  <a:pt x="105055" y="14288"/>
                </a:lnTo>
                <a:cubicBezTo>
                  <a:pt x="105649" y="14284"/>
                  <a:pt x="106243" y="14299"/>
                  <a:pt x="106836" y="14336"/>
                </a:cubicBezTo>
                <a:lnTo>
                  <a:pt x="122324" y="14336"/>
                </a:lnTo>
                <a:cubicBezTo>
                  <a:pt x="138155" y="14314"/>
                  <a:pt x="152722" y="22984"/>
                  <a:pt x="160252" y="36910"/>
                </a:cubicBezTo>
                <a:cubicBezTo>
                  <a:pt x="164967" y="45673"/>
                  <a:pt x="166443" y="55750"/>
                  <a:pt x="164481" y="65437"/>
                </a:cubicBezTo>
                <a:lnTo>
                  <a:pt x="133896" y="34995"/>
                </a:lnTo>
                <a:cubicBezTo>
                  <a:pt x="132552" y="33603"/>
                  <a:pt x="130699" y="32815"/>
                  <a:pt x="128763" y="32814"/>
                </a:cubicBezTo>
                <a:lnTo>
                  <a:pt x="104178" y="32814"/>
                </a:lnTo>
                <a:cubicBezTo>
                  <a:pt x="102621" y="32813"/>
                  <a:pt x="101106" y="33322"/>
                  <a:pt x="99864" y="34262"/>
                </a:cubicBezTo>
                <a:lnTo>
                  <a:pt x="79956" y="49340"/>
                </a:lnTo>
                <a:cubicBezTo>
                  <a:pt x="76482" y="51962"/>
                  <a:pt x="71543" y="51295"/>
                  <a:pt x="68888" y="47845"/>
                </a:cubicBezTo>
                <a:cubicBezTo>
                  <a:pt x="66281" y="44448"/>
                  <a:pt x="66922" y="39580"/>
                  <a:pt x="70319" y="36973"/>
                </a:cubicBezTo>
                <a:cubicBezTo>
                  <a:pt x="70334" y="36962"/>
                  <a:pt x="70349" y="36950"/>
                  <a:pt x="70365" y="36938"/>
                </a:cubicBezTo>
                <a:close/>
                <a:moveTo>
                  <a:pt x="38408" y="112710"/>
                </a:moveTo>
                <a:cubicBezTo>
                  <a:pt x="36094" y="110412"/>
                  <a:pt x="36080" y="106673"/>
                  <a:pt x="38378" y="104358"/>
                </a:cubicBezTo>
                <a:cubicBezTo>
                  <a:pt x="38388" y="104348"/>
                  <a:pt x="38398" y="104338"/>
                  <a:pt x="38408" y="104328"/>
                </a:cubicBezTo>
                <a:lnTo>
                  <a:pt x="47524" y="95260"/>
                </a:lnTo>
                <a:cubicBezTo>
                  <a:pt x="49862" y="92948"/>
                  <a:pt x="53625" y="92948"/>
                  <a:pt x="55963" y="95260"/>
                </a:cubicBezTo>
                <a:cubicBezTo>
                  <a:pt x="58260" y="97540"/>
                  <a:pt x="58294" y="101244"/>
                  <a:pt x="56039" y="103566"/>
                </a:cubicBezTo>
                <a:lnTo>
                  <a:pt x="55963" y="103642"/>
                </a:lnTo>
                <a:lnTo>
                  <a:pt x="46848" y="112700"/>
                </a:lnTo>
                <a:lnTo>
                  <a:pt x="46762" y="112786"/>
                </a:lnTo>
                <a:cubicBezTo>
                  <a:pt x="44414" y="115022"/>
                  <a:pt x="40715" y="114987"/>
                  <a:pt x="38408" y="112710"/>
                </a:cubicBezTo>
                <a:close/>
                <a:moveTo>
                  <a:pt x="33732" y="80620"/>
                </a:moveTo>
                <a:cubicBezTo>
                  <a:pt x="35979" y="82940"/>
                  <a:pt x="35937" y="86639"/>
                  <a:pt x="33636" y="88907"/>
                </a:cubicBezTo>
                <a:lnTo>
                  <a:pt x="24521" y="97975"/>
                </a:lnTo>
                <a:cubicBezTo>
                  <a:pt x="22183" y="100286"/>
                  <a:pt x="18420" y="100286"/>
                  <a:pt x="16082" y="97975"/>
                </a:cubicBezTo>
                <a:cubicBezTo>
                  <a:pt x="13767" y="95677"/>
                  <a:pt x="13754" y="91938"/>
                  <a:pt x="16051" y="89623"/>
                </a:cubicBezTo>
                <a:cubicBezTo>
                  <a:pt x="16061" y="89613"/>
                  <a:pt x="16072" y="89603"/>
                  <a:pt x="16082" y="89593"/>
                </a:cubicBezTo>
                <a:lnTo>
                  <a:pt x="25207" y="80534"/>
                </a:lnTo>
                <a:cubicBezTo>
                  <a:pt x="27545" y="78223"/>
                  <a:pt x="31308" y="78223"/>
                  <a:pt x="33646" y="80534"/>
                </a:cubicBezTo>
                <a:lnTo>
                  <a:pt x="33732" y="80620"/>
                </a:lnTo>
                <a:close/>
                <a:moveTo>
                  <a:pt x="84671" y="150286"/>
                </a:moveTo>
                <a:cubicBezTo>
                  <a:pt x="82333" y="152598"/>
                  <a:pt x="78571" y="152598"/>
                  <a:pt x="76232" y="150286"/>
                </a:cubicBezTo>
                <a:cubicBezTo>
                  <a:pt x="73917" y="147988"/>
                  <a:pt x="73904" y="144249"/>
                  <a:pt x="76202" y="141934"/>
                </a:cubicBezTo>
                <a:cubicBezTo>
                  <a:pt x="76212" y="141924"/>
                  <a:pt x="76222" y="141914"/>
                  <a:pt x="76232" y="141904"/>
                </a:cubicBezTo>
                <a:lnTo>
                  <a:pt x="85348" y="132846"/>
                </a:lnTo>
                <a:cubicBezTo>
                  <a:pt x="87686" y="130534"/>
                  <a:pt x="91448" y="130534"/>
                  <a:pt x="93787" y="132846"/>
                </a:cubicBezTo>
                <a:cubicBezTo>
                  <a:pt x="96101" y="135143"/>
                  <a:pt x="96115" y="138883"/>
                  <a:pt x="93817" y="141197"/>
                </a:cubicBezTo>
                <a:cubicBezTo>
                  <a:pt x="93807" y="141208"/>
                  <a:pt x="93797" y="141217"/>
                  <a:pt x="93787" y="141228"/>
                </a:cubicBezTo>
                <a:lnTo>
                  <a:pt x="84671" y="150286"/>
                </a:lnTo>
                <a:close/>
                <a:moveTo>
                  <a:pt x="65421" y="131160"/>
                </a:moveTo>
                <a:cubicBezTo>
                  <a:pt x="63085" y="133477"/>
                  <a:pt x="59318" y="133477"/>
                  <a:pt x="56982" y="131160"/>
                </a:cubicBezTo>
                <a:cubicBezTo>
                  <a:pt x="54682" y="128882"/>
                  <a:pt x="54644" y="125178"/>
                  <a:pt x="56896" y="122854"/>
                </a:cubicBezTo>
                <a:lnTo>
                  <a:pt x="56982" y="122778"/>
                </a:lnTo>
                <a:lnTo>
                  <a:pt x="66098" y="113719"/>
                </a:lnTo>
                <a:lnTo>
                  <a:pt x="66174" y="113634"/>
                </a:lnTo>
                <a:cubicBezTo>
                  <a:pt x="68525" y="111395"/>
                  <a:pt x="72231" y="111433"/>
                  <a:pt x="74537" y="113719"/>
                </a:cubicBezTo>
                <a:cubicBezTo>
                  <a:pt x="76851" y="116017"/>
                  <a:pt x="76865" y="119756"/>
                  <a:pt x="74567" y="122071"/>
                </a:cubicBezTo>
                <a:cubicBezTo>
                  <a:pt x="74557" y="122081"/>
                  <a:pt x="74547" y="122091"/>
                  <a:pt x="74537" y="122101"/>
                </a:cubicBezTo>
                <a:lnTo>
                  <a:pt x="65421" y="131160"/>
                </a:lnTo>
                <a:close/>
              </a:path>
            </a:pathLst>
          </a:custGeom>
          <a:solidFill>
            <a:schemeClr val="bg1"/>
          </a:solidFill>
          <a:ln w="15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Tree>
    <p:extLst>
      <p:ext uri="{BB962C8B-B14F-4D97-AF65-F5344CB8AC3E}">
        <p14:creationId xmlns:p14="http://schemas.microsoft.com/office/powerpoint/2010/main" val="19190797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29F9FEAD-A6B6-504E-CFA2-B4BAD2C42276}"/>
              </a:ext>
            </a:extLst>
          </p:cNvPr>
          <p:cNvSpPr>
            <a:spLocks noGrp="1"/>
          </p:cNvSpPr>
          <p:nvPr>
            <p:ph idx="1"/>
          </p:nvPr>
        </p:nvSpPr>
        <p:spPr>
          <a:xfrm>
            <a:off x="5210175" y="1677179"/>
            <a:ext cx="6981825" cy="4185761"/>
          </a:xfrm>
        </p:spPr>
        <p:txBody>
          <a:bodyPr/>
          <a:lstStyle/>
          <a:p>
            <a:pPr marL="514350" indent="-514350">
              <a:spcBef>
                <a:spcPts val="600"/>
              </a:spcBef>
              <a:spcAft>
                <a:spcPts val="600"/>
              </a:spcAft>
              <a:buAutoNum type="arabicPlain"/>
            </a:pPr>
            <a:r>
              <a:rPr lang="es-es" sz="2650" spc="-10" dirty="0"/>
              <a:t>Aspectos básicos de la creación de agentes</a:t>
            </a:r>
          </a:p>
          <a:p>
            <a:pPr marL="514350" indent="-514350">
              <a:spcBef>
                <a:spcPts val="600"/>
              </a:spcBef>
              <a:spcAft>
                <a:spcPts val="600"/>
              </a:spcAft>
              <a:buAutoNum type="arabicPlain"/>
            </a:pPr>
            <a:r>
              <a:rPr lang="es-es" sz="2650" dirty="0"/>
              <a:t>Agentes creados en M365 </a:t>
            </a:r>
            <a:r>
              <a:rPr lang="es-es" sz="2650" dirty="0" err="1"/>
              <a:t>Copilot</a:t>
            </a:r>
            <a:endParaRPr lang="en-US" sz="2650" dirty="0"/>
          </a:p>
          <a:p>
            <a:pPr marL="514350" indent="-514350">
              <a:spcBef>
                <a:spcPts val="600"/>
              </a:spcBef>
              <a:spcAft>
                <a:spcPts val="600"/>
              </a:spcAft>
              <a:buAutoNum type="arabicPlain"/>
            </a:pPr>
            <a:r>
              <a:rPr lang="es-es" sz="2650" dirty="0"/>
              <a:t>Descubre agentes en Agent Store</a:t>
            </a:r>
          </a:p>
          <a:p>
            <a:pPr marL="514350" indent="-514350">
              <a:spcBef>
                <a:spcPts val="600"/>
              </a:spcBef>
              <a:spcAft>
                <a:spcPts val="600"/>
              </a:spcAft>
              <a:buAutoNum type="arabicPlain"/>
            </a:pPr>
            <a:r>
              <a:rPr lang="es-es" sz="2650" dirty="0"/>
              <a:t>Creación de agentes mediante plantillas</a:t>
            </a:r>
            <a:endParaRPr lang="en-US" sz="2650" dirty="0"/>
          </a:p>
          <a:p>
            <a:pPr marL="514350" indent="-514350">
              <a:spcBef>
                <a:spcPts val="600"/>
              </a:spcBef>
              <a:spcAft>
                <a:spcPts val="600"/>
              </a:spcAft>
              <a:buAutoNum type="arabicPlain"/>
            </a:pPr>
            <a:r>
              <a:rPr lang="es-es" sz="2650" dirty="0"/>
              <a:t>Creación de agentes mediante guías de ejemplo</a:t>
            </a:r>
          </a:p>
          <a:p>
            <a:pPr marL="514350" indent="-514350">
              <a:spcBef>
                <a:spcPts val="600"/>
              </a:spcBef>
              <a:spcAft>
                <a:spcPts val="600"/>
              </a:spcAft>
              <a:buAutoNum type="arabicPlain"/>
            </a:pPr>
            <a:r>
              <a:rPr lang="es-es" sz="2650" dirty="0"/>
              <a:t>Uso compartido de agentes</a:t>
            </a:r>
          </a:p>
          <a:p>
            <a:pPr marL="514350" indent="-514350">
              <a:spcBef>
                <a:spcPts val="600"/>
              </a:spcBef>
              <a:spcAft>
                <a:spcPts val="600"/>
              </a:spcAft>
              <a:buAutoNum type="arabicPlain"/>
            </a:pPr>
            <a:r>
              <a:rPr lang="es-es" sz="2650" dirty="0"/>
              <a:t>Próximos pasos y llamada a la acción</a:t>
            </a:r>
          </a:p>
        </p:txBody>
      </p:sp>
      <p:sp>
        <p:nvSpPr>
          <p:cNvPr id="9" name="Title 8">
            <a:extLst>
              <a:ext uri="{FF2B5EF4-FFF2-40B4-BE49-F238E27FC236}">
                <a16:creationId xmlns:a16="http://schemas.microsoft.com/office/drawing/2014/main" id="{4BA1EBAE-1D52-4D45-80BB-BA0E5E112711}"/>
              </a:ext>
            </a:extLst>
          </p:cNvPr>
          <p:cNvSpPr>
            <a:spLocks noGrp="1"/>
          </p:cNvSpPr>
          <p:nvPr>
            <p:ph type="title"/>
          </p:nvPr>
        </p:nvSpPr>
        <p:spPr>
          <a:xfrm>
            <a:off x="589279" y="605657"/>
            <a:ext cx="2429125" cy="2368362"/>
          </a:xfrm>
        </p:spPr>
        <p:txBody>
          <a:bodyPr/>
          <a:lstStyle/>
          <a:p>
            <a:r>
              <a:rPr lang="es-es" dirty="0"/>
              <a:t>Para qué estamos aquí</a:t>
            </a:r>
          </a:p>
        </p:txBody>
      </p:sp>
      <p:cxnSp>
        <p:nvCxnSpPr>
          <p:cNvPr id="11" name="Straight Connector 10">
            <a:extLst>
              <a:ext uri="{FF2B5EF4-FFF2-40B4-BE49-F238E27FC236}">
                <a16:creationId xmlns:a16="http://schemas.microsoft.com/office/drawing/2014/main" id="{1ED95B53-DDF2-6191-A9CC-CC607C737C1E}"/>
              </a:ext>
              <a:ext uri="{C183D7F6-B498-43B3-948B-1728B52AA6E4}">
                <adec:decorative xmlns:adec="http://schemas.microsoft.com/office/drawing/2017/decorative" val="1"/>
              </a:ext>
            </a:extLst>
          </p:cNvPr>
          <p:cNvCxnSpPr>
            <a:cxnSpLocks/>
          </p:cNvCxnSpPr>
          <p:nvPr/>
        </p:nvCxnSpPr>
        <p:spPr>
          <a:xfrm>
            <a:off x="4767746" y="1524000"/>
            <a:ext cx="0" cy="4021483"/>
          </a:xfrm>
          <a:prstGeom prst="line">
            <a:avLst/>
          </a:prstGeom>
          <a:ln w="222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92299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F253785-7DCD-212A-A12B-62EF604F673E}"/>
              </a:ext>
            </a:extLst>
          </p:cNvPr>
          <p:cNvSpPr txBox="1"/>
          <p:nvPr/>
        </p:nvSpPr>
        <p:spPr>
          <a:xfrm>
            <a:off x="583952" y="1624415"/>
            <a:ext cx="3797548" cy="1754326"/>
          </a:xfrm>
          <a:prstGeom prst="rect">
            <a:avLst/>
          </a:prstGeom>
          <a:noFill/>
          <a:ln>
            <a:noFill/>
            <a:prstDash/>
          </a:ln>
          <a:effectLst/>
        </p:spPr>
        <p:txBody>
          <a:bodyPr wrap="square" lIns="0" rIns="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s-es" sz="121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P</a:t>
            </a:r>
            <a:r>
              <a:rPr kumimoji="0" lang="es-es" sz="72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y</a:t>
            </a:r>
            <a:r>
              <a:rPr kumimoji="0" lang="es-es" sz="12100" b="0" i="0" u="none" strike="noStrike" kern="1200" cap="none" normalizeH="0" noProof="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R</a:t>
            </a:r>
          </a:p>
        </p:txBody>
      </p:sp>
      <p:sp>
        <p:nvSpPr>
          <p:cNvPr id="4" name="Text Placeholder 4">
            <a:extLst>
              <a:ext uri="{FF2B5EF4-FFF2-40B4-BE49-F238E27FC236}">
                <a16:creationId xmlns:a16="http://schemas.microsoft.com/office/drawing/2014/main" id="{4C5BCC02-F254-165A-B419-7E09F13385A9}"/>
              </a:ext>
            </a:extLst>
          </p:cNvPr>
          <p:cNvSpPr txBox="1">
            <a:spLocks/>
          </p:cNvSpPr>
          <p:nvPr/>
        </p:nvSpPr>
        <p:spPr>
          <a:xfrm>
            <a:off x="1876335" y="3336405"/>
            <a:ext cx="4003766" cy="1107996"/>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UI" panose="020B0502040204020203" pitchFamily="34" charset="0"/>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UI" panose="020B0502040204020203" pitchFamily="34" charset="0"/>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s-es" sz="24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Levanta la mano y activa </a:t>
            </a:r>
            <a:br>
              <a:rPr kumimoji="0" lang="es-es" sz="24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br>
            <a:r>
              <a:rPr kumimoji="0" lang="es-es" sz="24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el micrófono cuando se </a:t>
            </a:r>
            <a:br>
              <a:rPr kumimoji="0" lang="es-es" sz="24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br>
            <a:r>
              <a:rPr kumimoji="0" lang="es-es" sz="2400" b="0" i="0" u="none" strike="noStrike" kern="1200" cap="none" normalizeH="0" noProof="0" dirty="0">
                <a:ln>
                  <a:noFill/>
                </a:ln>
                <a:gradFill flip="none" rotWithShape="1">
                  <a:gsLst>
                    <a:gs pos="0">
                      <a:srgbClr val="94D8FE"/>
                    </a:gs>
                    <a:gs pos="100000">
                      <a:srgbClr val="FFFFFF"/>
                    </a:gs>
                  </a:gsLst>
                  <a:lin ang="13500000" scaled="1"/>
                  <a:tileRect/>
                </a:gradFill>
                <a:effectLst/>
                <a:uLnTx/>
                <a:uFillTx/>
                <a:latin typeface="Segoe Sans Display Semibold" pitchFamily="2" charset="0"/>
                <a:ea typeface="+mn-ea"/>
                <a:cs typeface="Segoe Sans Display Semibold" pitchFamily="2" charset="0"/>
              </a:rPr>
              <a:t>te indique</a:t>
            </a:r>
          </a:p>
        </p:txBody>
      </p:sp>
      <p:sp>
        <p:nvSpPr>
          <p:cNvPr id="5" name="Rectangle: Rounded Corners 4">
            <a:extLst>
              <a:ext uri="{FF2B5EF4-FFF2-40B4-BE49-F238E27FC236}">
                <a16:creationId xmlns:a16="http://schemas.microsoft.com/office/drawing/2014/main" id="{790C1B4C-D324-4FDC-5CED-9EDCC9C2BD37}"/>
              </a:ext>
            </a:extLst>
          </p:cNvPr>
          <p:cNvSpPr/>
          <p:nvPr/>
        </p:nvSpPr>
        <p:spPr bwMode="auto">
          <a:xfrm rot="5400000">
            <a:off x="7699054" y="439533"/>
            <a:ext cx="3452506" cy="6565900"/>
          </a:xfrm>
          <a:prstGeom prst="roundRect">
            <a:avLst>
              <a:gd name="adj" fmla="val 14295"/>
            </a:avLst>
          </a:prstGeom>
          <a:solidFill>
            <a:schemeClr val="bg1">
              <a:alpha val="5000"/>
            </a:scheme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15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6" name="Picture 5">
            <a:extLst>
              <a:ext uri="{FF2B5EF4-FFF2-40B4-BE49-F238E27FC236}">
                <a16:creationId xmlns:a16="http://schemas.microsoft.com/office/drawing/2014/main" id="{E8755E77-6AF4-FE9D-57AB-73980E358AB4}"/>
              </a:ext>
            </a:extLst>
          </p:cNvPr>
          <p:cNvPicPr>
            <a:picLocks noChangeAspect="1"/>
          </p:cNvPicPr>
          <p:nvPr/>
        </p:nvPicPr>
        <p:blipFill>
          <a:blip r:embed="rId3"/>
          <a:stretch>
            <a:fillRect/>
          </a:stretch>
        </p:blipFill>
        <p:spPr>
          <a:xfrm>
            <a:off x="6762842" y="3067289"/>
            <a:ext cx="5048158" cy="1286114"/>
          </a:xfrm>
          <a:prstGeom prst="roundRect">
            <a:avLst>
              <a:gd name="adj" fmla="val 12717"/>
            </a:avLst>
          </a:prstGeom>
          <a:effectLst/>
        </p:spPr>
      </p:pic>
      <p:sp>
        <p:nvSpPr>
          <p:cNvPr id="7" name="Freeform: Shape 6">
            <a:extLst>
              <a:ext uri="{FF2B5EF4-FFF2-40B4-BE49-F238E27FC236}">
                <a16:creationId xmlns:a16="http://schemas.microsoft.com/office/drawing/2014/main" id="{6760E164-D3B4-D288-E0C7-CBED5F9FEAD4}"/>
              </a:ext>
            </a:extLst>
          </p:cNvPr>
          <p:cNvSpPr/>
          <p:nvPr/>
        </p:nvSpPr>
        <p:spPr bwMode="auto">
          <a:xfrm>
            <a:off x="9020969" y="2542893"/>
            <a:ext cx="364331" cy="876300"/>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8" name="Oval 7">
            <a:extLst>
              <a:ext uri="{FF2B5EF4-FFF2-40B4-BE49-F238E27FC236}">
                <a16:creationId xmlns:a16="http://schemas.microsoft.com/office/drawing/2014/main" id="{535A04CC-0F12-6126-ABD6-D3414DC1D1EF}"/>
              </a:ext>
              <a:ext uri="{C183D7F6-B498-43B3-948B-1728B52AA6E4}">
                <adec:decorative xmlns:adec="http://schemas.microsoft.com/office/drawing/2017/decorative" val="1"/>
              </a:ext>
            </a:extLst>
          </p:cNvPr>
          <p:cNvSpPr/>
          <p:nvPr/>
        </p:nvSpPr>
        <p:spPr bwMode="auto">
          <a:xfrm>
            <a:off x="9385557" y="2327210"/>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s-es" sz="2000" b="0" i="0" u="none" strike="noStrike" kern="1200" cap="none" spc="0" normalizeH="0" baseline="0" noProof="0">
                <a:ln>
                  <a:noFill/>
                </a:ln>
                <a:solidFill>
                  <a:srgbClr val="000000"/>
                </a:solidFill>
                <a:effectLst/>
                <a:uLnTx/>
                <a:uFillTx/>
                <a:latin typeface="Segoe Sans Display Semibold"/>
                <a:ea typeface="+mn-ea"/>
                <a:cs typeface="+mn-cs"/>
              </a:rPr>
              <a:t>1</a:t>
            </a:r>
          </a:p>
        </p:txBody>
      </p:sp>
      <p:sp>
        <p:nvSpPr>
          <p:cNvPr id="9" name="Freeform: Shape 8">
            <a:extLst>
              <a:ext uri="{FF2B5EF4-FFF2-40B4-BE49-F238E27FC236}">
                <a16:creationId xmlns:a16="http://schemas.microsoft.com/office/drawing/2014/main" id="{7D15C4CB-F9D7-B775-BD2B-36FA94563851}"/>
              </a:ext>
            </a:extLst>
          </p:cNvPr>
          <p:cNvSpPr/>
          <p:nvPr/>
        </p:nvSpPr>
        <p:spPr bwMode="auto">
          <a:xfrm rot="10800000">
            <a:off x="8398926" y="4166791"/>
            <a:ext cx="364331" cy="757352"/>
          </a:xfrm>
          <a:custGeom>
            <a:avLst/>
            <a:gdLst>
              <a:gd name="connsiteX0" fmla="*/ 0 w 731520"/>
              <a:gd name="connsiteY0" fmla="*/ 1158240 h 1158240"/>
              <a:gd name="connsiteX1" fmla="*/ 0 w 731520"/>
              <a:gd name="connsiteY1" fmla="*/ 0 h 1158240"/>
              <a:gd name="connsiteX2" fmla="*/ 731520 w 731520"/>
              <a:gd name="connsiteY2" fmla="*/ 0 h 1158240"/>
            </a:gdLst>
            <a:ahLst/>
            <a:cxnLst>
              <a:cxn ang="0">
                <a:pos x="connsiteX0" y="connsiteY0"/>
              </a:cxn>
              <a:cxn ang="0">
                <a:pos x="connsiteX1" y="connsiteY1"/>
              </a:cxn>
              <a:cxn ang="0">
                <a:pos x="connsiteX2" y="connsiteY2"/>
              </a:cxn>
            </a:cxnLst>
            <a:rect l="l" t="t" r="r" b="b"/>
            <a:pathLst>
              <a:path w="731520" h="1158240">
                <a:moveTo>
                  <a:pt x="0" y="1158240"/>
                </a:moveTo>
                <a:lnTo>
                  <a:pt x="0" y="0"/>
                </a:lnTo>
                <a:lnTo>
                  <a:pt x="731520" y="0"/>
                </a:lnTo>
              </a:path>
            </a:pathLst>
          </a:custGeom>
          <a:noFill/>
          <a:ln>
            <a:solidFill>
              <a:schemeClr val="bg1">
                <a:lumMod val="9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10" name="Oval 9">
            <a:extLst>
              <a:ext uri="{FF2B5EF4-FFF2-40B4-BE49-F238E27FC236}">
                <a16:creationId xmlns:a16="http://schemas.microsoft.com/office/drawing/2014/main" id="{2746385E-65F4-A2A7-2271-8D47D24FFE0A}"/>
              </a:ext>
              <a:ext uri="{C183D7F6-B498-43B3-948B-1728B52AA6E4}">
                <adec:decorative xmlns:adec="http://schemas.microsoft.com/office/drawing/2017/decorative" val="1"/>
              </a:ext>
            </a:extLst>
          </p:cNvPr>
          <p:cNvSpPr/>
          <p:nvPr/>
        </p:nvSpPr>
        <p:spPr bwMode="auto">
          <a:xfrm>
            <a:off x="7970750" y="4711269"/>
            <a:ext cx="425540" cy="425540"/>
          </a:xfrm>
          <a:prstGeom prst="ellipse">
            <a:avLst/>
          </a:prstGeom>
          <a:gradFill>
            <a:gsLst>
              <a:gs pos="27000">
                <a:schemeClr val="bg1">
                  <a:alpha val="80000"/>
                </a:schemeClr>
              </a:gs>
              <a:gs pos="100000">
                <a:schemeClr val="bg1">
                  <a:alpha val="50000"/>
                </a:schemeClr>
              </a:gs>
            </a:gsLst>
            <a:lin ang="2400000" scaled="0"/>
          </a:gradFill>
          <a:ln>
            <a:gradFill>
              <a:gsLst>
                <a:gs pos="0">
                  <a:schemeClr val="accent1">
                    <a:alpha val="80000"/>
                    <a:lumMod val="7000"/>
                    <a:lumOff val="93000"/>
                  </a:schemeClr>
                </a:gs>
                <a:gs pos="100000">
                  <a:schemeClr val="bg1">
                    <a:alpha val="80000"/>
                  </a:schemeClr>
                </a:gs>
              </a:gsLst>
              <a:lin ang="4800000" scaled="0"/>
            </a:gradFill>
          </a:ln>
          <a:effectLst>
            <a:outerShdw blurRad="50800" dist="12700" dir="5400000" algn="t"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s-es" sz="2000" b="0" i="0" u="none" strike="noStrike" kern="1200" cap="none" spc="0" normalizeH="0" baseline="0" noProof="0">
                <a:ln>
                  <a:noFill/>
                </a:ln>
                <a:solidFill>
                  <a:srgbClr val="000000"/>
                </a:solidFill>
                <a:effectLst/>
                <a:uLnTx/>
                <a:uFillTx/>
                <a:latin typeface="Segoe Sans Display Semibold"/>
                <a:ea typeface="+mn-ea"/>
                <a:cs typeface="+mn-cs"/>
              </a:rPr>
              <a:t>2</a:t>
            </a:r>
          </a:p>
        </p:txBody>
      </p:sp>
    </p:spTree>
    <p:extLst>
      <p:ext uri="{BB962C8B-B14F-4D97-AF65-F5344CB8AC3E}">
        <p14:creationId xmlns:p14="http://schemas.microsoft.com/office/powerpoint/2010/main" val="87568759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8887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B17013-6C5E-F7E2-6A16-C740F4ACF7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FE35FF-25C1-08C7-8304-848607BCEE4A}"/>
              </a:ext>
            </a:extLst>
          </p:cNvPr>
          <p:cNvSpPr>
            <a:spLocks noGrp="1"/>
          </p:cNvSpPr>
          <p:nvPr>
            <p:ph type="title"/>
          </p:nvPr>
        </p:nvSpPr>
        <p:spPr>
          <a:xfrm>
            <a:off x="571500" y="2792795"/>
            <a:ext cx="4179404" cy="1200329"/>
          </a:xfrm>
          <a:prstGeom prst="rect">
            <a:avLst/>
          </a:prstGeom>
        </p:spPr>
        <p:txBody>
          <a:bodyPr/>
          <a:lstStyle/>
          <a:p>
            <a:r>
              <a:rPr lang="es-es" spc="0" dirty="0"/>
              <a:t>Presentación de M365 Copilot</a:t>
            </a:r>
          </a:p>
        </p:txBody>
      </p:sp>
    </p:spTree>
    <p:extLst>
      <p:ext uri="{BB962C8B-B14F-4D97-AF65-F5344CB8AC3E}">
        <p14:creationId xmlns:p14="http://schemas.microsoft.com/office/powerpoint/2010/main" val="27025981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33325-F57E-A9B0-14CD-DE4E43AF4EBB}"/>
            </a:ext>
          </a:extLst>
        </p:cNvPr>
        <p:cNvGrpSpPr/>
        <p:nvPr/>
      </p:nvGrpSpPr>
      <p:grpSpPr>
        <a:xfrm>
          <a:off x="0" y="0"/>
          <a:ext cx="0" cy="0"/>
          <a:chOff x="0" y="0"/>
          <a:chExt cx="0" cy="0"/>
        </a:xfrm>
      </p:grpSpPr>
      <p:grpSp>
        <p:nvGrpSpPr>
          <p:cNvPr id="3" name="Group 2" descr="Un diagrama con el título &quot;Copilot es la interfaz de usuario para la IA.&quot; En el lado izquierdo, aparece la imagen de una persona enmarcada en un círculo, con dos flechas bidireccionales entre ella y un conjunto de tarjetas apiladas en el centro. Una tarjeta presenta Copilot y la otra muestra Copilot Studio.  A la derecha, se muestra una red de nodos interconectados, cada uno representado por pequeños íconos circulares con una estructura similar a un diagrama de flujo o jerarquía. Los nodos están conectados por líneas azules sólidas y discontinuas, lo que sugiere una red o sistema complejo.  En la parte inferior, aparece un rótulo &quot;Plataforma de control Copilot&quot; dentro de una barra con un ícono de escudo, que simboliza una plataforma de control segura. Este diseño parece representar una interfaz de usuario asistida por IA para gestionar o navegar por un sistema en red a través de un mecanismo de control central.">
            <a:extLst>
              <a:ext uri="{FF2B5EF4-FFF2-40B4-BE49-F238E27FC236}">
                <a16:creationId xmlns:a16="http://schemas.microsoft.com/office/drawing/2014/main" id="{9A8A6247-C0A0-B8DB-4171-CE757FB7B407}"/>
              </a:ext>
            </a:extLst>
          </p:cNvPr>
          <p:cNvGrpSpPr/>
          <p:nvPr/>
        </p:nvGrpSpPr>
        <p:grpSpPr>
          <a:xfrm>
            <a:off x="294339" y="616858"/>
            <a:ext cx="11604625" cy="5620884"/>
            <a:chOff x="294339" y="616858"/>
            <a:chExt cx="11604625" cy="5620884"/>
          </a:xfrm>
        </p:grpSpPr>
        <p:sp>
          <p:nvSpPr>
            <p:cNvPr id="213" name="Oval 212">
              <a:extLst>
                <a:ext uri="{FF2B5EF4-FFF2-40B4-BE49-F238E27FC236}">
                  <a16:creationId xmlns:a16="http://schemas.microsoft.com/office/drawing/2014/main" id="{C47A586B-E387-CC5C-8D47-1D30C17EB0AE}"/>
                </a:ext>
                <a:ext uri="{C183D7F6-B498-43B3-948B-1728B52AA6E4}">
                  <adec:decorative xmlns:adec="http://schemas.microsoft.com/office/drawing/2017/decorative" val="1"/>
                </a:ext>
              </a:extLst>
            </p:cNvPr>
            <p:cNvSpPr/>
            <p:nvPr/>
          </p:nvSpPr>
          <p:spPr bwMode="auto">
            <a:xfrm>
              <a:off x="626438" y="2743618"/>
              <a:ext cx="1818039" cy="1818039"/>
            </a:xfrm>
            <a:prstGeom prst="ellipse">
              <a:avLst/>
            </a:prstGeom>
            <a:gradFill flip="none" rotWithShape="1">
              <a:gsLst>
                <a:gs pos="0">
                  <a:srgbClr val="C03BC4"/>
                </a:gs>
                <a:gs pos="80000">
                  <a:srgbClr val="0078D4"/>
                </a:gs>
              </a:gsLst>
              <a:path path="circle">
                <a:fillToRect l="100000" t="100000"/>
              </a:path>
              <a:tileRect r="-100000" b="-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0" cap="none" spc="0" normalizeH="0" baseline="0" noProof="0">
                <a:ln>
                  <a:noFill/>
                </a:ln>
                <a:solidFill>
                  <a:srgbClr val="FFFFFF"/>
                </a:solidFill>
                <a:effectLst/>
                <a:uLnTx/>
                <a:uFillTx/>
                <a:latin typeface="Segoe UI Semibold"/>
                <a:ea typeface="+mn-ea"/>
                <a:cs typeface="+mn-cs"/>
              </a:endParaRPr>
            </a:p>
          </p:txBody>
        </p:sp>
        <p:grpSp>
          <p:nvGrpSpPr>
            <p:cNvPr id="214" name="!!NetworkLines">
              <a:extLst>
                <a:ext uri="{FF2B5EF4-FFF2-40B4-BE49-F238E27FC236}">
                  <a16:creationId xmlns:a16="http://schemas.microsoft.com/office/drawing/2014/main" id="{F4FC35FB-2AAD-2B19-DF6E-F897F19A6089}"/>
                </a:ext>
              </a:extLst>
            </p:cNvPr>
            <p:cNvGrpSpPr/>
            <p:nvPr/>
          </p:nvGrpSpPr>
          <p:grpSpPr>
            <a:xfrm>
              <a:off x="6343034" y="2309706"/>
              <a:ext cx="4856025" cy="2833404"/>
              <a:chOff x="26278919" y="7127751"/>
              <a:chExt cx="11858730" cy="6919351"/>
            </a:xfrm>
          </p:grpSpPr>
          <p:sp>
            <p:nvSpPr>
              <p:cNvPr id="259" name="Freeform: Shape 258">
                <a:extLst>
                  <a:ext uri="{FF2B5EF4-FFF2-40B4-BE49-F238E27FC236}">
                    <a16:creationId xmlns:a16="http://schemas.microsoft.com/office/drawing/2014/main" id="{3D403572-465E-25D1-1D96-2111EE68B558}"/>
                  </a:ext>
                </a:extLst>
              </p:cNvPr>
              <p:cNvSpPr/>
              <p:nvPr/>
            </p:nvSpPr>
            <p:spPr>
              <a:xfrm>
                <a:off x="26278919" y="7130936"/>
                <a:ext cx="4299641" cy="3471138"/>
              </a:xfrm>
              <a:custGeom>
                <a:avLst/>
                <a:gdLst>
                  <a:gd name="connsiteX0" fmla="*/ 0 w 4010353"/>
                  <a:gd name="connsiteY0" fmla="*/ 2428280 h 2428280"/>
                  <a:gd name="connsiteX1" fmla="*/ 4010354 w 4010353"/>
                  <a:gd name="connsiteY1" fmla="*/ 0 h 2428280"/>
                </a:gdLst>
                <a:ahLst/>
                <a:cxnLst>
                  <a:cxn ang="0">
                    <a:pos x="connsiteX0" y="connsiteY0"/>
                  </a:cxn>
                  <a:cxn ang="0">
                    <a:pos x="connsiteX1" y="connsiteY1"/>
                  </a:cxn>
                </a:cxnLst>
                <a:rect l="l" t="t" r="r" b="b"/>
                <a:pathLst>
                  <a:path w="4010353" h="2428280">
                    <a:moveTo>
                      <a:pt x="0" y="2428280"/>
                    </a:moveTo>
                    <a:lnTo>
                      <a:pt x="4010354"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F8C09892-B3BB-A647-DFCD-58D10ED5EFAC}"/>
                  </a:ext>
                </a:extLst>
              </p:cNvPr>
              <p:cNvSpPr/>
              <p:nvPr/>
            </p:nvSpPr>
            <p:spPr>
              <a:xfrm>
                <a:off x="26278919" y="8893798"/>
                <a:ext cx="6723610" cy="1708275"/>
              </a:xfrm>
              <a:custGeom>
                <a:avLst/>
                <a:gdLst>
                  <a:gd name="connsiteX0" fmla="*/ 0 w 6271233"/>
                  <a:gd name="connsiteY0" fmla="*/ 1397819 h 1397819"/>
                  <a:gd name="connsiteX1" fmla="*/ 6271234 w 6271233"/>
                  <a:gd name="connsiteY1" fmla="*/ 0 h 1397819"/>
                </a:gdLst>
                <a:ahLst/>
                <a:cxnLst>
                  <a:cxn ang="0">
                    <a:pos x="connsiteX0" y="connsiteY0"/>
                  </a:cxn>
                  <a:cxn ang="0">
                    <a:pos x="connsiteX1" y="connsiteY1"/>
                  </a:cxn>
                </a:cxnLst>
                <a:rect l="l" t="t" r="r" b="b"/>
                <a:pathLst>
                  <a:path w="6271233" h="1397819">
                    <a:moveTo>
                      <a:pt x="0" y="1397819"/>
                    </a:moveTo>
                    <a:lnTo>
                      <a:pt x="6271234"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1" name="Freeform: Shape 260">
                <a:extLst>
                  <a:ext uri="{FF2B5EF4-FFF2-40B4-BE49-F238E27FC236}">
                    <a16:creationId xmlns:a16="http://schemas.microsoft.com/office/drawing/2014/main" id="{6D4D1983-2E06-6DD4-E6D8-AC8B847F544C}"/>
                  </a:ext>
                </a:extLst>
              </p:cNvPr>
              <p:cNvSpPr/>
              <p:nvPr/>
            </p:nvSpPr>
            <p:spPr>
              <a:xfrm>
                <a:off x="26278919" y="10602074"/>
                <a:ext cx="4090583" cy="352768"/>
              </a:xfrm>
              <a:custGeom>
                <a:avLst/>
                <a:gdLst>
                  <a:gd name="connsiteX0" fmla="*/ 0 w 5237844"/>
                  <a:gd name="connsiteY0" fmla="*/ 0 h 601528"/>
                  <a:gd name="connsiteX1" fmla="*/ 5237845 w 5237844"/>
                  <a:gd name="connsiteY1" fmla="*/ 601528 h 601528"/>
                </a:gdLst>
                <a:ahLst/>
                <a:cxnLst>
                  <a:cxn ang="0">
                    <a:pos x="connsiteX0" y="connsiteY0"/>
                  </a:cxn>
                  <a:cxn ang="0">
                    <a:pos x="connsiteX1" y="connsiteY1"/>
                  </a:cxn>
                </a:cxnLst>
                <a:rect l="l" t="t" r="r" b="b"/>
                <a:pathLst>
                  <a:path w="5237844" h="601528">
                    <a:moveTo>
                      <a:pt x="0" y="0"/>
                    </a:moveTo>
                    <a:lnTo>
                      <a:pt x="5237845" y="601528"/>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B352CFAF-DAD8-8CBB-694B-D8AB4B23EAA2}"/>
                  </a:ext>
                </a:extLst>
              </p:cNvPr>
              <p:cNvSpPr/>
              <p:nvPr/>
            </p:nvSpPr>
            <p:spPr>
              <a:xfrm>
                <a:off x="26278919" y="10602073"/>
                <a:ext cx="3725726" cy="3405436"/>
              </a:xfrm>
              <a:custGeom>
                <a:avLst/>
                <a:gdLst>
                  <a:gd name="connsiteX0" fmla="*/ 0 w 3475052"/>
                  <a:gd name="connsiteY0" fmla="*/ 0 h 2786544"/>
                  <a:gd name="connsiteX1" fmla="*/ 3475052 w 3475052"/>
                  <a:gd name="connsiteY1" fmla="*/ 2786545 h 2786544"/>
                </a:gdLst>
                <a:ahLst/>
                <a:cxnLst>
                  <a:cxn ang="0">
                    <a:pos x="connsiteX0" y="connsiteY0"/>
                  </a:cxn>
                  <a:cxn ang="0">
                    <a:pos x="connsiteX1" y="connsiteY1"/>
                  </a:cxn>
                </a:cxnLst>
                <a:rect l="l" t="t" r="r" b="b"/>
                <a:pathLst>
                  <a:path w="3475052" h="2786544">
                    <a:moveTo>
                      <a:pt x="0" y="0"/>
                    </a:moveTo>
                    <a:lnTo>
                      <a:pt x="3475052" y="2786545"/>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3" name="Freeform: Shape 262">
                <a:extLst>
                  <a:ext uri="{FF2B5EF4-FFF2-40B4-BE49-F238E27FC236}">
                    <a16:creationId xmlns:a16="http://schemas.microsoft.com/office/drawing/2014/main" id="{891A3E3B-74B2-6816-B7F4-1C4680BA545F}"/>
                  </a:ext>
                </a:extLst>
              </p:cNvPr>
              <p:cNvSpPr/>
              <p:nvPr/>
            </p:nvSpPr>
            <p:spPr>
              <a:xfrm>
                <a:off x="26278919" y="10602073"/>
                <a:ext cx="6894546" cy="3445028"/>
              </a:xfrm>
              <a:custGeom>
                <a:avLst/>
                <a:gdLst>
                  <a:gd name="connsiteX0" fmla="*/ 0 w 6430668"/>
                  <a:gd name="connsiteY0" fmla="*/ 0 h 2818941"/>
                  <a:gd name="connsiteX1" fmla="*/ 6430669 w 6430668"/>
                  <a:gd name="connsiteY1" fmla="*/ 2818942 h 2818941"/>
                </a:gdLst>
                <a:ahLst/>
                <a:cxnLst>
                  <a:cxn ang="0">
                    <a:pos x="connsiteX0" y="connsiteY0"/>
                  </a:cxn>
                  <a:cxn ang="0">
                    <a:pos x="connsiteX1" y="connsiteY1"/>
                  </a:cxn>
                </a:cxnLst>
                <a:rect l="l" t="t" r="r" b="b"/>
                <a:pathLst>
                  <a:path w="6430668" h="2818941">
                    <a:moveTo>
                      <a:pt x="0" y="0"/>
                    </a:moveTo>
                    <a:lnTo>
                      <a:pt x="6430669" y="2818942"/>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4" name="Freeform: Shape 263">
                <a:extLst>
                  <a:ext uri="{FF2B5EF4-FFF2-40B4-BE49-F238E27FC236}">
                    <a16:creationId xmlns:a16="http://schemas.microsoft.com/office/drawing/2014/main" id="{4CECEBBF-7EE7-06D6-6FA9-7863A599067A}"/>
                  </a:ext>
                </a:extLst>
              </p:cNvPr>
              <p:cNvSpPr/>
              <p:nvPr/>
            </p:nvSpPr>
            <p:spPr>
              <a:xfrm>
                <a:off x="30391111" y="10961209"/>
                <a:ext cx="2782355" cy="3085893"/>
              </a:xfrm>
              <a:custGeom>
                <a:avLst/>
                <a:gdLst>
                  <a:gd name="connsiteX0" fmla="*/ 0 w 1192823"/>
                  <a:gd name="connsiteY0" fmla="*/ 0 h 2217413"/>
                  <a:gd name="connsiteX1" fmla="*/ 1192823 w 1192823"/>
                  <a:gd name="connsiteY1" fmla="*/ 2217414 h 2217413"/>
                </a:gdLst>
                <a:ahLst/>
                <a:cxnLst>
                  <a:cxn ang="0">
                    <a:pos x="connsiteX0" y="connsiteY0"/>
                  </a:cxn>
                  <a:cxn ang="0">
                    <a:pos x="connsiteX1" y="connsiteY1"/>
                  </a:cxn>
                </a:cxnLst>
                <a:rect l="l" t="t" r="r" b="b"/>
                <a:pathLst>
                  <a:path w="1192823" h="2217413">
                    <a:moveTo>
                      <a:pt x="0" y="0"/>
                    </a:moveTo>
                    <a:lnTo>
                      <a:pt x="1192823" y="2217414"/>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FC2A43D8-E9CE-F6E5-EA29-86BD7F9EAE04}"/>
                  </a:ext>
                </a:extLst>
              </p:cNvPr>
              <p:cNvSpPr/>
              <p:nvPr/>
            </p:nvSpPr>
            <p:spPr>
              <a:xfrm>
                <a:off x="30004646" y="10961209"/>
                <a:ext cx="374168" cy="3046300"/>
              </a:xfrm>
              <a:custGeom>
                <a:avLst/>
                <a:gdLst>
                  <a:gd name="connsiteX0" fmla="*/ 0 w 1762792"/>
                  <a:gd name="connsiteY0" fmla="*/ 2185017 h 2185016"/>
                  <a:gd name="connsiteX1" fmla="*/ 1762793 w 1762792"/>
                  <a:gd name="connsiteY1" fmla="*/ 0 h 2185016"/>
                </a:gdLst>
                <a:ahLst/>
                <a:cxnLst>
                  <a:cxn ang="0">
                    <a:pos x="connsiteX0" y="connsiteY0"/>
                  </a:cxn>
                  <a:cxn ang="0">
                    <a:pos x="connsiteX1" y="connsiteY1"/>
                  </a:cxn>
                </a:cxnLst>
                <a:rect l="l" t="t" r="r" b="b"/>
                <a:pathLst>
                  <a:path w="1762792" h="2185016">
                    <a:moveTo>
                      <a:pt x="0" y="2185017"/>
                    </a:moveTo>
                    <a:lnTo>
                      <a:pt x="1762793"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619D9210-E42E-4232-6C9B-3DA5C98B4CEA}"/>
                  </a:ext>
                </a:extLst>
              </p:cNvPr>
              <p:cNvSpPr/>
              <p:nvPr/>
            </p:nvSpPr>
            <p:spPr>
              <a:xfrm>
                <a:off x="30004645" y="14007510"/>
                <a:ext cx="3168819" cy="39592"/>
              </a:xfrm>
              <a:custGeom>
                <a:avLst/>
                <a:gdLst>
                  <a:gd name="connsiteX0" fmla="*/ 0 w 2955615"/>
                  <a:gd name="connsiteY0" fmla="*/ 0 h 32397"/>
                  <a:gd name="connsiteX1" fmla="*/ 2955616 w 2955615"/>
                  <a:gd name="connsiteY1" fmla="*/ 32397 h 32397"/>
                </a:gdLst>
                <a:ahLst/>
                <a:cxnLst>
                  <a:cxn ang="0">
                    <a:pos x="connsiteX0" y="connsiteY0"/>
                  </a:cxn>
                  <a:cxn ang="0">
                    <a:pos x="connsiteX1" y="connsiteY1"/>
                  </a:cxn>
                </a:cxnLst>
                <a:rect l="l" t="t" r="r" b="b"/>
                <a:pathLst>
                  <a:path w="2955615" h="32397">
                    <a:moveTo>
                      <a:pt x="0" y="0"/>
                    </a:moveTo>
                    <a:lnTo>
                      <a:pt x="2955616" y="32397"/>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8EB56209-2756-AE82-D67D-8154039FC073}"/>
                  </a:ext>
                </a:extLst>
              </p:cNvPr>
              <p:cNvSpPr/>
              <p:nvPr/>
            </p:nvSpPr>
            <p:spPr>
              <a:xfrm flipH="1">
                <a:off x="30391111" y="7134121"/>
                <a:ext cx="197436" cy="3820720"/>
              </a:xfrm>
              <a:custGeom>
                <a:avLst/>
                <a:gdLst>
                  <a:gd name="connsiteX0" fmla="*/ 1227491 w 1227491"/>
                  <a:gd name="connsiteY0" fmla="*/ 3029809 h 3029808"/>
                  <a:gd name="connsiteX1" fmla="*/ 0 w 1227491"/>
                  <a:gd name="connsiteY1" fmla="*/ 0 h 3029808"/>
                </a:gdLst>
                <a:ahLst/>
                <a:cxnLst>
                  <a:cxn ang="0">
                    <a:pos x="connsiteX0" y="connsiteY0"/>
                  </a:cxn>
                  <a:cxn ang="0">
                    <a:pos x="connsiteX1" y="connsiteY1"/>
                  </a:cxn>
                </a:cxnLst>
                <a:rect l="l" t="t" r="r" b="b"/>
                <a:pathLst>
                  <a:path w="1227491" h="3029808">
                    <a:moveTo>
                      <a:pt x="1227491" y="3029809"/>
                    </a:moveTo>
                    <a:lnTo>
                      <a:pt x="0" y="0"/>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CFBE064B-383C-CDE7-581C-C078A662C9AB}"/>
                  </a:ext>
                </a:extLst>
              </p:cNvPr>
              <p:cNvSpPr/>
              <p:nvPr/>
            </p:nvSpPr>
            <p:spPr>
              <a:xfrm flipV="1">
                <a:off x="30600169" y="7127752"/>
                <a:ext cx="5043463" cy="174465"/>
              </a:xfrm>
              <a:custGeom>
                <a:avLst/>
                <a:gdLst>
                  <a:gd name="connsiteX0" fmla="*/ 0 w 4724284"/>
                  <a:gd name="connsiteY0" fmla="*/ 271872 h 271871"/>
                  <a:gd name="connsiteX1" fmla="*/ 4724285 w 4724284"/>
                  <a:gd name="connsiteY1" fmla="*/ 0 h 271871"/>
                </a:gdLst>
                <a:ahLst/>
                <a:cxnLst>
                  <a:cxn ang="0">
                    <a:pos x="connsiteX0" y="connsiteY0"/>
                  </a:cxn>
                  <a:cxn ang="0">
                    <a:pos x="connsiteX1" y="connsiteY1"/>
                  </a:cxn>
                </a:cxnLst>
                <a:rect l="l" t="t" r="r" b="b"/>
                <a:pathLst>
                  <a:path w="4724284" h="271871">
                    <a:moveTo>
                      <a:pt x="0" y="271872"/>
                    </a:moveTo>
                    <a:lnTo>
                      <a:pt x="4724285"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0A0C4D9-C19D-49C9-8619-966C81E48FE8}"/>
                  </a:ext>
                </a:extLst>
              </p:cNvPr>
              <p:cNvSpPr/>
              <p:nvPr/>
            </p:nvSpPr>
            <p:spPr>
              <a:xfrm>
                <a:off x="33002529" y="7302217"/>
                <a:ext cx="2641102" cy="1591580"/>
              </a:xfrm>
              <a:custGeom>
                <a:avLst/>
                <a:gdLst>
                  <a:gd name="connsiteX0" fmla="*/ 2463405 w 2463404"/>
                  <a:gd name="connsiteY0" fmla="*/ 0 h 1302332"/>
                  <a:gd name="connsiteX1" fmla="*/ 0 w 2463404"/>
                  <a:gd name="connsiteY1" fmla="*/ 1302333 h 1302332"/>
                </a:gdLst>
                <a:ahLst/>
                <a:cxnLst>
                  <a:cxn ang="0">
                    <a:pos x="connsiteX0" y="connsiteY0"/>
                  </a:cxn>
                  <a:cxn ang="0">
                    <a:pos x="connsiteX1" y="connsiteY1"/>
                  </a:cxn>
                </a:cxnLst>
                <a:rect l="l" t="t" r="r" b="b"/>
                <a:pathLst>
                  <a:path w="2463404" h="1302332">
                    <a:moveTo>
                      <a:pt x="2463405" y="0"/>
                    </a:moveTo>
                    <a:lnTo>
                      <a:pt x="0" y="130233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6A81DF3B-BFFB-8910-0D32-3B54CFF385CE}"/>
                  </a:ext>
                </a:extLst>
              </p:cNvPr>
              <p:cNvSpPr/>
              <p:nvPr/>
            </p:nvSpPr>
            <p:spPr>
              <a:xfrm>
                <a:off x="30578560" y="7127751"/>
                <a:ext cx="2423969" cy="1766046"/>
              </a:xfrm>
              <a:custGeom>
                <a:avLst/>
                <a:gdLst>
                  <a:gd name="connsiteX0" fmla="*/ 0 w 2260879"/>
                  <a:gd name="connsiteY0" fmla="*/ 0 h 1030460"/>
                  <a:gd name="connsiteX1" fmla="*/ 2260880 w 2260879"/>
                  <a:gd name="connsiteY1" fmla="*/ 1030461 h 1030460"/>
                </a:gdLst>
                <a:ahLst/>
                <a:cxnLst>
                  <a:cxn ang="0">
                    <a:pos x="connsiteX0" y="connsiteY0"/>
                  </a:cxn>
                  <a:cxn ang="0">
                    <a:pos x="connsiteX1" y="connsiteY1"/>
                  </a:cxn>
                </a:cxnLst>
                <a:rect l="l" t="t" r="r" b="b"/>
                <a:pathLst>
                  <a:path w="2260879" h="1030460">
                    <a:moveTo>
                      <a:pt x="0" y="0"/>
                    </a:moveTo>
                    <a:lnTo>
                      <a:pt x="2260880" y="1030461"/>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1" name="Freeform: Shape 270">
                <a:extLst>
                  <a:ext uri="{FF2B5EF4-FFF2-40B4-BE49-F238E27FC236}">
                    <a16:creationId xmlns:a16="http://schemas.microsoft.com/office/drawing/2014/main" id="{E51AC5DC-DCF6-789A-FA19-27A16ACEE610}"/>
                  </a:ext>
                </a:extLst>
              </p:cNvPr>
              <p:cNvSpPr/>
              <p:nvPr/>
            </p:nvSpPr>
            <p:spPr>
              <a:xfrm>
                <a:off x="33002529" y="8893798"/>
                <a:ext cx="1992850" cy="2493414"/>
              </a:xfrm>
              <a:custGeom>
                <a:avLst/>
                <a:gdLst>
                  <a:gd name="connsiteX0" fmla="*/ 0 w 1858767"/>
                  <a:gd name="connsiteY0" fmla="*/ 0 h 2040270"/>
                  <a:gd name="connsiteX1" fmla="*/ 1858767 w 1858767"/>
                  <a:gd name="connsiteY1" fmla="*/ 2040271 h 2040270"/>
                </a:gdLst>
                <a:ahLst/>
                <a:cxnLst>
                  <a:cxn ang="0">
                    <a:pos x="connsiteX0" y="connsiteY0"/>
                  </a:cxn>
                  <a:cxn ang="0">
                    <a:pos x="connsiteX1" y="connsiteY1"/>
                  </a:cxn>
                </a:cxnLst>
                <a:rect l="l" t="t" r="r" b="b"/>
                <a:pathLst>
                  <a:path w="1858767" h="2040270">
                    <a:moveTo>
                      <a:pt x="0" y="0"/>
                    </a:moveTo>
                    <a:lnTo>
                      <a:pt x="1858767" y="2040271"/>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EDC4DA26-8BCD-5A54-9E5C-1DF427F285D1}"/>
                  </a:ext>
                </a:extLst>
              </p:cNvPr>
              <p:cNvSpPr/>
              <p:nvPr/>
            </p:nvSpPr>
            <p:spPr>
              <a:xfrm>
                <a:off x="30388728" y="8893798"/>
                <a:ext cx="2613802" cy="2067413"/>
              </a:xfrm>
              <a:custGeom>
                <a:avLst/>
                <a:gdLst>
                  <a:gd name="connsiteX0" fmla="*/ 1033388 w 1033388"/>
                  <a:gd name="connsiteY0" fmla="*/ 0 h 1999347"/>
                  <a:gd name="connsiteX1" fmla="*/ 0 w 1033388"/>
                  <a:gd name="connsiteY1" fmla="*/ 1999348 h 1999347"/>
                </a:gdLst>
                <a:ahLst/>
                <a:cxnLst>
                  <a:cxn ang="0">
                    <a:pos x="connsiteX0" y="connsiteY0"/>
                  </a:cxn>
                  <a:cxn ang="0">
                    <a:pos x="connsiteX1" y="connsiteY1"/>
                  </a:cxn>
                </a:cxnLst>
                <a:rect l="l" t="t" r="r" b="b"/>
                <a:pathLst>
                  <a:path w="1033388" h="1999347">
                    <a:moveTo>
                      <a:pt x="1033388" y="0"/>
                    </a:moveTo>
                    <a:lnTo>
                      <a:pt x="0" y="1999348"/>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8437BA58-691D-633B-69AD-BB6A1347618D}"/>
                  </a:ext>
                </a:extLst>
              </p:cNvPr>
              <p:cNvSpPr/>
              <p:nvPr/>
            </p:nvSpPr>
            <p:spPr>
              <a:xfrm>
                <a:off x="33173465" y="11387213"/>
                <a:ext cx="1821914" cy="2659889"/>
              </a:xfrm>
              <a:custGeom>
                <a:avLst/>
                <a:gdLst>
                  <a:gd name="connsiteX0" fmla="*/ 1699332 w 1699332"/>
                  <a:gd name="connsiteY0" fmla="*/ 0 h 2176490"/>
                  <a:gd name="connsiteX1" fmla="*/ 0 w 1699332"/>
                  <a:gd name="connsiteY1" fmla="*/ 2176491 h 2176490"/>
                </a:gdLst>
                <a:ahLst/>
                <a:cxnLst>
                  <a:cxn ang="0">
                    <a:pos x="connsiteX0" y="connsiteY0"/>
                  </a:cxn>
                  <a:cxn ang="0">
                    <a:pos x="connsiteX1" y="connsiteY1"/>
                  </a:cxn>
                </a:cxnLst>
                <a:rect l="l" t="t" r="r" b="b"/>
                <a:pathLst>
                  <a:path w="1699332" h="2176490">
                    <a:moveTo>
                      <a:pt x="1699332" y="0"/>
                    </a:moveTo>
                    <a:lnTo>
                      <a:pt x="0" y="2176491"/>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4" name="Freeform: Shape 273">
                <a:extLst>
                  <a:ext uri="{FF2B5EF4-FFF2-40B4-BE49-F238E27FC236}">
                    <a16:creationId xmlns:a16="http://schemas.microsoft.com/office/drawing/2014/main" id="{CFA66090-4B2A-BD52-EC2A-10400FB8ABD6}"/>
                  </a:ext>
                </a:extLst>
              </p:cNvPr>
              <p:cNvSpPr/>
              <p:nvPr/>
            </p:nvSpPr>
            <p:spPr>
              <a:xfrm>
                <a:off x="34995379" y="11387213"/>
                <a:ext cx="1456811" cy="2235399"/>
              </a:xfrm>
              <a:custGeom>
                <a:avLst/>
                <a:gdLst>
                  <a:gd name="connsiteX0" fmla="*/ 0 w 943485"/>
                  <a:gd name="connsiteY0" fmla="*/ 0 h 2305132"/>
                  <a:gd name="connsiteX1" fmla="*/ 943486 w 943485"/>
                  <a:gd name="connsiteY1" fmla="*/ 2305133 h 2305132"/>
                </a:gdLst>
                <a:ahLst/>
                <a:cxnLst>
                  <a:cxn ang="0">
                    <a:pos x="connsiteX0" y="connsiteY0"/>
                  </a:cxn>
                  <a:cxn ang="0">
                    <a:pos x="connsiteX1" y="connsiteY1"/>
                  </a:cxn>
                </a:cxnLst>
                <a:rect l="l" t="t" r="r" b="b"/>
                <a:pathLst>
                  <a:path w="943485" h="2305132">
                    <a:moveTo>
                      <a:pt x="0" y="0"/>
                    </a:moveTo>
                    <a:lnTo>
                      <a:pt x="943486" y="230513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5" name="Freeform: Shape 274">
                <a:extLst>
                  <a:ext uri="{FF2B5EF4-FFF2-40B4-BE49-F238E27FC236}">
                    <a16:creationId xmlns:a16="http://schemas.microsoft.com/office/drawing/2014/main" id="{8D140C0E-F6A0-19F0-9BB9-AE2560D17326}"/>
                  </a:ext>
                </a:extLst>
              </p:cNvPr>
              <p:cNvSpPr/>
              <p:nvPr/>
            </p:nvSpPr>
            <p:spPr>
              <a:xfrm>
                <a:off x="34995380" y="10450945"/>
                <a:ext cx="3142263" cy="936268"/>
              </a:xfrm>
              <a:custGeom>
                <a:avLst/>
                <a:gdLst>
                  <a:gd name="connsiteX0" fmla="*/ 0 w 2841426"/>
                  <a:gd name="connsiteY0" fmla="*/ 171080 h 171080"/>
                  <a:gd name="connsiteX1" fmla="*/ 2841426 w 2841426"/>
                  <a:gd name="connsiteY1" fmla="*/ 0 h 171080"/>
                </a:gdLst>
                <a:ahLst/>
                <a:cxnLst>
                  <a:cxn ang="0">
                    <a:pos x="connsiteX0" y="connsiteY0"/>
                  </a:cxn>
                  <a:cxn ang="0">
                    <a:pos x="connsiteX1" y="connsiteY1"/>
                  </a:cxn>
                </a:cxnLst>
                <a:rect l="l" t="t" r="r" b="b"/>
                <a:pathLst>
                  <a:path w="2841426" h="171080">
                    <a:moveTo>
                      <a:pt x="0" y="171080"/>
                    </a:moveTo>
                    <a:lnTo>
                      <a:pt x="2841426" y="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6" name="Freeform: Shape 275">
                <a:extLst>
                  <a:ext uri="{FF2B5EF4-FFF2-40B4-BE49-F238E27FC236}">
                    <a16:creationId xmlns:a16="http://schemas.microsoft.com/office/drawing/2014/main" id="{F4782C60-601C-D1E4-D6C2-4BD3F42350D8}"/>
                  </a:ext>
                </a:extLst>
              </p:cNvPr>
              <p:cNvSpPr/>
              <p:nvPr/>
            </p:nvSpPr>
            <p:spPr>
              <a:xfrm>
                <a:off x="35643634" y="7302218"/>
                <a:ext cx="2494008" cy="3135278"/>
              </a:xfrm>
              <a:custGeom>
                <a:avLst/>
                <a:gdLst>
                  <a:gd name="connsiteX0" fmla="*/ 0 w 2236788"/>
                  <a:gd name="connsiteY0" fmla="*/ 0 h 3171522"/>
                  <a:gd name="connsiteX1" fmla="*/ 2236788 w 2236788"/>
                  <a:gd name="connsiteY1" fmla="*/ 3171523 h 3171522"/>
                </a:gdLst>
                <a:ahLst/>
                <a:cxnLst>
                  <a:cxn ang="0">
                    <a:pos x="connsiteX0" y="connsiteY0"/>
                  </a:cxn>
                  <a:cxn ang="0">
                    <a:pos x="connsiteX1" y="connsiteY1"/>
                  </a:cxn>
                </a:cxnLst>
                <a:rect l="l" t="t" r="r" b="b"/>
                <a:pathLst>
                  <a:path w="2236788" h="3171522">
                    <a:moveTo>
                      <a:pt x="0" y="0"/>
                    </a:moveTo>
                    <a:lnTo>
                      <a:pt x="2236788" y="317152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7" name="Freeform: Shape 276">
                <a:extLst>
                  <a:ext uri="{FF2B5EF4-FFF2-40B4-BE49-F238E27FC236}">
                    <a16:creationId xmlns:a16="http://schemas.microsoft.com/office/drawing/2014/main" id="{7E9F8B03-227D-2603-00AE-38E423B35B9D}"/>
                  </a:ext>
                </a:extLst>
              </p:cNvPr>
              <p:cNvSpPr/>
              <p:nvPr/>
            </p:nvSpPr>
            <p:spPr>
              <a:xfrm>
                <a:off x="34995380" y="7302217"/>
                <a:ext cx="648253" cy="4084995"/>
              </a:xfrm>
              <a:custGeom>
                <a:avLst/>
                <a:gdLst>
                  <a:gd name="connsiteX0" fmla="*/ 604638 w 604637"/>
                  <a:gd name="connsiteY0" fmla="*/ 0 h 3342603"/>
                  <a:gd name="connsiteX1" fmla="*/ 0 w 604637"/>
                  <a:gd name="connsiteY1" fmla="*/ 3342603 h 3342603"/>
                </a:gdLst>
                <a:ahLst/>
                <a:cxnLst>
                  <a:cxn ang="0">
                    <a:pos x="connsiteX0" y="connsiteY0"/>
                  </a:cxn>
                  <a:cxn ang="0">
                    <a:pos x="connsiteX1" y="connsiteY1"/>
                  </a:cxn>
                </a:cxnLst>
                <a:rect l="l" t="t" r="r" b="b"/>
                <a:pathLst>
                  <a:path w="604637" h="3342603">
                    <a:moveTo>
                      <a:pt x="604638" y="0"/>
                    </a:moveTo>
                    <a:lnTo>
                      <a:pt x="0" y="3342603"/>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8" name="Freeform: Shape 277">
                <a:extLst>
                  <a:ext uri="{FF2B5EF4-FFF2-40B4-BE49-F238E27FC236}">
                    <a16:creationId xmlns:a16="http://schemas.microsoft.com/office/drawing/2014/main" id="{3714337D-5009-031E-D184-C49783E10ED7}"/>
                  </a:ext>
                </a:extLst>
              </p:cNvPr>
              <p:cNvSpPr/>
              <p:nvPr/>
            </p:nvSpPr>
            <p:spPr>
              <a:xfrm>
                <a:off x="33002529" y="8893799"/>
                <a:ext cx="5135120" cy="1557146"/>
              </a:xfrm>
              <a:custGeom>
                <a:avLst/>
                <a:gdLst>
                  <a:gd name="connsiteX0" fmla="*/ 0 w 4700193"/>
                  <a:gd name="connsiteY0" fmla="*/ 0 h 1869190"/>
                  <a:gd name="connsiteX1" fmla="*/ 4700193 w 4700193"/>
                  <a:gd name="connsiteY1" fmla="*/ 1869190 h 1869190"/>
                </a:gdLst>
                <a:ahLst/>
                <a:cxnLst>
                  <a:cxn ang="0">
                    <a:pos x="connsiteX0" y="connsiteY0"/>
                  </a:cxn>
                  <a:cxn ang="0">
                    <a:pos x="connsiteX1" y="connsiteY1"/>
                  </a:cxn>
                </a:cxnLst>
                <a:rect l="l" t="t" r="r" b="b"/>
                <a:pathLst>
                  <a:path w="4700193" h="1869190">
                    <a:moveTo>
                      <a:pt x="0" y="0"/>
                    </a:moveTo>
                    <a:lnTo>
                      <a:pt x="4700193" y="1869190"/>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79" name="Freeform: Shape 278">
                <a:extLst>
                  <a:ext uri="{FF2B5EF4-FFF2-40B4-BE49-F238E27FC236}">
                    <a16:creationId xmlns:a16="http://schemas.microsoft.com/office/drawing/2014/main" id="{92D9F644-D0BD-0B5B-05EE-548EF8E1DB04}"/>
                  </a:ext>
                </a:extLst>
              </p:cNvPr>
              <p:cNvSpPr/>
              <p:nvPr/>
            </p:nvSpPr>
            <p:spPr>
              <a:xfrm>
                <a:off x="30376853" y="10961211"/>
                <a:ext cx="4618527" cy="482093"/>
              </a:xfrm>
              <a:custGeom>
                <a:avLst/>
                <a:gdLst>
                  <a:gd name="connsiteX0" fmla="*/ 0 w 2892155"/>
                  <a:gd name="connsiteY0" fmla="*/ 0 h 40922"/>
                  <a:gd name="connsiteX1" fmla="*/ 2892155 w 2892155"/>
                  <a:gd name="connsiteY1" fmla="*/ 40923 h 40922"/>
                </a:gdLst>
                <a:ahLst/>
                <a:cxnLst>
                  <a:cxn ang="0">
                    <a:pos x="connsiteX0" y="connsiteY0"/>
                  </a:cxn>
                  <a:cxn ang="0">
                    <a:pos x="connsiteX1" y="connsiteY1"/>
                  </a:cxn>
                </a:cxnLst>
                <a:rect l="l" t="t" r="r" b="b"/>
                <a:pathLst>
                  <a:path w="2892155" h="40922">
                    <a:moveTo>
                      <a:pt x="0" y="0"/>
                    </a:moveTo>
                    <a:lnTo>
                      <a:pt x="2892155" y="40923"/>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0" name="Freeform: Shape 279">
                <a:extLst>
                  <a:ext uri="{FF2B5EF4-FFF2-40B4-BE49-F238E27FC236}">
                    <a16:creationId xmlns:a16="http://schemas.microsoft.com/office/drawing/2014/main" id="{912FF4B7-1DE1-A505-1C92-D2DA4B3847AD}"/>
                  </a:ext>
                </a:extLst>
              </p:cNvPr>
              <p:cNvSpPr/>
              <p:nvPr/>
            </p:nvSpPr>
            <p:spPr>
              <a:xfrm>
                <a:off x="33002529" y="8893798"/>
                <a:ext cx="170935" cy="5153304"/>
              </a:xfrm>
              <a:custGeom>
                <a:avLst/>
                <a:gdLst>
                  <a:gd name="connsiteX0" fmla="*/ 0 w 159434"/>
                  <a:gd name="connsiteY0" fmla="*/ 0 h 4216761"/>
                  <a:gd name="connsiteX1" fmla="*/ 159435 w 159434"/>
                  <a:gd name="connsiteY1" fmla="*/ 4216762 h 4216761"/>
                </a:gdLst>
                <a:ahLst/>
                <a:cxnLst>
                  <a:cxn ang="0">
                    <a:pos x="connsiteX0" y="connsiteY0"/>
                  </a:cxn>
                  <a:cxn ang="0">
                    <a:pos x="connsiteX1" y="connsiteY1"/>
                  </a:cxn>
                </a:cxnLst>
                <a:rect l="l" t="t" r="r" b="b"/>
                <a:pathLst>
                  <a:path w="159434" h="4216761">
                    <a:moveTo>
                      <a:pt x="0" y="0"/>
                    </a:moveTo>
                    <a:lnTo>
                      <a:pt x="159435" y="4216762"/>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2EDB2D86-9828-7758-2312-6936ABFDA054}"/>
                  </a:ext>
                </a:extLst>
              </p:cNvPr>
              <p:cNvSpPr/>
              <p:nvPr/>
            </p:nvSpPr>
            <p:spPr>
              <a:xfrm>
                <a:off x="36452194" y="10450945"/>
                <a:ext cx="1685447" cy="3165222"/>
              </a:xfrm>
              <a:custGeom>
                <a:avLst/>
                <a:gdLst>
                  <a:gd name="connsiteX0" fmla="*/ 1897940 w 1897940"/>
                  <a:gd name="connsiteY0" fmla="*/ 0 h 2476212"/>
                  <a:gd name="connsiteX1" fmla="*/ 0 w 1897940"/>
                  <a:gd name="connsiteY1" fmla="*/ 2476213 h 2476212"/>
                </a:gdLst>
                <a:ahLst/>
                <a:cxnLst>
                  <a:cxn ang="0">
                    <a:pos x="connsiteX0" y="connsiteY0"/>
                  </a:cxn>
                  <a:cxn ang="0">
                    <a:pos x="connsiteX1" y="connsiteY1"/>
                  </a:cxn>
                </a:cxnLst>
                <a:rect l="l" t="t" r="r" b="b"/>
                <a:pathLst>
                  <a:path w="1897940" h="2476212">
                    <a:moveTo>
                      <a:pt x="1897940" y="0"/>
                    </a:moveTo>
                    <a:lnTo>
                      <a:pt x="0" y="2476213"/>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2" name="Freeform: Shape 281">
                <a:extLst>
                  <a:ext uri="{FF2B5EF4-FFF2-40B4-BE49-F238E27FC236}">
                    <a16:creationId xmlns:a16="http://schemas.microsoft.com/office/drawing/2014/main" id="{217ECB14-46E0-7F99-24EF-7D9B5FB9BFA0}"/>
                  </a:ext>
                </a:extLst>
              </p:cNvPr>
              <p:cNvSpPr/>
              <p:nvPr/>
            </p:nvSpPr>
            <p:spPr>
              <a:xfrm flipV="1">
                <a:off x="33173464" y="13622612"/>
                <a:ext cx="3278721" cy="424490"/>
              </a:xfrm>
              <a:custGeom>
                <a:avLst/>
                <a:gdLst>
                  <a:gd name="connsiteX0" fmla="*/ 0 w 2642818"/>
                  <a:gd name="connsiteY0" fmla="*/ 0 h 128641"/>
                  <a:gd name="connsiteX1" fmla="*/ 2642818 w 2642818"/>
                  <a:gd name="connsiteY1" fmla="*/ 128642 h 128641"/>
                </a:gdLst>
                <a:ahLst/>
                <a:cxnLst>
                  <a:cxn ang="0">
                    <a:pos x="connsiteX0" y="connsiteY0"/>
                  </a:cxn>
                  <a:cxn ang="0">
                    <a:pos x="connsiteX1" y="connsiteY1"/>
                  </a:cxn>
                </a:cxnLst>
                <a:rect l="l" t="t" r="r" b="b"/>
                <a:pathLst>
                  <a:path w="2642818" h="128641">
                    <a:moveTo>
                      <a:pt x="0" y="0"/>
                    </a:moveTo>
                    <a:lnTo>
                      <a:pt x="2642818" y="128642"/>
                    </a:lnTo>
                  </a:path>
                </a:pathLst>
              </a:cu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3" name="Freeform: Shape 282">
                <a:extLst>
                  <a:ext uri="{FF2B5EF4-FFF2-40B4-BE49-F238E27FC236}">
                    <a16:creationId xmlns:a16="http://schemas.microsoft.com/office/drawing/2014/main" id="{CAC6880E-6F4D-28D1-C168-9D308AC519E5}"/>
                  </a:ext>
                </a:extLst>
              </p:cNvPr>
              <p:cNvSpPr/>
              <p:nvPr/>
            </p:nvSpPr>
            <p:spPr>
              <a:xfrm>
                <a:off x="35643633" y="7302218"/>
                <a:ext cx="808560" cy="6313945"/>
              </a:xfrm>
              <a:custGeom>
                <a:avLst/>
                <a:gdLst>
                  <a:gd name="connsiteX0" fmla="*/ 0 w 338847"/>
                  <a:gd name="connsiteY0" fmla="*/ 0 h 5647735"/>
                  <a:gd name="connsiteX1" fmla="*/ 338848 w 338847"/>
                  <a:gd name="connsiteY1" fmla="*/ 5647736 h 5647735"/>
                </a:gdLst>
                <a:ahLst/>
                <a:cxnLst>
                  <a:cxn ang="0">
                    <a:pos x="connsiteX0" y="connsiteY0"/>
                  </a:cxn>
                  <a:cxn ang="0">
                    <a:pos x="connsiteX1" y="connsiteY1"/>
                  </a:cxn>
                </a:cxnLst>
                <a:rect l="l" t="t" r="r" b="b"/>
                <a:pathLst>
                  <a:path w="338847" h="5647735">
                    <a:moveTo>
                      <a:pt x="0" y="0"/>
                    </a:moveTo>
                    <a:lnTo>
                      <a:pt x="338848" y="5647736"/>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FE0C4EBB-E0AA-B2A6-CF40-6C0C5027FC3F}"/>
                  </a:ext>
                </a:extLst>
              </p:cNvPr>
              <p:cNvSpPr/>
              <p:nvPr/>
            </p:nvSpPr>
            <p:spPr>
              <a:xfrm>
                <a:off x="33173465" y="10437494"/>
                <a:ext cx="4964177" cy="3609607"/>
              </a:xfrm>
              <a:custGeom>
                <a:avLst/>
                <a:gdLst>
                  <a:gd name="connsiteX0" fmla="*/ 4540758 w 4540758"/>
                  <a:gd name="connsiteY0" fmla="*/ 0 h 2347571"/>
                  <a:gd name="connsiteX1" fmla="*/ 0 w 4540758"/>
                  <a:gd name="connsiteY1" fmla="*/ 2347571 h 2347571"/>
                </a:gdLst>
                <a:ahLst/>
                <a:cxnLst>
                  <a:cxn ang="0">
                    <a:pos x="connsiteX0" y="connsiteY0"/>
                  </a:cxn>
                  <a:cxn ang="0">
                    <a:pos x="connsiteX1" y="connsiteY1"/>
                  </a:cxn>
                </a:cxnLst>
                <a:rect l="l" t="t" r="r" b="b"/>
                <a:pathLst>
                  <a:path w="4540758" h="2347571">
                    <a:moveTo>
                      <a:pt x="4540758" y="0"/>
                    </a:moveTo>
                    <a:lnTo>
                      <a:pt x="0" y="2347571"/>
                    </a:lnTo>
                  </a:path>
                </a:pathLst>
              </a:custGeom>
              <a:ln w="9525" cap="flat">
                <a:solidFill>
                  <a:srgbClr val="FFFFFF">
                    <a:lumMod val="75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837"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215" name="Group 214">
              <a:extLst>
                <a:ext uri="{FF2B5EF4-FFF2-40B4-BE49-F238E27FC236}">
                  <a16:creationId xmlns:a16="http://schemas.microsoft.com/office/drawing/2014/main" id="{E56918EB-E0F1-DF16-DCAA-BAA21035ED07}"/>
                </a:ext>
              </a:extLst>
            </p:cNvPr>
            <p:cNvGrpSpPr/>
            <p:nvPr/>
          </p:nvGrpSpPr>
          <p:grpSpPr>
            <a:xfrm>
              <a:off x="10831278" y="3297220"/>
              <a:ext cx="735586" cy="735586"/>
              <a:chOff x="36782287" y="9539321"/>
              <a:chExt cx="1796350" cy="1796350"/>
            </a:xfrm>
          </p:grpSpPr>
          <p:sp>
            <p:nvSpPr>
              <p:cNvPr id="257" name="Box">
                <a:extLst>
                  <a:ext uri="{FF2B5EF4-FFF2-40B4-BE49-F238E27FC236}">
                    <a16:creationId xmlns:a16="http://schemas.microsoft.com/office/drawing/2014/main" id="{89AFC9E2-49C1-1804-6109-FF22D5BAC231}"/>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8" name="Graphic 82">
                <a:extLst>
                  <a:ext uri="{FF2B5EF4-FFF2-40B4-BE49-F238E27FC236}">
                    <a16:creationId xmlns:a16="http://schemas.microsoft.com/office/drawing/2014/main" id="{A550B340-9BBB-DE7E-DDFD-FFBDD3B1F5ED}"/>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6" name="Group 215">
              <a:extLst>
                <a:ext uri="{FF2B5EF4-FFF2-40B4-BE49-F238E27FC236}">
                  <a16:creationId xmlns:a16="http://schemas.microsoft.com/office/drawing/2014/main" id="{CA1323BF-DE59-4C2B-A62C-41CA014629DC}"/>
                </a:ext>
              </a:extLst>
            </p:cNvPr>
            <p:cNvGrpSpPr/>
            <p:nvPr/>
          </p:nvGrpSpPr>
          <p:grpSpPr>
            <a:xfrm>
              <a:off x="7655740" y="3509065"/>
              <a:ext cx="735586" cy="735586"/>
              <a:chOff x="36782287" y="9539321"/>
              <a:chExt cx="1796350" cy="1796350"/>
            </a:xfrm>
          </p:grpSpPr>
          <p:sp>
            <p:nvSpPr>
              <p:cNvPr id="255" name="Box">
                <a:extLst>
                  <a:ext uri="{FF2B5EF4-FFF2-40B4-BE49-F238E27FC236}">
                    <a16:creationId xmlns:a16="http://schemas.microsoft.com/office/drawing/2014/main" id="{93B2F540-D340-CC1B-6D4E-36103616D817}"/>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6" name="Graphic 82">
                <a:extLst>
                  <a:ext uri="{FF2B5EF4-FFF2-40B4-BE49-F238E27FC236}">
                    <a16:creationId xmlns:a16="http://schemas.microsoft.com/office/drawing/2014/main" id="{C5838C59-09DC-4E3E-43EA-177BCF47590C}"/>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7" name="Group 216">
              <a:extLst>
                <a:ext uri="{FF2B5EF4-FFF2-40B4-BE49-F238E27FC236}">
                  <a16:creationId xmlns:a16="http://schemas.microsoft.com/office/drawing/2014/main" id="{D0508DB9-8B25-285C-C474-56CC9887E0C2}"/>
                </a:ext>
              </a:extLst>
            </p:cNvPr>
            <p:cNvGrpSpPr/>
            <p:nvPr/>
          </p:nvGrpSpPr>
          <p:grpSpPr>
            <a:xfrm>
              <a:off x="9916430" y="2203106"/>
              <a:ext cx="516724" cy="516724"/>
              <a:chOff x="36782287" y="9539321"/>
              <a:chExt cx="1796350" cy="1796350"/>
            </a:xfrm>
          </p:grpSpPr>
          <p:sp>
            <p:nvSpPr>
              <p:cNvPr id="253" name="Box">
                <a:extLst>
                  <a:ext uri="{FF2B5EF4-FFF2-40B4-BE49-F238E27FC236}">
                    <a16:creationId xmlns:a16="http://schemas.microsoft.com/office/drawing/2014/main" id="{217881B3-EBC9-968F-1721-C9A60F2E4775}"/>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4" name="Graphic 82">
                <a:extLst>
                  <a:ext uri="{FF2B5EF4-FFF2-40B4-BE49-F238E27FC236}">
                    <a16:creationId xmlns:a16="http://schemas.microsoft.com/office/drawing/2014/main" id="{E5B02C3C-510F-B0F4-048A-6D7AF58380F6}"/>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8" name="Group 217">
              <a:extLst>
                <a:ext uri="{FF2B5EF4-FFF2-40B4-BE49-F238E27FC236}">
                  <a16:creationId xmlns:a16="http://schemas.microsoft.com/office/drawing/2014/main" id="{F8ACAFD5-5129-3146-7EB3-1FB549D22C7F}"/>
                </a:ext>
              </a:extLst>
            </p:cNvPr>
            <p:cNvGrpSpPr/>
            <p:nvPr/>
          </p:nvGrpSpPr>
          <p:grpSpPr>
            <a:xfrm>
              <a:off x="7850607" y="2053158"/>
              <a:ext cx="516724" cy="516724"/>
              <a:chOff x="36782287" y="9539321"/>
              <a:chExt cx="1796350" cy="1796350"/>
            </a:xfrm>
          </p:grpSpPr>
          <p:sp>
            <p:nvSpPr>
              <p:cNvPr id="251" name="Box">
                <a:extLst>
                  <a:ext uri="{FF2B5EF4-FFF2-40B4-BE49-F238E27FC236}">
                    <a16:creationId xmlns:a16="http://schemas.microsoft.com/office/drawing/2014/main" id="{34530F18-35A2-17AF-4612-FAEA10A36547}"/>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2" name="Graphic 82">
                <a:extLst>
                  <a:ext uri="{FF2B5EF4-FFF2-40B4-BE49-F238E27FC236}">
                    <a16:creationId xmlns:a16="http://schemas.microsoft.com/office/drawing/2014/main" id="{04155460-66A3-A9F5-887C-090DF882759F}"/>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19" name="Group 218">
              <a:extLst>
                <a:ext uri="{FF2B5EF4-FFF2-40B4-BE49-F238E27FC236}">
                  <a16:creationId xmlns:a16="http://schemas.microsoft.com/office/drawing/2014/main" id="{1119CC84-A173-A508-9BF6-46C320C8178A}"/>
                </a:ext>
              </a:extLst>
            </p:cNvPr>
            <p:cNvGrpSpPr/>
            <p:nvPr/>
          </p:nvGrpSpPr>
          <p:grpSpPr>
            <a:xfrm>
              <a:off x="8906873" y="4866174"/>
              <a:ext cx="516724" cy="516724"/>
              <a:chOff x="36782287" y="9539321"/>
              <a:chExt cx="1796350" cy="1796350"/>
            </a:xfrm>
          </p:grpSpPr>
          <p:sp>
            <p:nvSpPr>
              <p:cNvPr id="249" name="Box">
                <a:extLst>
                  <a:ext uri="{FF2B5EF4-FFF2-40B4-BE49-F238E27FC236}">
                    <a16:creationId xmlns:a16="http://schemas.microsoft.com/office/drawing/2014/main" id="{FF52B427-CBD6-3B34-6D05-D00E1AD62316}"/>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50" name="Graphic 82">
                <a:extLst>
                  <a:ext uri="{FF2B5EF4-FFF2-40B4-BE49-F238E27FC236}">
                    <a16:creationId xmlns:a16="http://schemas.microsoft.com/office/drawing/2014/main" id="{E08FE051-482F-F6D8-AB9E-EADA30F819F4}"/>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0" name="Group 219">
              <a:extLst>
                <a:ext uri="{FF2B5EF4-FFF2-40B4-BE49-F238E27FC236}">
                  <a16:creationId xmlns:a16="http://schemas.microsoft.com/office/drawing/2014/main" id="{52DE8113-7D0B-568C-7090-3DC63D71D173}"/>
                </a:ext>
              </a:extLst>
            </p:cNvPr>
            <p:cNvGrpSpPr/>
            <p:nvPr/>
          </p:nvGrpSpPr>
          <p:grpSpPr>
            <a:xfrm>
              <a:off x="9752437" y="3901841"/>
              <a:ext cx="310783" cy="310783"/>
              <a:chOff x="36782287" y="9539321"/>
              <a:chExt cx="1796350" cy="1796350"/>
            </a:xfrm>
          </p:grpSpPr>
          <p:sp>
            <p:nvSpPr>
              <p:cNvPr id="247" name="Box">
                <a:extLst>
                  <a:ext uri="{FF2B5EF4-FFF2-40B4-BE49-F238E27FC236}">
                    <a16:creationId xmlns:a16="http://schemas.microsoft.com/office/drawing/2014/main" id="{1D20F63B-C955-7C92-5F17-43903DB720BE}"/>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8" name="Graphic 82">
                <a:extLst>
                  <a:ext uri="{FF2B5EF4-FFF2-40B4-BE49-F238E27FC236}">
                    <a16:creationId xmlns:a16="http://schemas.microsoft.com/office/drawing/2014/main" id="{BD045A44-CFDD-C955-C995-E2260E859CE4}"/>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1" name="Group 220">
              <a:extLst>
                <a:ext uri="{FF2B5EF4-FFF2-40B4-BE49-F238E27FC236}">
                  <a16:creationId xmlns:a16="http://schemas.microsoft.com/office/drawing/2014/main" id="{5401A923-F379-A876-53B2-FA77FFB454D7}"/>
                </a:ext>
              </a:extLst>
            </p:cNvPr>
            <p:cNvGrpSpPr/>
            <p:nvPr/>
          </p:nvGrpSpPr>
          <p:grpSpPr>
            <a:xfrm>
              <a:off x="8936024" y="2879113"/>
              <a:ext cx="310783" cy="310783"/>
              <a:chOff x="36782287" y="9539321"/>
              <a:chExt cx="1796350" cy="1796350"/>
            </a:xfrm>
          </p:grpSpPr>
          <p:sp>
            <p:nvSpPr>
              <p:cNvPr id="245" name="Box">
                <a:extLst>
                  <a:ext uri="{FF2B5EF4-FFF2-40B4-BE49-F238E27FC236}">
                    <a16:creationId xmlns:a16="http://schemas.microsoft.com/office/drawing/2014/main" id="{5636ECD1-7FBB-CB7F-4251-ADE592BC2D59}"/>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6" name="Graphic 82">
                <a:extLst>
                  <a:ext uri="{FF2B5EF4-FFF2-40B4-BE49-F238E27FC236}">
                    <a16:creationId xmlns:a16="http://schemas.microsoft.com/office/drawing/2014/main" id="{DB783FFA-9F06-B960-5C92-1354B00FDABE}"/>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2" name="Group 221">
              <a:extLst>
                <a:ext uri="{FF2B5EF4-FFF2-40B4-BE49-F238E27FC236}">
                  <a16:creationId xmlns:a16="http://schemas.microsoft.com/office/drawing/2014/main" id="{744F421E-3A21-F054-5106-197A37CC7751}"/>
                </a:ext>
              </a:extLst>
            </p:cNvPr>
            <p:cNvGrpSpPr/>
            <p:nvPr/>
          </p:nvGrpSpPr>
          <p:grpSpPr>
            <a:xfrm>
              <a:off x="7712484" y="4957141"/>
              <a:ext cx="310783" cy="310783"/>
              <a:chOff x="36782287" y="9539321"/>
              <a:chExt cx="1796350" cy="1796350"/>
            </a:xfrm>
          </p:grpSpPr>
          <p:sp>
            <p:nvSpPr>
              <p:cNvPr id="243" name="Box">
                <a:extLst>
                  <a:ext uri="{FF2B5EF4-FFF2-40B4-BE49-F238E27FC236}">
                    <a16:creationId xmlns:a16="http://schemas.microsoft.com/office/drawing/2014/main" id="{8A0D466A-EC9B-D008-FD8D-FCB023F8D48F}"/>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4" name="Graphic 82">
                <a:extLst>
                  <a:ext uri="{FF2B5EF4-FFF2-40B4-BE49-F238E27FC236}">
                    <a16:creationId xmlns:a16="http://schemas.microsoft.com/office/drawing/2014/main" id="{014EF9BB-59CD-C045-29D5-B273E7709D9C}"/>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223" name="Group 222">
              <a:extLst>
                <a:ext uri="{FF2B5EF4-FFF2-40B4-BE49-F238E27FC236}">
                  <a16:creationId xmlns:a16="http://schemas.microsoft.com/office/drawing/2014/main" id="{674563D1-9851-0BB0-7055-3A30A0534175}"/>
                </a:ext>
              </a:extLst>
            </p:cNvPr>
            <p:cNvGrpSpPr/>
            <p:nvPr/>
          </p:nvGrpSpPr>
          <p:grpSpPr>
            <a:xfrm>
              <a:off x="10354181" y="4810572"/>
              <a:ext cx="310783" cy="310783"/>
              <a:chOff x="36782287" y="9539321"/>
              <a:chExt cx="1796350" cy="1796350"/>
            </a:xfrm>
          </p:grpSpPr>
          <p:sp>
            <p:nvSpPr>
              <p:cNvPr id="241" name="Box">
                <a:extLst>
                  <a:ext uri="{FF2B5EF4-FFF2-40B4-BE49-F238E27FC236}">
                    <a16:creationId xmlns:a16="http://schemas.microsoft.com/office/drawing/2014/main" id="{8FD48531-4941-DD8A-8AE8-E9F364E27CED}"/>
                  </a:ext>
                </a:extLst>
              </p:cNvPr>
              <p:cNvSpPr>
                <a:spLocks noChangeAspect="1"/>
              </p:cNvSpPr>
              <p:nvPr/>
            </p:nvSpPr>
            <p:spPr bwMode="auto">
              <a:xfrm>
                <a:off x="36782287" y="9539321"/>
                <a:ext cx="1796350" cy="179635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42" name="Graphic 82">
                <a:extLst>
                  <a:ext uri="{FF2B5EF4-FFF2-40B4-BE49-F238E27FC236}">
                    <a16:creationId xmlns:a16="http://schemas.microsoft.com/office/drawing/2014/main" id="{9399DFD0-771D-42BF-D4C9-61714AB7A934}"/>
                  </a:ext>
                </a:extLst>
              </p:cNvPr>
              <p:cNvSpPr>
                <a:spLocks noChangeAspect="1"/>
              </p:cNvSpPr>
              <p:nvPr/>
            </p:nvSpPr>
            <p:spPr>
              <a:xfrm>
                <a:off x="37354531" y="10078219"/>
                <a:ext cx="651862" cy="704649"/>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sp>
          <p:nvSpPr>
            <p:cNvPr id="224" name="CS box - replacement">
              <a:extLst>
                <a:ext uri="{FF2B5EF4-FFF2-40B4-BE49-F238E27FC236}">
                  <a16:creationId xmlns:a16="http://schemas.microsoft.com/office/drawing/2014/main" id="{D452B0C9-C858-A066-44B7-679FE0BB4791}"/>
                </a:ext>
              </a:extLst>
            </p:cNvPr>
            <p:cNvSpPr>
              <a:spLocks noChangeAspect="1"/>
            </p:cNvSpPr>
            <p:nvPr/>
          </p:nvSpPr>
          <p:spPr bwMode="auto">
            <a:xfrm>
              <a:off x="4665279" y="2242941"/>
              <a:ext cx="2821325" cy="2821325"/>
            </a:xfrm>
            <a:prstGeom prst="roundRect">
              <a:avLst>
                <a:gd name="adj" fmla="val 6704"/>
              </a:avLst>
            </a:prstGeom>
            <a:solidFill>
              <a:srgbClr val="0078D4">
                <a:lumMod val="20000"/>
                <a:lumOff val="80000"/>
              </a:srgbClr>
            </a:solidFill>
            <a:ln w="19050" cap="flat" cmpd="sng" algn="ctr">
              <a:noFill/>
              <a:prstDash val="solid"/>
              <a:headEnd type="none" w="med" len="med"/>
              <a:tailEnd type="none" w="med" len="med"/>
            </a:ln>
            <a:effectLst/>
            <a:scene3d>
              <a:camera prst="isometricOffAxis1Left">
                <a:rot lat="1080000" lon="3000000" rev="0"/>
              </a:camera>
              <a:lightRig rig="threePt" dir="t"/>
            </a:scene3d>
          </p:spPr>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1693"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26" name="Copilot Box - replacement">
              <a:extLst>
                <a:ext uri="{FF2B5EF4-FFF2-40B4-BE49-F238E27FC236}">
                  <a16:creationId xmlns:a16="http://schemas.microsoft.com/office/drawing/2014/main" id="{B1DBE6D4-5AE9-01D3-110D-1AFA924FCA18}"/>
                </a:ext>
              </a:extLst>
            </p:cNvPr>
            <p:cNvSpPr>
              <a:spLocks noChangeAspect="1"/>
            </p:cNvSpPr>
            <p:nvPr/>
          </p:nvSpPr>
          <p:spPr bwMode="auto">
            <a:xfrm>
              <a:off x="3355539" y="2241008"/>
              <a:ext cx="2823258" cy="2823258"/>
            </a:xfrm>
            <a:prstGeom prst="roundRect">
              <a:avLst>
                <a:gd name="adj" fmla="val 6703"/>
              </a:avLst>
            </a:prstGeom>
            <a:gradFill flip="none" rotWithShape="1">
              <a:gsLst>
                <a:gs pos="0">
                  <a:srgbClr val="C03BC4"/>
                </a:gs>
                <a:gs pos="80000">
                  <a:srgbClr val="0078D4"/>
                </a:gs>
              </a:gsLst>
              <a:path path="circle">
                <a:fillToRect l="100000" t="100000"/>
              </a:path>
              <a:tileRect r="-100000" b="-100000"/>
            </a:gradFill>
            <a:ln w="19050" cap="flat" cmpd="sng" algn="ctr">
              <a:noFill/>
              <a:prstDash val="solid"/>
              <a:headEnd type="none" w="med" len="med"/>
              <a:tailEnd type="none" w="med" len="med"/>
            </a:ln>
            <a:effectLst/>
            <a:scene3d>
              <a:camera prst="orthographicFront">
                <a:rot lat="1080000" lon="3000000" rev="0"/>
              </a:camera>
              <a:lightRig rig="threePt" dir="t"/>
            </a:scene3d>
          </p:spPr>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27" name="Copilot logo - replacement">
              <a:extLst>
                <a:ext uri="{FF2B5EF4-FFF2-40B4-BE49-F238E27FC236}">
                  <a16:creationId xmlns:a16="http://schemas.microsoft.com/office/drawing/2014/main" id="{D6D607D8-EB59-EC23-6362-5E490562533E}"/>
                </a:ext>
              </a:extLst>
            </p:cNvPr>
            <p:cNvSpPr>
              <a:spLocks noChangeAspect="1"/>
            </p:cNvSpPr>
            <p:nvPr/>
          </p:nvSpPr>
          <p:spPr>
            <a:xfrm>
              <a:off x="4268330" y="3215170"/>
              <a:ext cx="997676" cy="874934"/>
            </a:xfrm>
            <a:custGeom>
              <a:avLst/>
              <a:gdLst>
                <a:gd name="connsiteX0" fmla="*/ 1532660 w 1573156"/>
                <a:gd name="connsiteY0" fmla="*/ 437600 h 1379613"/>
                <a:gd name="connsiteX1" fmla="*/ 1344698 w 1573156"/>
                <a:gd name="connsiteY1" fmla="*/ 358303 h 1379613"/>
                <a:gd name="connsiteX2" fmla="*/ 1312392 w 1573156"/>
                <a:gd name="connsiteY2" fmla="*/ 358303 h 1379613"/>
                <a:gd name="connsiteX3" fmla="*/ 1299910 w 1573156"/>
                <a:gd name="connsiteY3" fmla="*/ 356100 h 1379613"/>
                <a:gd name="connsiteX4" fmla="*/ 1170686 w 1573156"/>
                <a:gd name="connsiteY4" fmla="*/ 213660 h 1379613"/>
                <a:gd name="connsiteX5" fmla="*/ 940139 w 1573156"/>
                <a:gd name="connsiteY5" fmla="*/ 0 h 1379613"/>
                <a:gd name="connsiteX6" fmla="*/ 438662 w 1573156"/>
                <a:gd name="connsiteY6" fmla="*/ 0 h 1379613"/>
                <a:gd name="connsiteX7" fmla="*/ 82562 w 1573156"/>
                <a:gd name="connsiteY7" fmla="*/ 422915 h 1379613"/>
                <a:gd name="connsiteX8" fmla="*/ 40711 w 1573156"/>
                <a:gd name="connsiteY8" fmla="*/ 942014 h 1379613"/>
                <a:gd name="connsiteX9" fmla="*/ 228673 w 1573156"/>
                <a:gd name="connsiteY9" fmla="*/ 1021310 h 1379613"/>
                <a:gd name="connsiteX10" fmla="*/ 260979 w 1573156"/>
                <a:gd name="connsiteY10" fmla="*/ 1021310 h 1379613"/>
                <a:gd name="connsiteX11" fmla="*/ 273461 w 1573156"/>
                <a:gd name="connsiteY11" fmla="*/ 1023513 h 1379613"/>
                <a:gd name="connsiteX12" fmla="*/ 402685 w 1573156"/>
                <a:gd name="connsiteY12" fmla="*/ 1165953 h 1379613"/>
                <a:gd name="connsiteX13" fmla="*/ 633232 w 1573156"/>
                <a:gd name="connsiteY13" fmla="*/ 1379613 h 1379613"/>
                <a:gd name="connsiteX14" fmla="*/ 1134709 w 1573156"/>
                <a:gd name="connsiteY14" fmla="*/ 1379613 h 1379613"/>
                <a:gd name="connsiteX15" fmla="*/ 1490809 w 1573156"/>
                <a:gd name="connsiteY15" fmla="*/ 956698 h 1379613"/>
                <a:gd name="connsiteX16" fmla="*/ 1531926 w 1573156"/>
                <a:gd name="connsiteY16" fmla="*/ 437600 h 1379613"/>
                <a:gd name="connsiteX17" fmla="*/ 940139 w 1573156"/>
                <a:gd name="connsiteY17" fmla="*/ 71954 h 1379613"/>
                <a:gd name="connsiteX18" fmla="*/ 1101669 w 1573156"/>
                <a:gd name="connsiteY18" fmla="*/ 233484 h 1379613"/>
                <a:gd name="connsiteX19" fmla="*/ 1151596 w 1573156"/>
                <a:gd name="connsiteY19" fmla="*/ 356100 h 1379613"/>
                <a:gd name="connsiteX20" fmla="*/ 882869 w 1573156"/>
                <a:gd name="connsiteY20" fmla="*/ 356100 h 1379613"/>
                <a:gd name="connsiteX21" fmla="*/ 754379 w 1573156"/>
                <a:gd name="connsiteY21" fmla="*/ 389141 h 1379613"/>
                <a:gd name="connsiteX22" fmla="*/ 775672 w 1573156"/>
                <a:gd name="connsiteY22" fmla="*/ 322326 h 1379613"/>
                <a:gd name="connsiteX23" fmla="*/ 778609 w 1573156"/>
                <a:gd name="connsiteY23" fmla="*/ 312781 h 1379613"/>
                <a:gd name="connsiteX24" fmla="*/ 861577 w 1573156"/>
                <a:gd name="connsiteY24" fmla="*/ 110134 h 1379613"/>
                <a:gd name="connsiteX25" fmla="*/ 939405 w 1573156"/>
                <a:gd name="connsiteY25" fmla="*/ 72689 h 1379613"/>
                <a:gd name="connsiteX26" fmla="*/ 1030449 w 1573156"/>
                <a:gd name="connsiteY26" fmla="*/ 428055 h 1379613"/>
                <a:gd name="connsiteX27" fmla="*/ 957760 w 1573156"/>
                <a:gd name="connsiteY27" fmla="*/ 541860 h 1379613"/>
                <a:gd name="connsiteX28" fmla="*/ 890211 w 1573156"/>
                <a:gd name="connsiteY28" fmla="*/ 762128 h 1379613"/>
                <a:gd name="connsiteX29" fmla="*/ 871856 w 1573156"/>
                <a:gd name="connsiteY29" fmla="*/ 820132 h 1379613"/>
                <a:gd name="connsiteX30" fmla="*/ 690502 w 1573156"/>
                <a:gd name="connsiteY30" fmla="*/ 951559 h 1379613"/>
                <a:gd name="connsiteX31" fmla="*/ 542922 w 1573156"/>
                <a:gd name="connsiteY31" fmla="*/ 951559 h 1379613"/>
                <a:gd name="connsiteX32" fmla="*/ 615610 w 1573156"/>
                <a:gd name="connsiteY32" fmla="*/ 837753 h 1379613"/>
                <a:gd name="connsiteX33" fmla="*/ 683159 w 1573156"/>
                <a:gd name="connsiteY33" fmla="*/ 617485 h 1379613"/>
                <a:gd name="connsiteX34" fmla="*/ 701515 w 1573156"/>
                <a:gd name="connsiteY34" fmla="*/ 559481 h 1379613"/>
                <a:gd name="connsiteX35" fmla="*/ 882869 w 1573156"/>
                <a:gd name="connsiteY35" fmla="*/ 428055 h 1379613"/>
                <a:gd name="connsiteX36" fmla="*/ 1030449 w 1573156"/>
                <a:gd name="connsiteY36" fmla="*/ 428055 h 1379613"/>
                <a:gd name="connsiteX37" fmla="*/ 99449 w 1573156"/>
                <a:gd name="connsiteY37" fmla="*/ 899429 h 1379613"/>
                <a:gd name="connsiteX38" fmla="*/ 150845 w 1573156"/>
                <a:gd name="connsiteY38" fmla="*/ 444942 h 1379613"/>
                <a:gd name="connsiteX39" fmla="*/ 438662 w 1573156"/>
                <a:gd name="connsiteY39" fmla="*/ 71954 h 1379613"/>
                <a:gd name="connsiteX40" fmla="*/ 800636 w 1573156"/>
                <a:gd name="connsiteY40" fmla="*/ 71954 h 1379613"/>
                <a:gd name="connsiteX41" fmla="*/ 710326 w 1573156"/>
                <a:gd name="connsiteY41" fmla="*/ 290754 h 1379613"/>
                <a:gd name="connsiteX42" fmla="*/ 707389 w 1573156"/>
                <a:gd name="connsiteY42" fmla="*/ 300299 h 1379613"/>
                <a:gd name="connsiteX43" fmla="*/ 614876 w 1573156"/>
                <a:gd name="connsiteY43" fmla="*/ 596193 h 1379613"/>
                <a:gd name="connsiteX44" fmla="*/ 611205 w 1573156"/>
                <a:gd name="connsiteY44" fmla="*/ 608675 h 1379613"/>
                <a:gd name="connsiteX45" fmla="*/ 611205 w 1573156"/>
                <a:gd name="connsiteY45" fmla="*/ 610143 h 1379613"/>
                <a:gd name="connsiteX46" fmla="*/ 548062 w 1573156"/>
                <a:gd name="connsiteY46" fmla="*/ 816461 h 1379613"/>
                <a:gd name="connsiteX47" fmla="*/ 365973 w 1573156"/>
                <a:gd name="connsiteY47" fmla="*/ 948622 h 1379613"/>
                <a:gd name="connsiteX48" fmla="*/ 229407 w 1573156"/>
                <a:gd name="connsiteY48" fmla="*/ 948622 h 1379613"/>
                <a:gd name="connsiteX49" fmla="*/ 99449 w 1573156"/>
                <a:gd name="connsiteY49" fmla="*/ 899429 h 1379613"/>
                <a:gd name="connsiteX50" fmla="*/ 633966 w 1573156"/>
                <a:gd name="connsiteY50" fmla="*/ 1307659 h 1379613"/>
                <a:gd name="connsiteX51" fmla="*/ 472436 w 1573156"/>
                <a:gd name="connsiteY51" fmla="*/ 1146129 h 1379613"/>
                <a:gd name="connsiteX52" fmla="*/ 422509 w 1573156"/>
                <a:gd name="connsiteY52" fmla="*/ 1023513 h 1379613"/>
                <a:gd name="connsiteX53" fmla="*/ 691236 w 1573156"/>
                <a:gd name="connsiteY53" fmla="*/ 1023513 h 1379613"/>
                <a:gd name="connsiteX54" fmla="*/ 819726 w 1573156"/>
                <a:gd name="connsiteY54" fmla="*/ 990473 h 1379613"/>
                <a:gd name="connsiteX55" fmla="*/ 798433 w 1573156"/>
                <a:gd name="connsiteY55" fmla="*/ 1057287 h 1379613"/>
                <a:gd name="connsiteX56" fmla="*/ 795496 w 1573156"/>
                <a:gd name="connsiteY56" fmla="*/ 1066098 h 1379613"/>
                <a:gd name="connsiteX57" fmla="*/ 711794 w 1573156"/>
                <a:gd name="connsiteY57" fmla="*/ 1269479 h 1379613"/>
                <a:gd name="connsiteX58" fmla="*/ 633966 w 1573156"/>
                <a:gd name="connsiteY58" fmla="*/ 1306925 h 1379613"/>
                <a:gd name="connsiteX59" fmla="*/ 1423260 w 1573156"/>
                <a:gd name="connsiteY59" fmla="*/ 934671 h 1379613"/>
                <a:gd name="connsiteX60" fmla="*/ 1135443 w 1573156"/>
                <a:gd name="connsiteY60" fmla="*/ 1307659 h 1379613"/>
                <a:gd name="connsiteX61" fmla="*/ 773469 w 1573156"/>
                <a:gd name="connsiteY61" fmla="*/ 1307659 h 1379613"/>
                <a:gd name="connsiteX62" fmla="*/ 863779 w 1573156"/>
                <a:gd name="connsiteY62" fmla="*/ 1088859 h 1379613"/>
                <a:gd name="connsiteX63" fmla="*/ 866716 w 1573156"/>
                <a:gd name="connsiteY63" fmla="*/ 1080049 h 1379613"/>
                <a:gd name="connsiteX64" fmla="*/ 959229 w 1573156"/>
                <a:gd name="connsiteY64" fmla="*/ 784155 h 1379613"/>
                <a:gd name="connsiteX65" fmla="*/ 962900 w 1573156"/>
                <a:gd name="connsiteY65" fmla="*/ 771673 h 1379613"/>
                <a:gd name="connsiteX66" fmla="*/ 962900 w 1573156"/>
                <a:gd name="connsiteY66" fmla="*/ 770205 h 1379613"/>
                <a:gd name="connsiteX67" fmla="*/ 1026778 w 1573156"/>
                <a:gd name="connsiteY67" fmla="*/ 563887 h 1379613"/>
                <a:gd name="connsiteX68" fmla="*/ 1208132 w 1573156"/>
                <a:gd name="connsiteY68" fmla="*/ 431726 h 1379613"/>
                <a:gd name="connsiteX69" fmla="*/ 1344698 w 1573156"/>
                <a:gd name="connsiteY69" fmla="*/ 431726 h 1379613"/>
                <a:gd name="connsiteX70" fmla="*/ 1474656 w 1573156"/>
                <a:gd name="connsiteY70" fmla="*/ 480919 h 1379613"/>
                <a:gd name="connsiteX71" fmla="*/ 1423260 w 1573156"/>
                <a:gd name="connsiteY71" fmla="*/ 935406 h 137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73156" h="1379613">
                  <a:moveTo>
                    <a:pt x="1532660" y="437600"/>
                  </a:moveTo>
                  <a:cubicBezTo>
                    <a:pt x="1494480" y="385469"/>
                    <a:pt x="1431337" y="358303"/>
                    <a:pt x="1344698" y="358303"/>
                  </a:cubicBezTo>
                  <a:lnTo>
                    <a:pt x="1312392" y="358303"/>
                  </a:lnTo>
                  <a:cubicBezTo>
                    <a:pt x="1308721" y="356835"/>
                    <a:pt x="1304316" y="356100"/>
                    <a:pt x="1299910" y="356100"/>
                  </a:cubicBezTo>
                  <a:cubicBezTo>
                    <a:pt x="1215474" y="356100"/>
                    <a:pt x="1197853" y="306907"/>
                    <a:pt x="1170686" y="213660"/>
                  </a:cubicBezTo>
                  <a:cubicBezTo>
                    <a:pt x="1144988" y="123350"/>
                    <a:pt x="1109745" y="0"/>
                    <a:pt x="940139" y="0"/>
                  </a:cubicBezTo>
                  <a:lnTo>
                    <a:pt x="438662" y="0"/>
                  </a:lnTo>
                  <a:cubicBezTo>
                    <a:pt x="242623" y="0"/>
                    <a:pt x="141300" y="241561"/>
                    <a:pt x="82562" y="422915"/>
                  </a:cubicBezTo>
                  <a:cubicBezTo>
                    <a:pt x="25292" y="600598"/>
                    <a:pt x="-46662" y="821600"/>
                    <a:pt x="40711" y="942014"/>
                  </a:cubicBezTo>
                  <a:cubicBezTo>
                    <a:pt x="78890" y="994144"/>
                    <a:pt x="142034" y="1021310"/>
                    <a:pt x="228673" y="1021310"/>
                  </a:cubicBezTo>
                  <a:lnTo>
                    <a:pt x="260979" y="1021310"/>
                  </a:lnTo>
                  <a:cubicBezTo>
                    <a:pt x="264650" y="1022779"/>
                    <a:pt x="269055" y="1023513"/>
                    <a:pt x="273461" y="1023513"/>
                  </a:cubicBezTo>
                  <a:cubicBezTo>
                    <a:pt x="357897" y="1023513"/>
                    <a:pt x="375518" y="1072706"/>
                    <a:pt x="402685" y="1165953"/>
                  </a:cubicBezTo>
                  <a:cubicBezTo>
                    <a:pt x="428383" y="1256263"/>
                    <a:pt x="463625" y="1379613"/>
                    <a:pt x="633232" y="1379613"/>
                  </a:cubicBezTo>
                  <a:lnTo>
                    <a:pt x="1134709" y="1379613"/>
                  </a:lnTo>
                  <a:cubicBezTo>
                    <a:pt x="1331482" y="1379613"/>
                    <a:pt x="1432071" y="1138052"/>
                    <a:pt x="1490809" y="956698"/>
                  </a:cubicBezTo>
                  <a:cubicBezTo>
                    <a:pt x="1548079" y="779015"/>
                    <a:pt x="1620033" y="558013"/>
                    <a:pt x="1531926" y="437600"/>
                  </a:cubicBezTo>
                  <a:close/>
                  <a:moveTo>
                    <a:pt x="940139" y="71954"/>
                  </a:moveTo>
                  <a:cubicBezTo>
                    <a:pt x="1050273" y="71954"/>
                    <a:pt x="1073034" y="132895"/>
                    <a:pt x="1101669" y="233484"/>
                  </a:cubicBezTo>
                  <a:cubicBezTo>
                    <a:pt x="1113416" y="273867"/>
                    <a:pt x="1126633" y="319389"/>
                    <a:pt x="1151596" y="356100"/>
                  </a:cubicBezTo>
                  <a:lnTo>
                    <a:pt x="882869" y="356100"/>
                  </a:lnTo>
                  <a:cubicBezTo>
                    <a:pt x="836613" y="356100"/>
                    <a:pt x="792559" y="367848"/>
                    <a:pt x="754379" y="389141"/>
                  </a:cubicBezTo>
                  <a:cubicBezTo>
                    <a:pt x="761722" y="366379"/>
                    <a:pt x="768330" y="343618"/>
                    <a:pt x="775672" y="322326"/>
                  </a:cubicBezTo>
                  <a:lnTo>
                    <a:pt x="778609" y="312781"/>
                  </a:lnTo>
                  <a:cubicBezTo>
                    <a:pt x="805775" y="226876"/>
                    <a:pt x="829271" y="153454"/>
                    <a:pt x="861577" y="110134"/>
                  </a:cubicBezTo>
                  <a:cubicBezTo>
                    <a:pt x="874793" y="93247"/>
                    <a:pt x="898288" y="72689"/>
                    <a:pt x="939405" y="72689"/>
                  </a:cubicBezTo>
                  <a:close/>
                  <a:moveTo>
                    <a:pt x="1030449" y="428055"/>
                  </a:moveTo>
                  <a:cubicBezTo>
                    <a:pt x="997409" y="458158"/>
                    <a:pt x="971711" y="497072"/>
                    <a:pt x="957760" y="541860"/>
                  </a:cubicBezTo>
                  <a:cubicBezTo>
                    <a:pt x="938670" y="605003"/>
                    <a:pt x="915175" y="681363"/>
                    <a:pt x="890211" y="762128"/>
                  </a:cubicBezTo>
                  <a:lnTo>
                    <a:pt x="871856" y="820132"/>
                  </a:lnTo>
                  <a:cubicBezTo>
                    <a:pt x="847626" y="898694"/>
                    <a:pt x="774204" y="951559"/>
                    <a:pt x="690502" y="951559"/>
                  </a:cubicBezTo>
                  <a:lnTo>
                    <a:pt x="542922" y="951559"/>
                  </a:lnTo>
                  <a:cubicBezTo>
                    <a:pt x="575962" y="921455"/>
                    <a:pt x="601660" y="882541"/>
                    <a:pt x="615610" y="837753"/>
                  </a:cubicBezTo>
                  <a:cubicBezTo>
                    <a:pt x="634700" y="774610"/>
                    <a:pt x="658196" y="697516"/>
                    <a:pt x="683159" y="617485"/>
                  </a:cubicBezTo>
                  <a:lnTo>
                    <a:pt x="701515" y="559481"/>
                  </a:lnTo>
                  <a:cubicBezTo>
                    <a:pt x="725745" y="480919"/>
                    <a:pt x="799167" y="428055"/>
                    <a:pt x="882869" y="428055"/>
                  </a:cubicBezTo>
                  <a:lnTo>
                    <a:pt x="1030449" y="428055"/>
                  </a:lnTo>
                  <a:close/>
                  <a:moveTo>
                    <a:pt x="99449" y="899429"/>
                  </a:moveTo>
                  <a:cubicBezTo>
                    <a:pt x="33368" y="808384"/>
                    <a:pt x="101651" y="598395"/>
                    <a:pt x="150845" y="444942"/>
                  </a:cubicBezTo>
                  <a:cubicBezTo>
                    <a:pt x="232344" y="193836"/>
                    <a:pt x="326325" y="71954"/>
                    <a:pt x="438662" y="71954"/>
                  </a:cubicBezTo>
                  <a:lnTo>
                    <a:pt x="800636" y="71954"/>
                  </a:lnTo>
                  <a:cubicBezTo>
                    <a:pt x="763190" y="124819"/>
                    <a:pt x="738226" y="201913"/>
                    <a:pt x="710326" y="290754"/>
                  </a:cubicBezTo>
                  <a:lnTo>
                    <a:pt x="707389" y="300299"/>
                  </a:lnTo>
                  <a:cubicBezTo>
                    <a:pt x="678754" y="391343"/>
                    <a:pt x="645714" y="496338"/>
                    <a:pt x="614876" y="596193"/>
                  </a:cubicBezTo>
                  <a:lnTo>
                    <a:pt x="611205" y="608675"/>
                  </a:lnTo>
                  <a:cubicBezTo>
                    <a:pt x="611205" y="608675"/>
                    <a:pt x="611205" y="609409"/>
                    <a:pt x="611205" y="610143"/>
                  </a:cubicBezTo>
                  <a:cubicBezTo>
                    <a:pt x="587710" y="685034"/>
                    <a:pt x="565683" y="756988"/>
                    <a:pt x="548062" y="816461"/>
                  </a:cubicBezTo>
                  <a:cubicBezTo>
                    <a:pt x="523832" y="895757"/>
                    <a:pt x="450409" y="948622"/>
                    <a:pt x="365973" y="948622"/>
                  </a:cubicBezTo>
                  <a:lnTo>
                    <a:pt x="229407" y="948622"/>
                  </a:lnTo>
                  <a:cubicBezTo>
                    <a:pt x="166263" y="948622"/>
                    <a:pt x="123678" y="932469"/>
                    <a:pt x="99449" y="899429"/>
                  </a:cubicBezTo>
                  <a:close/>
                  <a:moveTo>
                    <a:pt x="633966" y="1307659"/>
                  </a:moveTo>
                  <a:cubicBezTo>
                    <a:pt x="523832" y="1307659"/>
                    <a:pt x="501071" y="1246718"/>
                    <a:pt x="472436" y="1146129"/>
                  </a:cubicBezTo>
                  <a:cubicBezTo>
                    <a:pt x="460689" y="1105747"/>
                    <a:pt x="447472" y="1060224"/>
                    <a:pt x="422509" y="1023513"/>
                  </a:cubicBezTo>
                  <a:lnTo>
                    <a:pt x="691236" y="1023513"/>
                  </a:lnTo>
                  <a:cubicBezTo>
                    <a:pt x="737492" y="1023513"/>
                    <a:pt x="781546" y="1011765"/>
                    <a:pt x="819726" y="990473"/>
                  </a:cubicBezTo>
                  <a:cubicBezTo>
                    <a:pt x="812383" y="1013234"/>
                    <a:pt x="805775" y="1035995"/>
                    <a:pt x="798433" y="1057287"/>
                  </a:cubicBezTo>
                  <a:lnTo>
                    <a:pt x="795496" y="1066098"/>
                  </a:lnTo>
                  <a:cubicBezTo>
                    <a:pt x="768330" y="1152003"/>
                    <a:pt x="744834" y="1226160"/>
                    <a:pt x="711794" y="1269479"/>
                  </a:cubicBezTo>
                  <a:cubicBezTo>
                    <a:pt x="698578" y="1286366"/>
                    <a:pt x="675083" y="1306925"/>
                    <a:pt x="633966" y="1306925"/>
                  </a:cubicBezTo>
                  <a:close/>
                  <a:moveTo>
                    <a:pt x="1423260" y="934671"/>
                  </a:moveTo>
                  <a:cubicBezTo>
                    <a:pt x="1341761" y="1185777"/>
                    <a:pt x="1247780" y="1307659"/>
                    <a:pt x="1135443" y="1307659"/>
                  </a:cubicBezTo>
                  <a:lnTo>
                    <a:pt x="773469" y="1307659"/>
                  </a:lnTo>
                  <a:cubicBezTo>
                    <a:pt x="810915" y="1254795"/>
                    <a:pt x="835879" y="1177701"/>
                    <a:pt x="863779" y="1088859"/>
                  </a:cubicBezTo>
                  <a:lnTo>
                    <a:pt x="866716" y="1080049"/>
                  </a:lnTo>
                  <a:cubicBezTo>
                    <a:pt x="895351" y="989004"/>
                    <a:pt x="928391" y="884010"/>
                    <a:pt x="959229" y="784155"/>
                  </a:cubicBezTo>
                  <a:lnTo>
                    <a:pt x="962900" y="771673"/>
                  </a:lnTo>
                  <a:lnTo>
                    <a:pt x="962900" y="770205"/>
                  </a:lnTo>
                  <a:cubicBezTo>
                    <a:pt x="986395" y="695313"/>
                    <a:pt x="1008422" y="623359"/>
                    <a:pt x="1026778" y="563887"/>
                  </a:cubicBezTo>
                  <a:cubicBezTo>
                    <a:pt x="1051007" y="484590"/>
                    <a:pt x="1123696" y="431726"/>
                    <a:pt x="1208132" y="431726"/>
                  </a:cubicBezTo>
                  <a:lnTo>
                    <a:pt x="1344698" y="431726"/>
                  </a:lnTo>
                  <a:cubicBezTo>
                    <a:pt x="1407842" y="431726"/>
                    <a:pt x="1450427" y="447879"/>
                    <a:pt x="1474656" y="480919"/>
                  </a:cubicBezTo>
                  <a:cubicBezTo>
                    <a:pt x="1540737" y="571963"/>
                    <a:pt x="1472454" y="781952"/>
                    <a:pt x="1423260" y="935406"/>
                  </a:cubicBezTo>
                  <a:close/>
                </a:path>
              </a:pathLst>
            </a:custGeom>
            <a:solidFill>
              <a:srgbClr val="FFFFFF"/>
            </a:solidFill>
            <a:ln w="19050" cap="flat" cmpd="sng" algn="ctr">
              <a:noFill/>
              <a:prstDash val="solid"/>
              <a:headEnd type="none" w="med" len="med"/>
              <a:tailEnd type="none" w="med" len="med"/>
            </a:ln>
            <a:effectLst/>
            <a:scene3d>
              <a:camera prst="orthographicFront">
                <a:rot lat="1080000" lon="3000000" rev="0"/>
              </a:camera>
              <a:lightRig rig="threePt" dir="t"/>
            </a:scene3d>
          </p:spPr>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1693"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pic>
          <p:nvPicPr>
            <p:cNvPr id="228" name="Picture 227">
              <a:extLst>
                <a:ext uri="{FF2B5EF4-FFF2-40B4-BE49-F238E27FC236}">
                  <a16:creationId xmlns:a16="http://schemas.microsoft.com/office/drawing/2014/main" id="{5FF8CEFD-A1A3-A089-1107-7488BF15BF20}"/>
                </a:ext>
              </a:extLst>
            </p:cNvPr>
            <p:cNvPicPr>
              <a:picLocks noChangeAspect="1"/>
            </p:cNvPicPr>
            <p:nvPr/>
          </p:nvPicPr>
          <p:blipFill rotWithShape="1">
            <a:blip r:embed="rId3"/>
            <a:srcRect l="7986" t="12923" r="24479" b="42054"/>
            <a:stretch/>
          </p:blipFill>
          <p:spPr>
            <a:xfrm>
              <a:off x="681734" y="2798916"/>
              <a:ext cx="1707446" cy="1707444"/>
            </a:xfrm>
            <a:prstGeom prst="ellipse">
              <a:avLst/>
            </a:prstGeom>
            <a:solidFill>
              <a:srgbClr val="FFFFFF"/>
            </a:solidFill>
            <a:ln w="14684" cap="flat">
              <a:noFill/>
              <a:prstDash val="solid"/>
              <a:miter/>
            </a:ln>
            <a:effectLst/>
          </p:spPr>
        </p:pic>
        <p:cxnSp>
          <p:nvCxnSpPr>
            <p:cNvPr id="229" name="Straight Connector 228">
              <a:extLst>
                <a:ext uri="{FF2B5EF4-FFF2-40B4-BE49-F238E27FC236}">
                  <a16:creationId xmlns:a16="http://schemas.microsoft.com/office/drawing/2014/main" id="{FF215FF8-AE59-A62F-79E4-8179B642269F}"/>
                </a:ext>
              </a:extLst>
            </p:cNvPr>
            <p:cNvCxnSpPr>
              <a:cxnSpLocks/>
            </p:cNvCxnSpPr>
            <p:nvPr/>
          </p:nvCxnSpPr>
          <p:spPr>
            <a:xfrm>
              <a:off x="2559052" y="3477495"/>
              <a:ext cx="1014494" cy="0"/>
            </a:xfrm>
            <a:prstGeom prst="line">
              <a:avLst/>
            </a:prstGeom>
            <a:noFill/>
            <a:ln w="38100" cap="rnd" cmpd="sng" algn="ctr">
              <a:solidFill>
                <a:srgbClr val="0078D4"/>
              </a:solidFill>
              <a:prstDash val="solid"/>
              <a:headEnd type="arrow" w="lg" len="med"/>
              <a:tailEnd type="none" w="lg" len="sm"/>
            </a:ln>
            <a:effectLst/>
          </p:spPr>
        </p:cxnSp>
        <p:cxnSp>
          <p:nvCxnSpPr>
            <p:cNvPr id="230" name="Straight Connector 229">
              <a:extLst>
                <a:ext uri="{FF2B5EF4-FFF2-40B4-BE49-F238E27FC236}">
                  <a16:creationId xmlns:a16="http://schemas.microsoft.com/office/drawing/2014/main" id="{9A523933-ECFF-0DBF-2161-179242862B5D}"/>
                </a:ext>
              </a:extLst>
            </p:cNvPr>
            <p:cNvCxnSpPr>
              <a:cxnSpLocks/>
            </p:cNvCxnSpPr>
            <p:nvPr/>
          </p:nvCxnSpPr>
          <p:spPr>
            <a:xfrm rot="10800000">
              <a:off x="2552812" y="3959061"/>
              <a:ext cx="1014494" cy="0"/>
            </a:xfrm>
            <a:prstGeom prst="line">
              <a:avLst/>
            </a:prstGeom>
            <a:noFill/>
            <a:ln w="38100" cap="rnd" cmpd="sng" algn="ctr">
              <a:solidFill>
                <a:srgbClr val="0078D4"/>
              </a:solidFill>
              <a:prstDash val="solid"/>
              <a:headEnd type="arrow" w="lg" len="med"/>
              <a:tailEnd type="none" w="lg" len="med"/>
            </a:ln>
            <a:effectLst/>
          </p:spPr>
        </p:cxnSp>
        <p:sp>
          <p:nvSpPr>
            <p:cNvPr id="231" name="Rounded Rectangle 62">
              <a:extLst>
                <a:ext uri="{FF2B5EF4-FFF2-40B4-BE49-F238E27FC236}">
                  <a16:creationId xmlns:a16="http://schemas.microsoft.com/office/drawing/2014/main" id="{02941ED1-AA38-FCAE-1DEA-ADDED5A2D7F9}"/>
                </a:ext>
                <a:ext uri="{C183D7F6-B498-43B3-948B-1728B52AA6E4}">
                  <adec:decorative xmlns:adec="http://schemas.microsoft.com/office/drawing/2017/decorative" val="1"/>
                </a:ext>
              </a:extLst>
            </p:cNvPr>
            <p:cNvSpPr/>
            <p:nvPr/>
          </p:nvSpPr>
          <p:spPr bwMode="auto">
            <a:xfrm>
              <a:off x="8370218" y="1552515"/>
              <a:ext cx="1606549"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es-es" sz="1800" b="0" i="0" u="none" strike="noStrike" kern="0" cap="none" spc="0" normalizeH="0" baseline="0" noProof="0">
                  <a:ln>
                    <a:noFill/>
                  </a:ln>
                  <a:solidFill>
                    <a:srgbClr val="000000"/>
                  </a:solidFill>
                  <a:effectLst/>
                  <a:uLnTx/>
                  <a:uFillTx/>
                  <a:latin typeface="Segoe UI"/>
                  <a:ea typeface="+mn-ea"/>
                  <a:cs typeface="+mn-cs"/>
                </a:rPr>
                <a:t>Agentes</a:t>
              </a:r>
            </a:p>
          </p:txBody>
        </p:sp>
        <p:sp>
          <p:nvSpPr>
            <p:cNvPr id="232" name="Rounded Rectangle 62">
              <a:extLst>
                <a:ext uri="{FF2B5EF4-FFF2-40B4-BE49-F238E27FC236}">
                  <a16:creationId xmlns:a16="http://schemas.microsoft.com/office/drawing/2014/main" id="{6D4872F9-2635-6D88-F75D-8DF53BD5EE20}"/>
                </a:ext>
                <a:ext uri="{C183D7F6-B498-43B3-948B-1728B52AA6E4}">
                  <adec:decorative xmlns:adec="http://schemas.microsoft.com/office/drawing/2017/decorative" val="1"/>
                </a:ext>
              </a:extLst>
            </p:cNvPr>
            <p:cNvSpPr/>
            <p:nvPr/>
          </p:nvSpPr>
          <p:spPr bwMode="auto">
            <a:xfrm>
              <a:off x="5045168" y="1552515"/>
              <a:ext cx="1550320"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es-es" sz="1800" b="0" i="0" u="none" strike="noStrike" kern="0" cap="none" spc="0" normalizeH="0" baseline="0" noProof="0">
                  <a:ln>
                    <a:noFill/>
                  </a:ln>
                  <a:solidFill>
                    <a:srgbClr val="000000"/>
                  </a:solidFill>
                  <a:effectLst/>
                  <a:uLnTx/>
                  <a:uFillTx/>
                  <a:latin typeface="Segoe UI"/>
                  <a:ea typeface="+mn-ea"/>
                  <a:cs typeface="+mn-cs"/>
                </a:rPr>
                <a:t>Copilot Studio </a:t>
              </a:r>
            </a:p>
          </p:txBody>
        </p:sp>
        <p:sp>
          <p:nvSpPr>
            <p:cNvPr id="233" name="Rounded Rectangle 62">
              <a:extLst>
                <a:ext uri="{FF2B5EF4-FFF2-40B4-BE49-F238E27FC236}">
                  <a16:creationId xmlns:a16="http://schemas.microsoft.com/office/drawing/2014/main" id="{46F32E60-EEBD-D865-644D-2433E4D1D5B0}"/>
                </a:ext>
                <a:ext uri="{C183D7F6-B498-43B3-948B-1728B52AA6E4}">
                  <adec:decorative xmlns:adec="http://schemas.microsoft.com/office/drawing/2017/decorative" val="1"/>
                </a:ext>
              </a:extLst>
            </p:cNvPr>
            <p:cNvSpPr/>
            <p:nvPr/>
          </p:nvSpPr>
          <p:spPr bwMode="auto">
            <a:xfrm>
              <a:off x="3492131" y="1552515"/>
              <a:ext cx="851697" cy="276999"/>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es-es" sz="1800" b="0" i="0" u="none" strike="noStrike" kern="0" cap="none" spc="0" normalizeH="0" baseline="0" noProof="0">
                  <a:ln>
                    <a:noFill/>
                  </a:ln>
                  <a:solidFill>
                    <a:srgbClr val="000000"/>
                  </a:solidFill>
                  <a:effectLst/>
                  <a:uLnTx/>
                  <a:uFillTx/>
                  <a:latin typeface="Segoe UI"/>
                  <a:ea typeface="+mn-ea"/>
                  <a:cs typeface="+mn-cs"/>
                </a:rPr>
                <a:t>Copilot</a:t>
              </a:r>
            </a:p>
          </p:txBody>
        </p:sp>
        <p:grpSp>
          <p:nvGrpSpPr>
            <p:cNvPr id="234" name="Group 233">
              <a:extLst>
                <a:ext uri="{FF2B5EF4-FFF2-40B4-BE49-F238E27FC236}">
                  <a16:creationId xmlns:a16="http://schemas.microsoft.com/office/drawing/2014/main" id="{7AF585EC-45C6-B194-C582-207CC77FAA66}"/>
                </a:ext>
              </a:extLst>
            </p:cNvPr>
            <p:cNvGrpSpPr/>
            <p:nvPr/>
          </p:nvGrpSpPr>
          <p:grpSpPr>
            <a:xfrm>
              <a:off x="3321374" y="5623093"/>
              <a:ext cx="8392343" cy="429402"/>
              <a:chOff x="18772514" y="14360978"/>
              <a:chExt cx="20494644" cy="1048628"/>
            </a:xfrm>
          </p:grpSpPr>
          <p:sp>
            <p:nvSpPr>
              <p:cNvPr id="237" name="Rectangle: Rounded Corners 236">
                <a:extLst>
                  <a:ext uri="{FF2B5EF4-FFF2-40B4-BE49-F238E27FC236}">
                    <a16:creationId xmlns:a16="http://schemas.microsoft.com/office/drawing/2014/main" id="{CC5A5AD5-82E1-A030-C5DA-91087F012C1A}"/>
                  </a:ext>
                </a:extLst>
              </p:cNvPr>
              <p:cNvSpPr/>
              <p:nvPr/>
            </p:nvSpPr>
            <p:spPr bwMode="auto">
              <a:xfrm>
                <a:off x="18772514" y="14360978"/>
                <a:ext cx="20494644" cy="1048628"/>
              </a:xfrm>
              <a:prstGeom prst="roundRect">
                <a:avLst>
                  <a:gd name="adj" fmla="val 22792"/>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43543" tIns="34834" rIns="43543" bIns="34834" numCol="1" spcCol="0" rtlCol="0" fromWordArt="0" anchor="t" anchorCtr="0" forceAA="0" compatLnSpc="1">
                <a:prstTxWarp prst="textNoShape">
                  <a:avLst/>
                </a:prstTxWarp>
                <a:noAutofit/>
              </a:bodyPr>
              <a:lstStyle/>
              <a:p>
                <a:pPr marL="0" marR="0" lvl="0" indent="0" algn="l" defTabSz="222022" rtl="0" eaLnBrk="1" fontAlgn="base" latinLnBrk="0" hangingPunct="1">
                  <a:lnSpc>
                    <a:spcPct val="100000"/>
                  </a:lnSpc>
                  <a:spcBef>
                    <a:spcPct val="0"/>
                  </a:spcBef>
                  <a:spcAft>
                    <a:spcPct val="0"/>
                  </a:spcAft>
                  <a:buClrTx/>
                  <a:buSzTx/>
                  <a:buFontTx/>
                  <a:buNone/>
                  <a:tabLst/>
                  <a:defRPr/>
                </a:pPr>
                <a:endParaRPr kumimoji="0" lang="en-US" sz="952"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8" name="Group 237">
                <a:extLst>
                  <a:ext uri="{FF2B5EF4-FFF2-40B4-BE49-F238E27FC236}">
                    <a16:creationId xmlns:a16="http://schemas.microsoft.com/office/drawing/2014/main" id="{0AAB1575-377A-57B1-BA09-E19348961D66}"/>
                  </a:ext>
                </a:extLst>
              </p:cNvPr>
              <p:cNvGrpSpPr/>
              <p:nvPr/>
            </p:nvGrpSpPr>
            <p:grpSpPr>
              <a:xfrm>
                <a:off x="26120935" y="14502159"/>
                <a:ext cx="6693709" cy="766273"/>
                <a:chOff x="25766155" y="14502159"/>
                <a:chExt cx="6693709" cy="766273"/>
              </a:xfrm>
            </p:grpSpPr>
            <p:sp>
              <p:nvSpPr>
                <p:cNvPr id="239" name="Rounded Rectangle 62">
                  <a:extLst>
                    <a:ext uri="{FF2B5EF4-FFF2-40B4-BE49-F238E27FC236}">
                      <a16:creationId xmlns:a16="http://schemas.microsoft.com/office/drawing/2014/main" id="{2D6C7978-E368-FADD-FA68-A7B22D241A6E}"/>
                    </a:ext>
                    <a:ext uri="{C183D7F6-B498-43B3-948B-1728B52AA6E4}">
                      <adec:decorative xmlns:adec="http://schemas.microsoft.com/office/drawing/2017/decorative" val="1"/>
                    </a:ext>
                  </a:extLst>
                </p:cNvPr>
                <p:cNvSpPr/>
                <p:nvPr/>
              </p:nvSpPr>
              <p:spPr bwMode="auto">
                <a:xfrm>
                  <a:off x="26757941" y="14627815"/>
                  <a:ext cx="5701923" cy="526128"/>
                </a:xfrm>
                <a:prstGeom prst="rect">
                  <a:avLst/>
                </a:prstGeom>
                <a:noFill/>
                <a:ln w="9525" cap="flat" cmpd="sng" algn="ctr">
                  <a:noFill/>
                  <a:prstDash val="solid"/>
                  <a:headEnd type="none" w="med" len="med"/>
                  <a:tailEnd type="none" w="med" len="med"/>
                </a:ln>
                <a:effectLst>
                  <a:softEdge rad="165100"/>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es-es" sz="1400" b="0" i="0" u="none" strike="noStrike" kern="0" cap="none" spc="0" normalizeH="0" baseline="0" noProof="0">
                      <a:ln>
                        <a:noFill/>
                      </a:ln>
                      <a:solidFill>
                        <a:srgbClr val="000000"/>
                      </a:solidFill>
                      <a:effectLst/>
                      <a:uLnTx/>
                      <a:uFillTx/>
                      <a:latin typeface="Segoe UI"/>
                      <a:ea typeface="+mn-ea"/>
                      <a:cs typeface="+mn-cs"/>
                    </a:rPr>
                    <a:t>Sistema de control de </a:t>
                  </a:r>
                  <a:r>
                    <a:rPr kumimoji="0" lang="es-es" sz="1400" b="0" i="0" u="none" strike="noStrike" kern="0" cap="none" spc="0" normalizeH="0" baseline="0" noProof="0" err="1">
                      <a:ln>
                        <a:noFill/>
                      </a:ln>
                      <a:solidFill>
                        <a:srgbClr val="000000"/>
                      </a:solidFill>
                      <a:effectLst/>
                      <a:uLnTx/>
                      <a:uFillTx/>
                      <a:latin typeface="Segoe UI"/>
                      <a:ea typeface="+mn-ea"/>
                      <a:cs typeface="+mn-cs"/>
                    </a:rPr>
                    <a:t>Copilot</a:t>
                  </a:r>
                  <a:endParaRPr kumimoji="0" lang="es-es" sz="1400" b="0" i="0" u="none" strike="noStrike" kern="0" cap="none" spc="0" normalizeH="0" baseline="0" noProof="0">
                    <a:ln>
                      <a:noFill/>
                    </a:ln>
                    <a:solidFill>
                      <a:srgbClr val="000000"/>
                    </a:solidFill>
                    <a:effectLst/>
                    <a:uLnTx/>
                    <a:uFillTx/>
                    <a:latin typeface="Segoe UI"/>
                    <a:ea typeface="+mn-ea"/>
                    <a:cs typeface="+mn-cs"/>
                  </a:endParaRPr>
                </a:p>
              </p:txBody>
            </p:sp>
            <p:sp>
              <p:nvSpPr>
                <p:cNvPr id="240" name="Graphic 19">
                  <a:extLst>
                    <a:ext uri="{FF2B5EF4-FFF2-40B4-BE49-F238E27FC236}">
                      <a16:creationId xmlns:a16="http://schemas.microsoft.com/office/drawing/2014/main" id="{D09E0214-58CB-169A-EC59-11E8AAF02CA2}"/>
                    </a:ext>
                  </a:extLst>
                </p:cNvPr>
                <p:cNvSpPr/>
                <p:nvPr/>
              </p:nvSpPr>
              <p:spPr>
                <a:xfrm>
                  <a:off x="25766155" y="14502159"/>
                  <a:ext cx="689654" cy="766273"/>
                </a:xfrm>
                <a:custGeom>
                  <a:avLst/>
                  <a:gdLst>
                    <a:gd name="connsiteX0" fmla="*/ 164306 w 171450"/>
                    <a:gd name="connsiteY0" fmla="*/ 28575 h 190500"/>
                    <a:gd name="connsiteX1" fmla="*/ 90011 w 171450"/>
                    <a:gd name="connsiteY1" fmla="*/ 1429 h 190500"/>
                    <a:gd name="connsiteX2" fmla="*/ 81439 w 171450"/>
                    <a:gd name="connsiteY2" fmla="*/ 1429 h 190500"/>
                    <a:gd name="connsiteX3" fmla="*/ 7144 w 171450"/>
                    <a:gd name="connsiteY3" fmla="*/ 28575 h 190500"/>
                    <a:gd name="connsiteX4" fmla="*/ 0 w 171450"/>
                    <a:gd name="connsiteY4" fmla="*/ 35719 h 190500"/>
                    <a:gd name="connsiteX5" fmla="*/ 0 w 171450"/>
                    <a:gd name="connsiteY5" fmla="*/ 85725 h 190500"/>
                    <a:gd name="connsiteX6" fmla="*/ 83107 w 171450"/>
                    <a:gd name="connsiteY6" fmla="*/ 190003 h 190500"/>
                    <a:gd name="connsiteX7" fmla="*/ 88343 w 171450"/>
                    <a:gd name="connsiteY7" fmla="*/ 190003 h 190500"/>
                    <a:gd name="connsiteX8" fmla="*/ 171450 w 171450"/>
                    <a:gd name="connsiteY8" fmla="*/ 85725 h 190500"/>
                    <a:gd name="connsiteX9" fmla="*/ 171450 w 171450"/>
                    <a:gd name="connsiteY9" fmla="*/ 35719 h 190500"/>
                    <a:gd name="connsiteX10" fmla="*/ 164306 w 171450"/>
                    <a:gd name="connsiteY10" fmla="*/ 28575 h 190500"/>
                    <a:gd name="connsiteX11" fmla="*/ 131034 w 171450"/>
                    <a:gd name="connsiteY11" fmla="*/ 69560 h 190500"/>
                    <a:gd name="connsiteX12" fmla="*/ 73884 w 171450"/>
                    <a:gd name="connsiteY12" fmla="*/ 121948 h 190500"/>
                    <a:gd name="connsiteX13" fmla="*/ 64005 w 171450"/>
                    <a:gd name="connsiteY13" fmla="*/ 121732 h 190500"/>
                    <a:gd name="connsiteX14" fmla="*/ 40192 w 171450"/>
                    <a:gd name="connsiteY14" fmla="*/ 97920 h 190500"/>
                    <a:gd name="connsiteX15" fmla="*/ 40192 w 171450"/>
                    <a:gd name="connsiteY15" fmla="*/ 87818 h 190500"/>
                    <a:gd name="connsiteX16" fmla="*/ 50295 w 171450"/>
                    <a:gd name="connsiteY16" fmla="*/ 87818 h 190500"/>
                    <a:gd name="connsiteX17" fmla="*/ 69272 w 171450"/>
                    <a:gd name="connsiteY17" fmla="*/ 106793 h 190500"/>
                    <a:gd name="connsiteX18" fmla="*/ 121379 w 171450"/>
                    <a:gd name="connsiteY18" fmla="*/ 59028 h 190500"/>
                    <a:gd name="connsiteX19" fmla="*/ 131473 w 171450"/>
                    <a:gd name="connsiteY19" fmla="*/ 59467 h 190500"/>
                    <a:gd name="connsiteX20" fmla="*/ 131034 w 171450"/>
                    <a:gd name="connsiteY20" fmla="*/ 6956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1450" h="190500">
                      <a:moveTo>
                        <a:pt x="164306" y="28575"/>
                      </a:moveTo>
                      <a:cubicBezTo>
                        <a:pt x="138937" y="28575"/>
                        <a:pt x="114224" y="19588"/>
                        <a:pt x="90011" y="1429"/>
                      </a:cubicBezTo>
                      <a:cubicBezTo>
                        <a:pt x="87471" y="-476"/>
                        <a:pt x="83979" y="-476"/>
                        <a:pt x="81439" y="1429"/>
                      </a:cubicBezTo>
                      <a:cubicBezTo>
                        <a:pt x="57226" y="19588"/>
                        <a:pt x="32513" y="28575"/>
                        <a:pt x="7144" y="28575"/>
                      </a:cubicBezTo>
                      <a:cubicBezTo>
                        <a:pt x="3198" y="28575"/>
                        <a:pt x="0" y="31773"/>
                        <a:pt x="0" y="35719"/>
                      </a:cubicBezTo>
                      <a:lnTo>
                        <a:pt x="0" y="85725"/>
                      </a:lnTo>
                      <a:cubicBezTo>
                        <a:pt x="0" y="133361"/>
                        <a:pt x="28171" y="168361"/>
                        <a:pt x="83107" y="190003"/>
                      </a:cubicBezTo>
                      <a:cubicBezTo>
                        <a:pt x="84790" y="190666"/>
                        <a:pt x="86660" y="190666"/>
                        <a:pt x="88343" y="190003"/>
                      </a:cubicBezTo>
                      <a:cubicBezTo>
                        <a:pt x="143279" y="168361"/>
                        <a:pt x="171450" y="133361"/>
                        <a:pt x="171450" y="85725"/>
                      </a:cubicBezTo>
                      <a:lnTo>
                        <a:pt x="171450" y="35719"/>
                      </a:lnTo>
                      <a:cubicBezTo>
                        <a:pt x="171450" y="31773"/>
                        <a:pt x="168252" y="28575"/>
                        <a:pt x="164306" y="28575"/>
                      </a:cubicBezTo>
                      <a:close/>
                      <a:moveTo>
                        <a:pt x="131034" y="69560"/>
                      </a:moveTo>
                      <a:lnTo>
                        <a:pt x="73884" y="121948"/>
                      </a:lnTo>
                      <a:cubicBezTo>
                        <a:pt x="71064" y="124532"/>
                        <a:pt x="66709" y="124437"/>
                        <a:pt x="64005" y="121732"/>
                      </a:cubicBezTo>
                      <a:lnTo>
                        <a:pt x="40192" y="97920"/>
                      </a:lnTo>
                      <a:cubicBezTo>
                        <a:pt x="37403" y="95130"/>
                        <a:pt x="37403" y="90608"/>
                        <a:pt x="40192" y="87818"/>
                      </a:cubicBezTo>
                      <a:cubicBezTo>
                        <a:pt x="42982" y="85028"/>
                        <a:pt x="47505" y="85028"/>
                        <a:pt x="50295" y="87818"/>
                      </a:cubicBezTo>
                      <a:lnTo>
                        <a:pt x="69272" y="106793"/>
                      </a:lnTo>
                      <a:lnTo>
                        <a:pt x="121379" y="59028"/>
                      </a:lnTo>
                      <a:cubicBezTo>
                        <a:pt x="124287" y="56362"/>
                        <a:pt x="128807" y="56558"/>
                        <a:pt x="131473" y="59467"/>
                      </a:cubicBezTo>
                      <a:cubicBezTo>
                        <a:pt x="134139" y="62375"/>
                        <a:pt x="133942" y="66894"/>
                        <a:pt x="131034" y="69560"/>
                      </a:cubicBezTo>
                      <a:close/>
                    </a:path>
                  </a:pathLst>
                </a:custGeom>
                <a:gradFill flip="none" rotWithShape="1">
                  <a:gsLst>
                    <a:gs pos="0">
                      <a:srgbClr val="C03BC4"/>
                    </a:gs>
                    <a:gs pos="80000">
                      <a:srgbClr val="0078D4"/>
                    </a:gs>
                  </a:gsLst>
                  <a:path path="circle">
                    <a:fillToRect l="100000" t="100000"/>
                  </a:path>
                  <a:tileRect r="-100000" b="-100000"/>
                </a:gradFill>
                <a:effectLst>
                  <a:outerShdw blurRad="63500" algn="tl" rotWithShape="0">
                    <a:srgbClr val="FFFFFF">
                      <a:lumMod val="50000"/>
                      <a:alpha val="3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grpSp>
        </p:grpSp>
        <p:sp>
          <p:nvSpPr>
            <p:cNvPr id="235" name="Rounded Rectangle 64">
              <a:extLst>
                <a:ext uri="{FF2B5EF4-FFF2-40B4-BE49-F238E27FC236}">
                  <a16:creationId xmlns:a16="http://schemas.microsoft.com/office/drawing/2014/main" id="{74EB128D-73EF-BDCD-13FF-F9DD5B7E1A75}"/>
                </a:ext>
                <a:ext uri="{C183D7F6-B498-43B3-948B-1728B52AA6E4}">
                  <adec:decorative xmlns:adec="http://schemas.microsoft.com/office/drawing/2017/decorative" val="1"/>
                </a:ext>
              </a:extLst>
            </p:cNvPr>
            <p:cNvSpPr>
              <a:spLocks/>
            </p:cNvSpPr>
            <p:nvPr/>
          </p:nvSpPr>
          <p:spPr bwMode="auto">
            <a:xfrm>
              <a:off x="294339" y="616858"/>
              <a:ext cx="11604625" cy="5620884"/>
            </a:xfrm>
            <a:prstGeom prst="roundRect">
              <a:avLst>
                <a:gd name="adj" fmla="val 3125"/>
              </a:avLst>
            </a:prstGeom>
            <a:noFill/>
            <a:ln w="12700" cap="rnd" cmpd="sng" algn="ctr">
              <a:solidFill>
                <a:srgbClr val="FFFFFF">
                  <a:lumMod val="75000"/>
                </a:srgbClr>
              </a:solidFill>
              <a:prstDash val="solid"/>
              <a:headEnd type="none" w="lg" len="sm"/>
              <a:tailEnd type="none" w="lg"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noFill/>
                <a:effectLst/>
                <a:uLnTx/>
                <a:uFillTx/>
                <a:latin typeface="Segoe UI Variable Small Semibol" pitchFamily="2" charset="0"/>
                <a:ea typeface="+mn-ea"/>
                <a:cs typeface="+mn-cs"/>
              </a:endParaRPr>
            </a:p>
          </p:txBody>
        </p:sp>
      </p:grpSp>
      <p:pic>
        <p:nvPicPr>
          <p:cNvPr id="1026" name="Picture 2">
            <a:extLst>
              <a:ext uri="{FF2B5EF4-FFF2-40B4-BE49-F238E27FC236}">
                <a16:creationId xmlns:a16="http://schemas.microsoft.com/office/drawing/2014/main" id="{17290008-55CB-1F5E-3836-3EE8AD2725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39249" y="3252423"/>
            <a:ext cx="923891" cy="9238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3145297"/>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xmlns:a16="http://schemas.microsoft.com/office/drawing/2014/main" xmlns:adec="http://schemas.microsoft.com/office/drawing/2017/decorative" xmlns:a14="http://schemas.microsoft.com/office/drawing/2010/main" xmlns:p14="http://schemas.microsoft.com/office/powerpoint/2010/main">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34">
            <a:extLst>
              <a:ext uri="{FF2B5EF4-FFF2-40B4-BE49-F238E27FC236}">
                <a16:creationId xmlns:a16="http://schemas.microsoft.com/office/drawing/2014/main" id="{FCA13C2D-A05E-63CB-494C-4086389CEBC9}"/>
              </a:ext>
            </a:extLst>
          </p:cNvPr>
          <p:cNvSpPr/>
          <p:nvPr/>
        </p:nvSpPr>
        <p:spPr bwMode="auto">
          <a:xfrm>
            <a:off x="1126870" y="2898956"/>
            <a:ext cx="9938259" cy="1754533"/>
          </a:xfrm>
          <a:prstGeom prst="roundRect">
            <a:avLst>
              <a:gd name="adj" fmla="val 5302"/>
            </a:avLst>
          </a:prstGeom>
          <a:solidFill>
            <a:srgbClr val="FFFFFF">
              <a:alpha val="70000"/>
            </a:srgbClr>
          </a:solidFill>
          <a:ln>
            <a:solidFill>
              <a:srgbClr val="8C827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19" name="TextBox 18">
            <a:extLst>
              <a:ext uri="{FF2B5EF4-FFF2-40B4-BE49-F238E27FC236}">
                <a16:creationId xmlns:a16="http://schemas.microsoft.com/office/drawing/2014/main" id="{8D61DBC6-60D1-F41A-D27A-9F5087F52E9A}"/>
              </a:ext>
            </a:extLst>
          </p:cNvPr>
          <p:cNvSpPr txBox="1"/>
          <p:nvPr/>
        </p:nvSpPr>
        <p:spPr>
          <a:xfrm>
            <a:off x="4726131" y="2698939"/>
            <a:ext cx="2739737" cy="393042"/>
          </a:xfrm>
          <a:prstGeom prst="roundRect">
            <a:avLst>
              <a:gd name="adj" fmla="val 50000"/>
            </a:avLst>
          </a:prstGeom>
          <a:gradFill flip="none" rotWithShape="1">
            <a:gsLst>
              <a:gs pos="49000">
                <a:srgbClr val="0078D4"/>
              </a:gs>
              <a:gs pos="0">
                <a:srgbClr val="49C5B1"/>
              </a:gs>
            </a:gsLst>
            <a:path path="circle">
              <a:fillToRect l="100000" t="100000"/>
            </a:path>
            <a:tileRect r="-100000" b="-100000"/>
          </a:gradFill>
          <a:ln>
            <a:noFill/>
            <a:headEnd type="none" w="med" len="med"/>
            <a:tailEnd type="none" w="med" len="med"/>
          </a:ln>
          <a:effectLst>
            <a:outerShdw blurRad="1270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defPPr>
              <a:defRPr lang="en-US"/>
            </a:defPPr>
            <a:lvl1pPr algn="ctr" defTabSz="914367" fontAlgn="base">
              <a:spcBef>
                <a:spcPct val="0"/>
              </a:spcBef>
              <a:spcAft>
                <a:spcPct val="0"/>
              </a:spcAft>
              <a:defRPr sz="1600" b="1">
                <a:ln w="3175">
                  <a:noFill/>
                </a:ln>
                <a:gradFill>
                  <a:gsLst>
                    <a:gs pos="53933">
                      <a:srgbClr val="FFFFFF"/>
                    </a:gs>
                    <a:gs pos="38000">
                      <a:srgbClr val="FFFFFF"/>
                    </a:gs>
                  </a:gsLst>
                  <a:path path="circle">
                    <a:fillToRect l="100000" b="100000"/>
                  </a:path>
                </a:gradFill>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s-es" sz="1800" b="1"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UI Variable Display Semibold" pitchFamily="2" charset="0"/>
                <a:ea typeface="+mn-ea"/>
                <a:cs typeface="Segoe UI" pitchFamily="34" charset="0"/>
              </a:rPr>
              <a:t>Lenguaje natural</a:t>
            </a:r>
          </a:p>
        </p:txBody>
      </p:sp>
      <p:sp>
        <p:nvSpPr>
          <p:cNvPr id="8" name="Graphic 8">
            <a:extLst>
              <a:ext uri="{FF2B5EF4-FFF2-40B4-BE49-F238E27FC236}">
                <a16:creationId xmlns:a16="http://schemas.microsoft.com/office/drawing/2014/main" id="{801BD137-DD4A-B075-782F-60CD19541EFF}"/>
              </a:ext>
              <a:ext uri="{C183D7F6-B498-43B3-948B-1728B52AA6E4}">
                <adec:decorative xmlns:adec="http://schemas.microsoft.com/office/drawing/2017/decorative" val="1"/>
              </a:ext>
            </a:extLst>
          </p:cNvPr>
          <p:cNvSpPr/>
          <p:nvPr/>
        </p:nvSpPr>
        <p:spPr>
          <a:xfrm>
            <a:off x="3176204"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0" name="TextBox 9">
            <a:extLst>
              <a:ext uri="{FF2B5EF4-FFF2-40B4-BE49-F238E27FC236}">
                <a16:creationId xmlns:a16="http://schemas.microsoft.com/office/drawing/2014/main" id="{A62345C9-F0A2-E471-77F5-C79D0F69B014}"/>
              </a:ext>
            </a:extLst>
          </p:cNvPr>
          <p:cNvSpPr txBox="1"/>
          <p:nvPr/>
        </p:nvSpPr>
        <p:spPr>
          <a:xfrm>
            <a:off x="5563011" y="3991406"/>
            <a:ext cx="1106200"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000000"/>
                </a:solidFill>
                <a:effectLst/>
                <a:uLnTx/>
                <a:uFillTx/>
                <a:latin typeface="Segoe UI Variable Display Semibold"/>
                <a:ea typeface="+mn-ea"/>
                <a:cs typeface="+mn-cs"/>
              </a:rPr>
              <a:t>Microsoft Graph*</a:t>
            </a:r>
            <a:endParaRPr kumimoji="0" lang="en-US" sz="1400" b="1" i="0" u="none" strike="noStrike" kern="1200" cap="none" spc="0" normalizeH="0" baseline="0" noProof="0">
              <a:ln>
                <a:noFill/>
              </a:ln>
              <a:solidFill>
                <a:srgbClr val="000000"/>
              </a:solidFill>
              <a:effectLst/>
              <a:uLnTx/>
              <a:uFillTx/>
              <a:latin typeface="Segoe UI Variable Display Semibold" pitchFamily="2" charset="0"/>
              <a:ea typeface="+mn-ea"/>
              <a:cs typeface="+mn-cs"/>
            </a:endParaRPr>
          </a:p>
        </p:txBody>
      </p:sp>
      <p:sp>
        <p:nvSpPr>
          <p:cNvPr id="13" name="TextBox 12">
            <a:extLst>
              <a:ext uri="{FF2B5EF4-FFF2-40B4-BE49-F238E27FC236}">
                <a16:creationId xmlns:a16="http://schemas.microsoft.com/office/drawing/2014/main" id="{210E70CB-B428-823E-D1B3-117AD146C3F6}"/>
              </a:ext>
            </a:extLst>
          </p:cNvPr>
          <p:cNvSpPr txBox="1"/>
          <p:nvPr/>
        </p:nvSpPr>
        <p:spPr>
          <a:xfrm>
            <a:off x="1595500" y="3991406"/>
            <a:ext cx="1530703"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Modelos de lenguaje grandes</a:t>
            </a:r>
          </a:p>
        </p:txBody>
      </p:sp>
      <p:pic>
        <p:nvPicPr>
          <p:cNvPr id="14" name="Graphic 13">
            <a:extLst>
              <a:ext uri="{FF2B5EF4-FFF2-40B4-BE49-F238E27FC236}">
                <a16:creationId xmlns:a16="http://schemas.microsoft.com/office/drawing/2014/main" id="{24CFB0D3-F71E-2351-B5A2-6303CEA66FDD}"/>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2136978" y="3343641"/>
            <a:ext cx="447748" cy="447748"/>
          </a:xfrm>
          <a:prstGeom prst="rect">
            <a:avLst/>
          </a:prstGeom>
        </p:spPr>
      </p:pic>
      <p:sp>
        <p:nvSpPr>
          <p:cNvPr id="16" name="TextBox 15">
            <a:extLst>
              <a:ext uri="{FF2B5EF4-FFF2-40B4-BE49-F238E27FC236}">
                <a16:creationId xmlns:a16="http://schemas.microsoft.com/office/drawing/2014/main" id="{834AE1EF-09E6-9F7D-9A69-80B3443F315B}"/>
              </a:ext>
            </a:extLst>
          </p:cNvPr>
          <p:cNvSpPr txBox="1"/>
          <p:nvPr/>
        </p:nvSpPr>
        <p:spPr>
          <a:xfrm>
            <a:off x="3475060" y="3991406"/>
            <a:ext cx="1500026"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Aplicaciones de Microsoft 365</a:t>
            </a:r>
          </a:p>
        </p:txBody>
      </p:sp>
      <p:pic>
        <p:nvPicPr>
          <p:cNvPr id="17" name="Graphic 16">
            <a:extLst>
              <a:ext uri="{FF2B5EF4-FFF2-40B4-BE49-F238E27FC236}">
                <a16:creationId xmlns:a16="http://schemas.microsoft.com/office/drawing/2014/main" id="{665219B5-FA8B-B109-72E7-6EA43E6105A8}"/>
              </a:ext>
            </a:extLst>
          </p:cNvPr>
          <p:cNvPicPr>
            <a:picLocks noChangeAspect="1"/>
          </p:cNvPicPr>
          <p:nvPr/>
        </p:nvPicPr>
        <p:blipFill>
          <a:blip>
            <a:extLst>
              <a:ext uri="{96DAC541-7B7A-43D3-8B79-37D633B846F1}">
                <asvg:svgBlip xmlns:asvg="http://schemas.microsoft.com/office/drawing/2016/SVG/main" r:embed="rId4"/>
              </a:ext>
            </a:extLst>
          </a:blip>
          <a:stretch>
            <a:fillRect/>
          </a:stretch>
        </p:blipFill>
        <p:spPr>
          <a:xfrm>
            <a:off x="3973649" y="3315464"/>
            <a:ext cx="504102" cy="504102"/>
          </a:xfrm>
          <a:prstGeom prst="rect">
            <a:avLst/>
          </a:prstGeom>
        </p:spPr>
      </p:pic>
      <p:sp>
        <p:nvSpPr>
          <p:cNvPr id="21" name="Graphic 28">
            <a:extLst>
              <a:ext uri="{FF2B5EF4-FFF2-40B4-BE49-F238E27FC236}">
                <a16:creationId xmlns:a16="http://schemas.microsoft.com/office/drawing/2014/main" id="{AD237726-906B-0D38-3E02-AE271DCDECAE}"/>
              </a:ext>
              <a:ext uri="{C183D7F6-B498-43B3-948B-1728B52AA6E4}">
                <adec:decorative xmlns:adec="http://schemas.microsoft.com/office/drawing/2017/decorative" val="1"/>
              </a:ext>
            </a:extLst>
          </p:cNvPr>
          <p:cNvSpPr/>
          <p:nvPr/>
        </p:nvSpPr>
        <p:spPr>
          <a:xfrm>
            <a:off x="6957026"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Graphic 28">
            <a:extLst>
              <a:ext uri="{FF2B5EF4-FFF2-40B4-BE49-F238E27FC236}">
                <a16:creationId xmlns:a16="http://schemas.microsoft.com/office/drawing/2014/main" id="{5F626562-6511-FAF4-1521-881441E5DEDD}"/>
              </a:ext>
              <a:ext uri="{C183D7F6-B498-43B3-948B-1728B52AA6E4}">
                <adec:decorative xmlns:adec="http://schemas.microsoft.com/office/drawing/2017/decorative" val="1"/>
              </a:ext>
            </a:extLst>
          </p:cNvPr>
          <p:cNvSpPr/>
          <p:nvPr/>
        </p:nvSpPr>
        <p:spPr>
          <a:xfrm>
            <a:off x="8808174"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D176BD6E-C6B5-2881-EE6C-A717A48F5E79}"/>
              </a:ext>
            </a:extLst>
          </p:cNvPr>
          <p:cNvSpPr txBox="1"/>
          <p:nvPr/>
        </p:nvSpPr>
        <p:spPr>
          <a:xfrm>
            <a:off x="9189804" y="3991406"/>
            <a:ext cx="1286385"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Web</a:t>
            </a:r>
          </a:p>
        </p:txBody>
      </p:sp>
      <p:sp>
        <p:nvSpPr>
          <p:cNvPr id="28" name="Graphic 20">
            <a:extLst>
              <a:ext uri="{FF2B5EF4-FFF2-40B4-BE49-F238E27FC236}">
                <a16:creationId xmlns:a16="http://schemas.microsoft.com/office/drawing/2014/main" id="{6D573B04-2F29-0C30-7290-D69BA3307804}"/>
              </a:ext>
            </a:extLst>
          </p:cNvPr>
          <p:cNvSpPr/>
          <p:nvPr/>
        </p:nvSpPr>
        <p:spPr>
          <a:xfrm>
            <a:off x="9605618" y="3340335"/>
            <a:ext cx="454759" cy="454361"/>
          </a:xfrm>
          <a:custGeom>
            <a:avLst/>
            <a:gdLst>
              <a:gd name="connsiteX0" fmla="*/ 13742 w 190773"/>
              <a:gd name="connsiteY0" fmla="*/ 75793 h 190606"/>
              <a:gd name="connsiteX1" fmla="*/ 13742 w 190773"/>
              <a:gd name="connsiteY1" fmla="*/ 142145 h 190606"/>
              <a:gd name="connsiteX2" fmla="*/ 73109 w 190773"/>
              <a:gd name="connsiteY2" fmla="*/ 147907 h 190606"/>
              <a:gd name="connsiteX3" fmla="*/ 113651 w 190773"/>
              <a:gd name="connsiteY3" fmla="*/ 188449 h 190606"/>
              <a:gd name="connsiteX4" fmla="*/ 124067 w 190773"/>
              <a:gd name="connsiteY4" fmla="*/ 188449 h 190606"/>
              <a:gd name="connsiteX5" fmla="*/ 124780 w 190773"/>
              <a:gd name="connsiteY5" fmla="*/ 178859 h 190606"/>
              <a:gd name="connsiteX6" fmla="*/ 124067 w 190773"/>
              <a:gd name="connsiteY6" fmla="*/ 178033 h 190606"/>
              <a:gd name="connsiteX7" fmla="*/ 83897 w 190773"/>
              <a:gd name="connsiteY7" fmla="*/ 137854 h 190606"/>
              <a:gd name="connsiteX8" fmla="*/ 80093 w 190773"/>
              <a:gd name="connsiteY8" fmla="*/ 75793 h 190606"/>
              <a:gd name="connsiteX9" fmla="*/ 13742 w 190773"/>
              <a:gd name="connsiteY9" fmla="*/ 75793 h 190606"/>
              <a:gd name="connsiteX10" fmla="*/ 95510 w 190773"/>
              <a:gd name="connsiteY10" fmla="*/ 0 h 190606"/>
              <a:gd name="connsiteX11" fmla="*/ 2632 w 190773"/>
              <a:gd name="connsiteY11" fmla="*/ 73977 h 190606"/>
              <a:gd name="connsiteX12" fmla="*/ 7007 w 190773"/>
              <a:gd name="connsiteY12" fmla="*/ 69058 h 190606"/>
              <a:gd name="connsiteX13" fmla="*/ 23920 w 190773"/>
              <a:gd name="connsiteY13" fmla="*/ 57407 h 190606"/>
              <a:gd name="connsiteX14" fmla="*/ 65791 w 190773"/>
              <a:gd name="connsiteY14" fmla="*/ 19914 h 190606"/>
              <a:gd name="connsiteX15" fmla="*/ 64774 w 190773"/>
              <a:gd name="connsiteY15" fmla="*/ 21573 h 190606"/>
              <a:gd name="connsiteX16" fmla="*/ 52628 w 190773"/>
              <a:gd name="connsiteY16" fmla="*/ 52807 h 190606"/>
              <a:gd name="connsiteX17" fmla="*/ 66588 w 190773"/>
              <a:gd name="connsiteY17" fmla="*/ 56050 h 190606"/>
              <a:gd name="connsiteX18" fmla="*/ 95510 w 190773"/>
              <a:gd name="connsiteY18" fmla="*/ 14288 h 190606"/>
              <a:gd name="connsiteX19" fmla="*/ 96611 w 190773"/>
              <a:gd name="connsiteY19" fmla="*/ 14338 h 190606"/>
              <a:gd name="connsiteX20" fmla="*/ 125716 w 190773"/>
              <a:gd name="connsiteY20" fmla="*/ 61924 h 190606"/>
              <a:gd name="connsiteX21" fmla="*/ 78113 w 190773"/>
              <a:gd name="connsiteY21" fmla="*/ 61917 h 190606"/>
              <a:gd name="connsiteX22" fmla="*/ 86829 w 190773"/>
              <a:gd name="connsiteY22" fmla="*/ 69058 h 190606"/>
              <a:gd name="connsiteX23" fmla="*/ 92878 w 190773"/>
              <a:gd name="connsiteY23" fmla="*/ 76195 h 190606"/>
              <a:gd name="connsiteX24" fmla="*/ 127865 w 190773"/>
              <a:gd name="connsiteY24" fmla="*/ 76209 h 190606"/>
              <a:gd name="connsiteX25" fmla="*/ 128861 w 190773"/>
              <a:gd name="connsiteY25" fmla="*/ 95265 h 190606"/>
              <a:gd name="connsiteX26" fmla="*/ 126578 w 190773"/>
              <a:gd name="connsiteY26" fmla="*/ 123841 h 190606"/>
              <a:gd name="connsiteX27" fmla="*/ 101381 w 190773"/>
              <a:gd name="connsiteY27" fmla="*/ 123842 h 190606"/>
              <a:gd name="connsiteX28" fmla="*/ 98533 w 190773"/>
              <a:gd name="connsiteY28" fmla="*/ 131853 h 190606"/>
              <a:gd name="connsiteX29" fmla="*/ 97305 w 190773"/>
              <a:gd name="connsiteY29" fmla="*/ 134441 h 190606"/>
              <a:gd name="connsiteX30" fmla="*/ 96137 w 190773"/>
              <a:gd name="connsiteY30" fmla="*/ 136626 h 190606"/>
              <a:gd name="connsiteX31" fmla="*/ 97648 w 190773"/>
              <a:gd name="connsiteY31" fmla="*/ 138122 h 190606"/>
              <a:gd name="connsiteX32" fmla="*/ 123503 w 190773"/>
              <a:gd name="connsiteY32" fmla="*/ 138124 h 190606"/>
              <a:gd name="connsiteX33" fmla="*/ 116534 w 190773"/>
              <a:gd name="connsiteY33" fmla="*/ 157027 h 190606"/>
              <a:gd name="connsiteX34" fmla="*/ 127064 w 190773"/>
              <a:gd name="connsiteY34" fmla="*/ 167578 h 190606"/>
              <a:gd name="connsiteX35" fmla="*/ 138293 w 190773"/>
              <a:gd name="connsiteY35" fmla="*/ 138134 h 190606"/>
              <a:gd name="connsiteX36" fmla="*/ 164226 w 190773"/>
              <a:gd name="connsiteY36" fmla="*/ 138126 h 190606"/>
              <a:gd name="connsiteX37" fmla="*/ 128661 w 190773"/>
              <a:gd name="connsiteY37" fmla="*/ 169167 h 190606"/>
              <a:gd name="connsiteX38" fmla="*/ 130803 w 190773"/>
              <a:gd name="connsiteY38" fmla="*/ 171299 h 190606"/>
              <a:gd name="connsiteX39" fmla="*/ 131989 w 190773"/>
              <a:gd name="connsiteY39" fmla="*/ 172635 h 190606"/>
              <a:gd name="connsiteX40" fmla="*/ 135591 w 190773"/>
              <a:gd name="connsiteY40" fmla="*/ 181710 h 190606"/>
              <a:gd name="connsiteX41" fmla="*/ 190774 w 190773"/>
              <a:gd name="connsiteY41" fmla="*/ 95265 h 190606"/>
              <a:gd name="connsiteX42" fmla="*/ 95510 w 190773"/>
              <a:gd name="connsiteY42" fmla="*/ 0 h 190606"/>
              <a:gd name="connsiteX43" fmla="*/ 69678 w 190773"/>
              <a:gd name="connsiteY43" fmla="*/ 86208 h 190606"/>
              <a:gd name="connsiteX44" fmla="*/ 69678 w 190773"/>
              <a:gd name="connsiteY44" fmla="*/ 131729 h 190606"/>
              <a:gd name="connsiteX45" fmla="*/ 24158 w 190773"/>
              <a:gd name="connsiteY45" fmla="*/ 131729 h 190606"/>
              <a:gd name="connsiteX46" fmla="*/ 24158 w 190773"/>
              <a:gd name="connsiteY46" fmla="*/ 86208 h 190606"/>
              <a:gd name="connsiteX47" fmla="*/ 69678 w 190773"/>
              <a:gd name="connsiteY47" fmla="*/ 86208 h 190606"/>
              <a:gd name="connsiteX48" fmla="*/ 142245 w 190773"/>
              <a:gd name="connsiteY48" fmla="*/ 76215 h 190606"/>
              <a:gd name="connsiteX49" fmla="*/ 174226 w 190773"/>
              <a:gd name="connsiteY49" fmla="*/ 76209 h 190606"/>
              <a:gd name="connsiteX50" fmla="*/ 174300 w 190773"/>
              <a:gd name="connsiteY50" fmla="*/ 76496 h 190606"/>
              <a:gd name="connsiteX51" fmla="*/ 176486 w 190773"/>
              <a:gd name="connsiteY51" fmla="*/ 95265 h 190606"/>
              <a:gd name="connsiteX52" fmla="*/ 171301 w 190773"/>
              <a:gd name="connsiteY52" fmla="*/ 123840 h 190606"/>
              <a:gd name="connsiteX53" fmla="*/ 141074 w 190773"/>
              <a:gd name="connsiteY53" fmla="*/ 123848 h 190606"/>
              <a:gd name="connsiteX54" fmla="*/ 143149 w 190773"/>
              <a:gd name="connsiteY54" fmla="*/ 95265 h 190606"/>
              <a:gd name="connsiteX55" fmla="*/ 142245 w 190773"/>
              <a:gd name="connsiteY55" fmla="*/ 76215 h 190606"/>
              <a:gd name="connsiteX56" fmla="*/ 125217 w 190773"/>
              <a:gd name="connsiteY56" fmla="*/ 19914 h 190606"/>
              <a:gd name="connsiteX57" fmla="*/ 125435 w 190773"/>
              <a:gd name="connsiteY57" fmla="*/ 19997 h 190606"/>
              <a:gd name="connsiteX58" fmla="*/ 169327 w 190773"/>
              <a:gd name="connsiteY58" fmla="*/ 61926 h 190606"/>
              <a:gd name="connsiteX59" fmla="*/ 140292 w 190773"/>
              <a:gd name="connsiteY59" fmla="*/ 61920 h 190606"/>
              <a:gd name="connsiteX60" fmla="*/ 125217 w 190773"/>
              <a:gd name="connsiteY60" fmla="*/ 19914 h 19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0773" h="190606">
                <a:moveTo>
                  <a:pt x="13742" y="75793"/>
                </a:moveTo>
                <a:cubicBezTo>
                  <a:pt x="-4581" y="94116"/>
                  <a:pt x="-4581" y="123823"/>
                  <a:pt x="13742" y="142145"/>
                </a:cubicBezTo>
                <a:cubicBezTo>
                  <a:pt x="29884" y="158288"/>
                  <a:pt x="54863" y="160208"/>
                  <a:pt x="73109" y="147907"/>
                </a:cubicBezTo>
                <a:lnTo>
                  <a:pt x="113651" y="188449"/>
                </a:lnTo>
                <a:cubicBezTo>
                  <a:pt x="116528" y="191325"/>
                  <a:pt x="121190" y="191325"/>
                  <a:pt x="124067" y="188449"/>
                </a:cubicBezTo>
                <a:cubicBezTo>
                  <a:pt x="126681" y="185834"/>
                  <a:pt x="126919" y="181742"/>
                  <a:pt x="124780" y="178859"/>
                </a:cubicBezTo>
                <a:lnTo>
                  <a:pt x="124067" y="178033"/>
                </a:lnTo>
                <a:lnTo>
                  <a:pt x="83897" y="137854"/>
                </a:lnTo>
                <a:cubicBezTo>
                  <a:pt x="98314" y="119444"/>
                  <a:pt x="97046" y="92745"/>
                  <a:pt x="80093" y="75793"/>
                </a:cubicBezTo>
                <a:cubicBezTo>
                  <a:pt x="61771" y="57471"/>
                  <a:pt x="32064" y="57471"/>
                  <a:pt x="13742" y="75793"/>
                </a:cubicBezTo>
                <a:close/>
                <a:moveTo>
                  <a:pt x="95510" y="0"/>
                </a:moveTo>
                <a:cubicBezTo>
                  <a:pt x="50214" y="0"/>
                  <a:pt x="12302" y="31612"/>
                  <a:pt x="2632" y="73977"/>
                </a:cubicBezTo>
                <a:cubicBezTo>
                  <a:pt x="3976" y="72270"/>
                  <a:pt x="5435" y="70629"/>
                  <a:pt x="7007" y="69058"/>
                </a:cubicBezTo>
                <a:cubicBezTo>
                  <a:pt x="12039" y="64026"/>
                  <a:pt x="17785" y="60142"/>
                  <a:pt x="23920" y="57407"/>
                </a:cubicBezTo>
                <a:cubicBezTo>
                  <a:pt x="32902" y="40429"/>
                  <a:pt x="47763" y="27030"/>
                  <a:pt x="65791" y="19914"/>
                </a:cubicBezTo>
                <a:lnTo>
                  <a:pt x="64774" y="21573"/>
                </a:lnTo>
                <a:cubicBezTo>
                  <a:pt x="59654" y="30084"/>
                  <a:pt x="55524" y="40730"/>
                  <a:pt x="52628" y="52807"/>
                </a:cubicBezTo>
                <a:cubicBezTo>
                  <a:pt x="57380" y="53295"/>
                  <a:pt x="62070" y="54374"/>
                  <a:pt x="66588" y="56050"/>
                </a:cubicBezTo>
                <a:cubicBezTo>
                  <a:pt x="72606" y="31022"/>
                  <a:pt x="83951" y="14288"/>
                  <a:pt x="95510" y="14288"/>
                </a:cubicBezTo>
                <a:lnTo>
                  <a:pt x="96611" y="14338"/>
                </a:lnTo>
                <a:cubicBezTo>
                  <a:pt x="108665" y="15441"/>
                  <a:pt x="120308" y="34509"/>
                  <a:pt x="125716" y="61924"/>
                </a:cubicBezTo>
                <a:lnTo>
                  <a:pt x="78113" y="61917"/>
                </a:lnTo>
                <a:cubicBezTo>
                  <a:pt x="81193" y="63963"/>
                  <a:pt x="84115" y="66343"/>
                  <a:pt x="86829" y="69058"/>
                </a:cubicBezTo>
                <a:cubicBezTo>
                  <a:pt x="89072" y="71301"/>
                  <a:pt x="91089" y="73690"/>
                  <a:pt x="92878" y="76195"/>
                </a:cubicBezTo>
                <a:lnTo>
                  <a:pt x="127865" y="76209"/>
                </a:lnTo>
                <a:cubicBezTo>
                  <a:pt x="128513" y="82308"/>
                  <a:pt x="128861" y="88687"/>
                  <a:pt x="128861" y="95265"/>
                </a:cubicBezTo>
                <a:cubicBezTo>
                  <a:pt x="128861" y="105357"/>
                  <a:pt x="128041" y="114980"/>
                  <a:pt x="126578" y="123841"/>
                </a:cubicBezTo>
                <a:lnTo>
                  <a:pt x="101381" y="123842"/>
                </a:lnTo>
                <a:cubicBezTo>
                  <a:pt x="100641" y="126563"/>
                  <a:pt x="99691" y="129241"/>
                  <a:pt x="98533" y="131853"/>
                </a:cubicBezTo>
                <a:lnTo>
                  <a:pt x="97305" y="134441"/>
                </a:lnTo>
                <a:lnTo>
                  <a:pt x="96137" y="136626"/>
                </a:lnTo>
                <a:lnTo>
                  <a:pt x="97648" y="138122"/>
                </a:lnTo>
                <a:lnTo>
                  <a:pt x="123503" y="138124"/>
                </a:lnTo>
                <a:cubicBezTo>
                  <a:pt x="121577" y="145254"/>
                  <a:pt x="119211" y="151627"/>
                  <a:pt x="116534" y="157027"/>
                </a:cubicBezTo>
                <a:lnTo>
                  <a:pt x="127064" y="167578"/>
                </a:lnTo>
                <a:cubicBezTo>
                  <a:pt x="131749" y="159405"/>
                  <a:pt x="135559" y="149398"/>
                  <a:pt x="138293" y="138134"/>
                </a:cubicBezTo>
                <a:lnTo>
                  <a:pt x="164226" y="138126"/>
                </a:lnTo>
                <a:cubicBezTo>
                  <a:pt x="155750" y="151687"/>
                  <a:pt x="143370" y="162558"/>
                  <a:pt x="128661" y="169167"/>
                </a:cubicBezTo>
                <a:lnTo>
                  <a:pt x="130803" y="171299"/>
                </a:lnTo>
                <a:lnTo>
                  <a:pt x="131989" y="172635"/>
                </a:lnTo>
                <a:cubicBezTo>
                  <a:pt x="134089" y="175447"/>
                  <a:pt x="135275" y="178581"/>
                  <a:pt x="135591" y="181710"/>
                </a:cubicBezTo>
                <a:cubicBezTo>
                  <a:pt x="168175" y="166583"/>
                  <a:pt x="190774" y="133563"/>
                  <a:pt x="190774" y="95265"/>
                </a:cubicBezTo>
                <a:cubicBezTo>
                  <a:pt x="190774" y="42651"/>
                  <a:pt x="148123" y="0"/>
                  <a:pt x="95510" y="0"/>
                </a:cubicBezTo>
                <a:close/>
                <a:moveTo>
                  <a:pt x="69678" y="86208"/>
                </a:moveTo>
                <a:cubicBezTo>
                  <a:pt x="82248" y="98779"/>
                  <a:pt x="82248" y="119159"/>
                  <a:pt x="69678" y="131729"/>
                </a:cubicBezTo>
                <a:cubicBezTo>
                  <a:pt x="57108" y="144299"/>
                  <a:pt x="36728" y="144299"/>
                  <a:pt x="24158" y="131729"/>
                </a:cubicBezTo>
                <a:cubicBezTo>
                  <a:pt x="11587" y="119159"/>
                  <a:pt x="11587" y="98779"/>
                  <a:pt x="24158" y="86208"/>
                </a:cubicBezTo>
                <a:cubicBezTo>
                  <a:pt x="36728" y="73639"/>
                  <a:pt x="57108" y="73639"/>
                  <a:pt x="69678" y="86208"/>
                </a:cubicBezTo>
                <a:close/>
                <a:moveTo>
                  <a:pt x="142245" y="76215"/>
                </a:moveTo>
                <a:lnTo>
                  <a:pt x="174226" y="76209"/>
                </a:lnTo>
                <a:lnTo>
                  <a:pt x="174300" y="76496"/>
                </a:lnTo>
                <a:cubicBezTo>
                  <a:pt x="175730" y="82519"/>
                  <a:pt x="176486" y="88804"/>
                  <a:pt x="176486" y="95265"/>
                </a:cubicBezTo>
                <a:cubicBezTo>
                  <a:pt x="176486" y="105323"/>
                  <a:pt x="174653" y="114954"/>
                  <a:pt x="171301" y="123840"/>
                </a:cubicBezTo>
                <a:lnTo>
                  <a:pt x="141074" y="123848"/>
                </a:lnTo>
                <a:cubicBezTo>
                  <a:pt x="142430" y="114806"/>
                  <a:pt x="143149" y="105199"/>
                  <a:pt x="143149" y="95265"/>
                </a:cubicBezTo>
                <a:cubicBezTo>
                  <a:pt x="143149" y="88752"/>
                  <a:pt x="142840" y="82380"/>
                  <a:pt x="142245" y="76215"/>
                </a:cubicBezTo>
                <a:close/>
                <a:moveTo>
                  <a:pt x="125217" y="19914"/>
                </a:moveTo>
                <a:lnTo>
                  <a:pt x="125435" y="19997"/>
                </a:lnTo>
                <a:cubicBezTo>
                  <a:pt x="144937" y="27757"/>
                  <a:pt x="160710" y="42877"/>
                  <a:pt x="169327" y="61926"/>
                </a:cubicBezTo>
                <a:lnTo>
                  <a:pt x="140292" y="61920"/>
                </a:lnTo>
                <a:cubicBezTo>
                  <a:pt x="137307" y="45228"/>
                  <a:pt x="132099" y="30697"/>
                  <a:pt x="125217" y="19914"/>
                </a:cubicBezTo>
                <a:close/>
              </a:path>
            </a:pathLst>
          </a:custGeom>
          <a:solidFill>
            <a:srgbClr val="21212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Variable Display Semibold" pitchFamily="2" charset="0"/>
              <a:ea typeface="+mn-ea"/>
              <a:cs typeface="+mn-cs"/>
            </a:endParaRPr>
          </a:p>
        </p:txBody>
      </p:sp>
      <p:sp>
        <p:nvSpPr>
          <p:cNvPr id="22" name="Title 20">
            <a:extLst>
              <a:ext uri="{FF2B5EF4-FFF2-40B4-BE49-F238E27FC236}">
                <a16:creationId xmlns:a16="http://schemas.microsoft.com/office/drawing/2014/main" id="{9B67D835-11FB-3B76-6758-B603B5949CDA}"/>
              </a:ext>
            </a:extLst>
          </p:cNvPr>
          <p:cNvSpPr txBox="1">
            <a:spLocks/>
          </p:cNvSpPr>
          <p:nvPr/>
        </p:nvSpPr>
        <p:spPr>
          <a:xfrm>
            <a:off x="2438400" y="1617299"/>
            <a:ext cx="7315200"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3200" b="1" i="0" u="none" strike="noStrike" kern="1200" cap="none" spc="-100" normalizeH="0" baseline="0" noProof="0">
                <a:ln>
                  <a:noFill/>
                </a:ln>
                <a:solidFill>
                  <a:prstClr val="black"/>
                </a:solidFill>
                <a:effectLst/>
                <a:uLnTx/>
                <a:uFillTx/>
                <a:latin typeface="Segoe UI Variable Display Semibold" pitchFamily="2" charset="0"/>
                <a:ea typeface="+mn-ea"/>
                <a:cs typeface="Segoe UI Semibold" panose="020B0702040204020203" pitchFamily="34" charset="0"/>
              </a:rPr>
              <a:t>Microsoft 365 Copilot</a:t>
            </a:r>
          </a:p>
        </p:txBody>
      </p:sp>
      <p:pic>
        <p:nvPicPr>
          <p:cNvPr id="2" name="!Copilot" descr="Un logotipo con los colores del arco iris sobre un fondo negro  Descripción generada automáticamente">
            <a:extLst>
              <a:ext uri="{FF2B5EF4-FFF2-40B4-BE49-F238E27FC236}">
                <a16:creationId xmlns:a16="http://schemas.microsoft.com/office/drawing/2014/main" id="{2C8C644F-DC9C-2AD3-949D-D2EB97F2B1A1}"/>
              </a:ext>
            </a:extLst>
          </p:cNvPr>
          <p:cNvPicPr>
            <a:picLocks noChangeAspect="1"/>
          </p:cNvPicPr>
          <p:nvPr/>
        </p:nvPicPr>
        <p:blipFill>
          <a:blip r:embed="rId5"/>
          <a:stretch>
            <a:fillRect/>
          </a:stretch>
        </p:blipFill>
        <p:spPr>
          <a:xfrm>
            <a:off x="5588810" y="450024"/>
            <a:ext cx="1014380" cy="1014380"/>
          </a:xfrm>
          <a:prstGeom prst="rect">
            <a:avLst/>
          </a:prstGeom>
          <a:noFill/>
          <a:ln>
            <a:noFill/>
            <a:headEnd type="none" w="med" len="med"/>
            <a:tailEnd type="none" w="med" len="med"/>
          </a:ln>
          <a:effectLst/>
        </p:spPr>
      </p:pic>
      <p:sp>
        <p:nvSpPr>
          <p:cNvPr id="6" name="TextBox 5">
            <a:extLst>
              <a:ext uri="{FF2B5EF4-FFF2-40B4-BE49-F238E27FC236}">
                <a16:creationId xmlns:a16="http://schemas.microsoft.com/office/drawing/2014/main" id="{57ACAA0B-107D-9921-E4A5-7D8855B37A15}"/>
              </a:ext>
            </a:extLst>
          </p:cNvPr>
          <p:cNvSpPr txBox="1"/>
          <p:nvPr/>
        </p:nvSpPr>
        <p:spPr>
          <a:xfrm>
            <a:off x="3002194" y="5240701"/>
            <a:ext cx="6187610" cy="64633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000000"/>
                </a:solidFill>
                <a:effectLst/>
                <a:uLnTx/>
                <a:uFillTx/>
                <a:latin typeface="Segoe UI Semibold"/>
                <a:ea typeface="+mn-ea"/>
                <a:cs typeface="Segoe UI Semibold"/>
              </a:rPr>
              <a:t>* Fundamentado directamente con tus datos personales </a:t>
            </a:r>
            <a:br>
              <a:rPr kumimoji="0" lang="es-es" sz="1800" b="1" i="0" u="none" strike="noStrike" kern="1200" cap="none" spc="0" normalizeH="0" baseline="0" noProof="0" dirty="0">
                <a:ln>
                  <a:noFill/>
                </a:ln>
                <a:solidFill>
                  <a:srgbClr val="000000"/>
                </a:solidFill>
                <a:effectLst/>
                <a:uLnTx/>
                <a:uFillTx/>
                <a:latin typeface="Segoe UI Semibold"/>
                <a:ea typeface="+mn-ea"/>
                <a:cs typeface="Segoe UI Semibold"/>
              </a:rPr>
            </a:br>
            <a:r>
              <a:rPr kumimoji="0" lang="es-es" sz="1800" b="1" i="0" u="none" strike="noStrike" kern="1200" cap="none" spc="0" normalizeH="0" baseline="0" noProof="0" dirty="0">
                <a:ln>
                  <a:noFill/>
                </a:ln>
                <a:solidFill>
                  <a:srgbClr val="000000"/>
                </a:solidFill>
                <a:effectLst/>
                <a:uLnTx/>
                <a:uFillTx/>
                <a:latin typeface="Segoe UI Semibold"/>
                <a:ea typeface="+mn-ea"/>
                <a:cs typeface="Segoe UI Semibold"/>
              </a:rPr>
              <a:t>y de empresa de Microsoft </a:t>
            </a:r>
            <a:r>
              <a:rPr kumimoji="0" lang="es-es" sz="1800" b="1" i="0" u="none" strike="noStrike" kern="1200" cap="none" spc="0" normalizeH="0" baseline="0" noProof="0" dirty="0" err="1">
                <a:ln>
                  <a:noFill/>
                </a:ln>
                <a:solidFill>
                  <a:srgbClr val="000000"/>
                </a:solidFill>
                <a:effectLst/>
                <a:uLnTx/>
                <a:uFillTx/>
                <a:latin typeface="Segoe UI Semibold"/>
                <a:ea typeface="+mn-ea"/>
                <a:cs typeface="Segoe UI Semibold"/>
              </a:rPr>
              <a:t>Graph</a:t>
            </a:r>
            <a:r>
              <a:rPr kumimoji="0" lang="es-es" sz="1800" b="1" i="0" u="none" strike="noStrike" kern="1200" cap="none" spc="0" normalizeH="0" baseline="0" noProof="0" dirty="0">
                <a:ln>
                  <a:noFill/>
                </a:ln>
                <a:solidFill>
                  <a:srgbClr val="000000"/>
                </a:solidFill>
                <a:effectLst/>
                <a:uLnTx/>
                <a:uFillTx/>
                <a:latin typeface="Segoe UI Semibold"/>
                <a:ea typeface="+mn-ea"/>
                <a:cs typeface="Segoe UI Semibold"/>
              </a:rPr>
              <a:t> y Microsoft </a:t>
            </a:r>
            <a:r>
              <a:rPr kumimoji="0" lang="es-es" sz="1800" b="1" i="0" u="none" strike="noStrike" kern="1200" cap="none" spc="0" normalizeH="0" baseline="0" noProof="0" dirty="0" err="1">
                <a:ln>
                  <a:noFill/>
                </a:ln>
                <a:solidFill>
                  <a:srgbClr val="000000"/>
                </a:solidFill>
                <a:effectLst/>
                <a:uLnTx/>
                <a:uFillTx/>
                <a:latin typeface="Segoe UI Semibold"/>
                <a:ea typeface="+mn-ea"/>
                <a:cs typeface="Segoe UI Semibold"/>
              </a:rPr>
              <a:t>Dataverse</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1CA9EEFA-4782-2BD8-E292-35CE31D1D478}"/>
              </a:ext>
            </a:extLst>
          </p:cNvPr>
          <p:cNvSpPr txBox="1"/>
          <p:nvPr/>
        </p:nvSpPr>
        <p:spPr>
          <a:xfrm>
            <a:off x="7452898" y="3991406"/>
            <a:ext cx="1056796"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000000"/>
                </a:solidFill>
                <a:effectLst/>
                <a:uLnTx/>
                <a:uFillTx/>
                <a:latin typeface="Segoe UI Variable Display Semibold"/>
                <a:ea typeface="+mn-ea"/>
                <a:cs typeface="+mn-cs"/>
              </a:rPr>
              <a:t>Microsoft Dataverse*</a:t>
            </a:r>
          </a:p>
        </p:txBody>
      </p:sp>
      <p:sp>
        <p:nvSpPr>
          <p:cNvPr id="30" name="Graphic 28">
            <a:extLst>
              <a:ext uri="{FF2B5EF4-FFF2-40B4-BE49-F238E27FC236}">
                <a16:creationId xmlns:a16="http://schemas.microsoft.com/office/drawing/2014/main" id="{D47429F0-EBAD-7947-A7BA-D759159F275E}"/>
              </a:ext>
              <a:ext uri="{C183D7F6-B498-43B3-948B-1728B52AA6E4}">
                <adec:decorative xmlns:adec="http://schemas.microsoft.com/office/drawing/2017/decorative" val="1"/>
              </a:ext>
            </a:extLst>
          </p:cNvPr>
          <p:cNvSpPr/>
          <p:nvPr/>
        </p:nvSpPr>
        <p:spPr>
          <a:xfrm>
            <a:off x="5069229" y="34645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 name="Graphic 2">
            <a:extLst>
              <a:ext uri="{FF2B5EF4-FFF2-40B4-BE49-F238E27FC236}">
                <a16:creationId xmlns:a16="http://schemas.microsoft.com/office/drawing/2014/main" id="{3CBDD474-283B-66C6-228B-D24EB1E536C5}"/>
              </a:ext>
            </a:extLst>
          </p:cNvPr>
          <p:cNvPicPr>
            <a:picLocks noChangeAspect="1"/>
          </p:cNvPicPr>
          <p:nvPr/>
        </p:nvPicPr>
        <p:blipFill>
          <a:blip>
            <a:extLst>
              <a:ext uri="{96DAC541-7B7A-43D3-8B79-37D633B846F1}">
                <asvg:svgBlip xmlns:asvg="http://schemas.microsoft.com/office/drawing/2016/SVG/main" r:embed="rId6"/>
              </a:ext>
            </a:extLst>
          </a:blip>
          <a:stretch>
            <a:fillRect/>
          </a:stretch>
        </p:blipFill>
        <p:spPr>
          <a:xfrm>
            <a:off x="7754471" y="3338078"/>
            <a:ext cx="462225" cy="458875"/>
          </a:xfrm>
          <a:prstGeom prst="rect">
            <a:avLst/>
          </a:prstGeom>
        </p:spPr>
      </p:pic>
      <p:pic>
        <p:nvPicPr>
          <p:cNvPr id="9" name="Graphic 8">
            <a:extLst>
              <a:ext uri="{FF2B5EF4-FFF2-40B4-BE49-F238E27FC236}">
                <a16:creationId xmlns:a16="http://schemas.microsoft.com/office/drawing/2014/main" id="{57F1B1AA-BA0B-DE44-9FA8-4949F89382A0}"/>
              </a:ext>
            </a:extLst>
          </p:cNvPr>
          <p:cNvPicPr>
            <a:picLocks noChangeAspect="1"/>
          </p:cNvPicPr>
          <p:nvPr/>
        </p:nvPicPr>
        <p:blipFill>
          <a:blip>
            <a:extLst>
              <a:ext uri="{96DAC541-7B7A-43D3-8B79-37D633B846F1}">
                <asvg:svgBlip xmlns:asvg="http://schemas.microsoft.com/office/drawing/2016/SVG/main" r:embed="rId7"/>
              </a:ext>
            </a:extLst>
          </a:blip>
          <a:stretch>
            <a:fillRect/>
          </a:stretch>
        </p:blipFill>
        <p:spPr>
          <a:xfrm>
            <a:off x="5866674" y="3318078"/>
            <a:ext cx="498874" cy="498874"/>
          </a:xfrm>
          <a:prstGeom prst="rect">
            <a:avLst/>
          </a:prstGeom>
        </p:spPr>
      </p:pic>
    </p:spTree>
    <p:extLst>
      <p:ext uri="{BB962C8B-B14F-4D97-AF65-F5344CB8AC3E}">
        <p14:creationId xmlns:p14="http://schemas.microsoft.com/office/powerpoint/2010/main" val="16795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svg="http://schemas.microsoft.com/office/drawing/2016/SVG/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0 -1.85185E-6 L 0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42" presetClass="path" presetSubtype="0" decel="100000" fill="hold" grpId="1" nodeType="withEffect">
                                  <p:stCondLst>
                                    <p:cond delay="200"/>
                                  </p:stCondLst>
                                  <p:childTnLst>
                                    <p:animMotion origin="layout" path="M 0 -4.44444E-6 L 0 0.03542 " pathEditMode="relative" rAng="0" ptsTypes="AA">
                                      <p:cBhvr>
                                        <p:cTn id="14" dur="700" spd="-100000" fill="hold"/>
                                        <p:tgtEl>
                                          <p:spTgt spid="2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26928-089B-21CE-4034-8342AF04E6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0C255A-B677-0C81-F9D1-7EE9193A19E9}"/>
              </a:ext>
            </a:extLst>
          </p:cNvPr>
          <p:cNvSpPr>
            <a:spLocks noGrp="1"/>
          </p:cNvSpPr>
          <p:nvPr>
            <p:ph type="title"/>
          </p:nvPr>
        </p:nvSpPr>
        <p:spPr>
          <a:xfrm>
            <a:off x="571500" y="2792795"/>
            <a:ext cx="4179404" cy="1200329"/>
          </a:xfrm>
          <a:prstGeom prst="rect">
            <a:avLst/>
          </a:prstGeom>
        </p:spPr>
        <p:txBody>
          <a:bodyPr/>
          <a:lstStyle/>
          <a:p>
            <a:r>
              <a:rPr lang="es-es" spc="0"/>
              <a:t>Presentación de los agentes de Copilot</a:t>
            </a:r>
          </a:p>
        </p:txBody>
      </p:sp>
    </p:spTree>
    <p:extLst>
      <p:ext uri="{BB962C8B-B14F-4D97-AF65-F5344CB8AC3E}">
        <p14:creationId xmlns:p14="http://schemas.microsoft.com/office/powerpoint/2010/main" val="370748665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rcRect/>
          <a:stretch/>
        </p:blipFill>
        <p:spPr>
          <a:xfrm>
            <a:off x="0" y="0"/>
            <a:ext cx="12192000" cy="6858000"/>
          </a:xfrm>
          <a:prstGeom prst="rect">
            <a:avLst/>
          </a:prstGeom>
        </p:spPr>
      </p:pic>
      <p:pic>
        <p:nvPicPr>
          <p:cNvPr id="3" name="Image 1" descr="preencoded.png"/>
          <p:cNvPicPr>
            <a:picLocks noChangeAspect="1"/>
          </p:cNvPicPr>
          <p:nvPr/>
        </p:nvPicPr>
        <p:blipFill>
          <a:blip r:embed="rId4"/>
          <a:srcRect/>
          <a:stretch/>
        </p:blipFill>
        <p:spPr>
          <a:xfrm>
            <a:off x="5511800" y="682369"/>
            <a:ext cx="5201965" cy="5106277"/>
          </a:xfrm>
          <a:prstGeom prst="rect">
            <a:avLst/>
          </a:prstGeom>
        </p:spPr>
      </p:pic>
      <p:sp>
        <p:nvSpPr>
          <p:cNvPr id="4" name="Text 0"/>
          <p:cNvSpPr/>
          <p:nvPr/>
        </p:nvSpPr>
        <p:spPr>
          <a:xfrm>
            <a:off x="633966" y="2809368"/>
            <a:ext cx="4635219" cy="2459661"/>
          </a:xfrm>
          <a:prstGeom prst="rect">
            <a:avLst/>
          </a:prstGeom>
          <a:noFill/>
          <a:ln/>
        </p:spPr>
        <p:txBody>
          <a:bodyPr wrap="square" lIns="0" tIns="0" rIns="0" bIns="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1000"/>
              </a:spcAft>
              <a:buClrTx/>
              <a:buSzTx/>
              <a:buFontTx/>
              <a:buNone/>
              <a:tabLst/>
              <a:defRPr/>
            </a:pPr>
            <a:r>
              <a:rPr kumimoji="0" lang="es-es" sz="2800" b="0" i="0" u="none" strike="noStrike" kern="0" cap="none" spc="-50" normalizeH="0" baseline="0" noProof="0" dirty="0">
                <a:ln>
                  <a:noFill/>
                </a:ln>
                <a:solidFill>
                  <a:srgbClr val="242424"/>
                </a:solidFill>
                <a:effectLst/>
                <a:uLnTx/>
                <a:uFillTx/>
                <a:latin typeface="Segoe UI Semibold" pitchFamily="34" charset="0"/>
                <a:ea typeface="Segoe UI Semibold" pitchFamily="34" charset="-122"/>
                <a:cs typeface="Segoe UI Semibold" pitchFamily="34" charset="-120"/>
              </a:rPr>
              <a:t>M365 </a:t>
            </a:r>
            <a:r>
              <a:rPr kumimoji="0" lang="es-es" sz="2800" b="0" i="0" u="none" strike="noStrike" kern="0" cap="none" spc="-50" normalizeH="0" baseline="0" noProof="0" dirty="0" err="1">
                <a:ln>
                  <a:noFill/>
                </a:ln>
                <a:solidFill>
                  <a:srgbClr val="242424"/>
                </a:solidFill>
                <a:effectLst/>
                <a:uLnTx/>
                <a:uFillTx/>
                <a:latin typeface="Segoe UI Semibold" pitchFamily="34" charset="0"/>
                <a:ea typeface="Segoe UI Semibold" pitchFamily="34" charset="-122"/>
                <a:cs typeface="Segoe UI Semibold" pitchFamily="34" charset="-120"/>
              </a:rPr>
              <a:t>Copilot</a:t>
            </a:r>
            <a:r>
              <a:rPr kumimoji="0" lang="es-es" sz="2800" b="0" i="0" u="none" strike="noStrike" kern="0" cap="none" spc="-50" normalizeH="0" baseline="0" noProof="0" dirty="0">
                <a:ln>
                  <a:noFill/>
                </a:ln>
                <a:solidFill>
                  <a:srgbClr val="242424"/>
                </a:solidFill>
                <a:effectLst/>
                <a:uLnTx/>
                <a:uFillTx/>
                <a:latin typeface="Segoe UI Semibold" pitchFamily="34" charset="0"/>
                <a:ea typeface="Segoe UI Semibold" pitchFamily="34" charset="-122"/>
                <a:cs typeface="Segoe UI Semibold" pitchFamily="34" charset="-120"/>
              </a:rPr>
              <a:t> puede ampliarse mediante agentes de </a:t>
            </a:r>
            <a:r>
              <a:rPr kumimoji="0" lang="es-es" sz="2800" b="0" i="0" u="none" strike="noStrike" kern="0" cap="none" spc="-50" normalizeH="0" baseline="0" noProof="0" dirty="0" err="1">
                <a:ln>
                  <a:noFill/>
                </a:ln>
                <a:solidFill>
                  <a:srgbClr val="242424"/>
                </a:solidFill>
                <a:effectLst/>
                <a:uLnTx/>
                <a:uFillTx/>
                <a:latin typeface="Segoe UI Semibold" pitchFamily="34" charset="0"/>
                <a:ea typeface="Segoe UI Semibold" pitchFamily="34" charset="-122"/>
                <a:cs typeface="Segoe UI Semibold" pitchFamily="34" charset="-120"/>
              </a:rPr>
              <a:t>Copilot</a:t>
            </a:r>
            <a:r>
              <a:rPr kumimoji="0" lang="es-es" sz="2800" b="0" i="0" u="none" strike="noStrike" kern="0" cap="none" spc="-50" normalizeH="0" baseline="0" noProof="0" dirty="0">
                <a:ln>
                  <a:noFill/>
                </a:ln>
                <a:solidFill>
                  <a:srgbClr val="242424"/>
                </a:solidFill>
                <a:effectLst/>
                <a:uLnTx/>
                <a:uFillTx/>
                <a:latin typeface="Segoe UI Semibold" pitchFamily="34" charset="0"/>
                <a:ea typeface="Segoe UI Semibold" pitchFamily="34" charset="-122"/>
                <a:cs typeface="Segoe UI Semibold" pitchFamily="34" charset="-120"/>
              </a:rPr>
              <a:t> para aportar conocimientos personalizados, habilidades </a:t>
            </a:r>
            <a:br>
              <a:rPr kumimoji="0" lang="es-es" sz="2800" b="0" i="0" u="none" strike="noStrike" kern="0" cap="none" spc="-50" normalizeH="0" baseline="0" noProof="0" dirty="0">
                <a:ln>
                  <a:noFill/>
                </a:ln>
                <a:solidFill>
                  <a:srgbClr val="242424"/>
                </a:solidFill>
                <a:effectLst/>
                <a:uLnTx/>
                <a:uFillTx/>
                <a:latin typeface="Segoe UI Semibold" pitchFamily="34" charset="0"/>
                <a:ea typeface="Segoe UI Semibold" pitchFamily="34" charset="-122"/>
                <a:cs typeface="Segoe UI Semibold" pitchFamily="34" charset="-120"/>
              </a:rPr>
            </a:br>
            <a:r>
              <a:rPr kumimoji="0" lang="es-es" sz="2800" b="0" i="0" u="none" strike="noStrike" kern="0" cap="none" spc="-50" normalizeH="0" baseline="0" noProof="0" dirty="0">
                <a:ln>
                  <a:noFill/>
                </a:ln>
                <a:solidFill>
                  <a:srgbClr val="242424"/>
                </a:solidFill>
                <a:effectLst/>
                <a:uLnTx/>
                <a:uFillTx/>
                <a:latin typeface="Segoe UI Semibold" pitchFamily="34" charset="0"/>
                <a:ea typeface="Segoe UI Semibold" pitchFamily="34" charset="-122"/>
                <a:cs typeface="Segoe UI Semibold" pitchFamily="34" charset="-120"/>
              </a:rPr>
              <a:t>y automatización de procesos</a:t>
            </a: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Text 1"/>
          <p:cNvSpPr/>
          <p:nvPr/>
        </p:nvSpPr>
        <p:spPr>
          <a:xfrm>
            <a:off x="7373744" y="1550289"/>
            <a:ext cx="2394055" cy="325488"/>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s-es" sz="1755"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 Agentes de Copilot</a:t>
            </a:r>
            <a:endParaRPr kumimoji="0" lang="en-US" sz="1755"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Text 2"/>
          <p:cNvSpPr/>
          <p:nvPr/>
        </p:nvSpPr>
        <p:spPr>
          <a:xfrm rot="16200000">
            <a:off x="5842000" y="2549040"/>
            <a:ext cx="1423048" cy="291288"/>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78124"/>
              </a:lnSpc>
              <a:spcBef>
                <a:spcPts val="0"/>
              </a:spcBef>
              <a:spcAft>
                <a:spcPts val="0"/>
              </a:spcAft>
              <a:buClrTx/>
              <a:buSzTx/>
              <a:buFontTx/>
              <a:buNone/>
              <a:tabLst/>
              <a:defRPr/>
            </a:pPr>
            <a:r>
              <a:rPr kumimoji="0" lang="es-es" sz="1648"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Habilidades</a:t>
            </a:r>
            <a:endParaRPr kumimoji="0" lang="en-US" sz="1648"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Text 3"/>
          <p:cNvSpPr/>
          <p:nvPr/>
        </p:nvSpPr>
        <p:spPr>
          <a:xfrm>
            <a:off x="7340600" y="4554594"/>
            <a:ext cx="2421565" cy="27940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78124"/>
              </a:lnSpc>
              <a:spcBef>
                <a:spcPts val="0"/>
              </a:spcBef>
              <a:spcAft>
                <a:spcPts val="0"/>
              </a:spcAft>
              <a:buClrTx/>
              <a:buSzTx/>
              <a:buFontTx/>
              <a:buNone/>
              <a:tabLst/>
              <a:defRPr/>
            </a:pPr>
            <a:r>
              <a:rPr kumimoji="0" lang="es-es" sz="1648"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Conocimientos</a:t>
            </a:r>
            <a:endParaRPr kumimoji="0" lang="en-US" sz="1648"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Text 4"/>
          <p:cNvSpPr/>
          <p:nvPr/>
        </p:nvSpPr>
        <p:spPr>
          <a:xfrm>
            <a:off x="7322944" y="2825619"/>
            <a:ext cx="1462558" cy="86995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s-es" sz="1755" b="0" i="0" u="none" strike="noStrike" kern="1200" cap="none" spc="0" normalizeH="0" baseline="0" noProof="0">
                <a:ln>
                  <a:noFill/>
                </a:ln>
                <a:solidFill>
                  <a:srgbClr val="FFFFFF"/>
                </a:solidFill>
                <a:effectLst/>
                <a:uLnTx/>
                <a:uFillTx/>
                <a:latin typeface="Segoe UI Semibold" pitchFamily="34" charset="0"/>
                <a:ea typeface="Segoe UI Semibold" pitchFamily="34" charset="-122"/>
                <a:cs typeface="Segoe UI Semibold" pitchFamily="34" charset="-120"/>
              </a:rPr>
              <a:t>Copilot for Microsoft 365</a:t>
            </a:r>
            <a:endParaRPr kumimoji="0" lang="en-US" sz="1755"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Text 5"/>
          <p:cNvSpPr/>
          <p:nvPr/>
        </p:nvSpPr>
        <p:spPr>
          <a:xfrm>
            <a:off x="5561712" y="1978202"/>
            <a:ext cx="731283" cy="299451"/>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81749"/>
              </a:lnSpc>
              <a:spcBef>
                <a:spcPts val="0"/>
              </a:spcBef>
              <a:spcAft>
                <a:spcPts val="0"/>
              </a:spcAft>
              <a:buClrTx/>
              <a:buSzTx/>
              <a:buFontTx/>
              <a:buNone/>
              <a:tabLst/>
              <a:defRPr/>
            </a:pPr>
            <a:r>
              <a:rPr kumimoji="0" lang="es-ES" sz="900" b="0" i="0" u="none" strike="noStrike" kern="1200" cap="none" spc="0" normalizeH="0" baseline="0" noProof="0" dirty="0">
                <a:ln>
                  <a:noFill/>
                </a:ln>
                <a:solidFill>
                  <a:srgbClr val="575751"/>
                </a:solidFill>
                <a:effectLst/>
                <a:uLnTx/>
                <a:uFillTx/>
                <a:latin typeface="Segoe UI"/>
                <a:ea typeface="Segoe UI Variable Display Semibold" pitchFamily="34" charset="-122"/>
                <a:cs typeface="Segoe UI Variable Display Semibold" pitchFamily="34" charset="-120"/>
              </a:rPr>
              <a:t>Aplicaciones empresariales</a:t>
            </a:r>
            <a:endParaRPr kumimoji="0" lang="en-US" sz="900" b="0" i="0" u="none" strike="noStrike" kern="1200" cap="none" spc="0" normalizeH="0" baseline="0" noProof="0" dirty="0">
              <a:ln>
                <a:noFill/>
              </a:ln>
              <a:solidFill>
                <a:prstClr val="black"/>
              </a:solidFill>
              <a:effectLst/>
              <a:uLnTx/>
              <a:uFillTx/>
              <a:latin typeface="Segoe UI"/>
              <a:ea typeface="+mn-ea"/>
              <a:cs typeface="Segoe UI"/>
            </a:endParaRPr>
          </a:p>
        </p:txBody>
      </p:sp>
      <p:sp>
        <p:nvSpPr>
          <p:cNvPr id="10" name="Text 6"/>
          <p:cNvSpPr/>
          <p:nvPr/>
        </p:nvSpPr>
        <p:spPr>
          <a:xfrm>
            <a:off x="5568285" y="3089919"/>
            <a:ext cx="734070" cy="314093"/>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srgbClr val="575751"/>
                </a:solidFill>
                <a:effectLst/>
                <a:uLnTx/>
                <a:uFillTx/>
                <a:latin typeface="Segoe UI"/>
                <a:ea typeface="Segoe UI Semibold" pitchFamily="34" charset="-122"/>
                <a:cs typeface="Segoe UI Semibold"/>
              </a:rPr>
              <a:t>Aplicaciones de Microsoft 365</a:t>
            </a:r>
            <a:endParaRPr kumimoji="0" lang="en-US" sz="900" b="0" i="0" u="none" strike="noStrike" kern="1200" cap="none" spc="0" normalizeH="0" baseline="0" noProof="0" dirty="0">
              <a:ln>
                <a:noFill/>
              </a:ln>
              <a:solidFill>
                <a:prstClr val="black"/>
              </a:solidFill>
              <a:effectLst/>
              <a:uLnTx/>
              <a:uFillTx/>
              <a:latin typeface="Segoe UI"/>
              <a:ea typeface="+mn-ea"/>
              <a:cs typeface="Segoe UI Semibold"/>
            </a:endParaRPr>
          </a:p>
        </p:txBody>
      </p:sp>
      <p:sp>
        <p:nvSpPr>
          <p:cNvPr id="12" name="Text 8"/>
          <p:cNvSpPr/>
          <p:nvPr/>
        </p:nvSpPr>
        <p:spPr>
          <a:xfrm>
            <a:off x="9353550" y="5185093"/>
            <a:ext cx="725652" cy="372992"/>
          </a:xfrm>
          <a:prstGeom prst="rect">
            <a:avLst/>
          </a:prstGeom>
          <a:noFill/>
          <a:ln/>
        </p:spPr>
        <p:txBody>
          <a:bodyPr wrap="square" lIns="0" tIns="0" rIns="0" bIns="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err="1">
                <a:ln>
                  <a:noFill/>
                </a:ln>
                <a:solidFill>
                  <a:srgbClr val="575751"/>
                </a:solidFill>
                <a:effectLst/>
                <a:uLnTx/>
                <a:uFillTx/>
                <a:latin typeface="Segoe UI"/>
                <a:ea typeface="Segoe UI Semibold" pitchFamily="34" charset="-122"/>
                <a:cs typeface="Segoe UI"/>
              </a:rPr>
              <a:t>Conoci-mientos</a:t>
            </a:r>
            <a:r>
              <a:rPr kumimoji="0" lang="es-es" sz="900" b="0" i="0" u="none" strike="noStrike" kern="1200" cap="none" spc="0" normalizeH="0" baseline="0" noProof="0" dirty="0">
                <a:ln>
                  <a:noFill/>
                </a:ln>
                <a:solidFill>
                  <a:srgbClr val="575751"/>
                </a:solidFill>
                <a:effectLst/>
                <a:uLnTx/>
                <a:uFillTx/>
                <a:latin typeface="Segoe UI"/>
                <a:ea typeface="Segoe UI Semibold" pitchFamily="34" charset="-122"/>
                <a:cs typeface="Segoe UI"/>
              </a:rPr>
              <a:t>
de la web</a:t>
            </a:r>
            <a:endParaRPr kumimoji="0" lang="en-US" sz="900" b="0" i="0" u="none" strike="noStrike" kern="1200" cap="none" spc="0" normalizeH="0" baseline="0" noProof="0" dirty="0">
              <a:ln>
                <a:noFill/>
              </a:ln>
              <a:solidFill>
                <a:prstClr val="black"/>
              </a:solidFill>
              <a:effectLst/>
              <a:uLnTx/>
              <a:uFillTx/>
              <a:latin typeface="Segoe UI"/>
              <a:ea typeface="+mn-ea"/>
              <a:cs typeface="Segoe UI"/>
            </a:endParaRPr>
          </a:p>
        </p:txBody>
      </p:sp>
      <p:sp>
        <p:nvSpPr>
          <p:cNvPr id="13" name="Text 9"/>
          <p:cNvSpPr/>
          <p:nvPr/>
        </p:nvSpPr>
        <p:spPr>
          <a:xfrm>
            <a:off x="8191500" y="5178728"/>
            <a:ext cx="736600" cy="33020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err="1">
                <a:ln>
                  <a:noFill/>
                </a:ln>
                <a:solidFill>
                  <a:srgbClr val="575751"/>
                </a:solidFill>
                <a:effectLst/>
                <a:uLnTx/>
                <a:uFillTx/>
                <a:latin typeface="Segoe UI"/>
                <a:ea typeface="Segoe UI Variable Display Semibold" pitchFamily="34" charset="-122"/>
                <a:cs typeface="Segoe UI"/>
              </a:rPr>
              <a:t>Conoci-mientos</a:t>
            </a:r>
            <a:r>
              <a:rPr kumimoji="0" lang="es-es" sz="900" b="0" i="0" u="none" strike="noStrike" kern="1200" cap="none" spc="0" normalizeH="0" baseline="0" noProof="0" dirty="0">
                <a:ln>
                  <a:noFill/>
                </a:ln>
                <a:solidFill>
                  <a:srgbClr val="575751"/>
                </a:solidFill>
                <a:effectLst/>
                <a:uLnTx/>
                <a:uFillTx/>
                <a:latin typeface="Segoe UI"/>
                <a:ea typeface="Segoe UI Variable Display Semibold" pitchFamily="34" charset="-122"/>
                <a:cs typeface="Segoe UI"/>
              </a:rPr>
              <a:t> empresariales</a:t>
            </a:r>
            <a:endParaRPr kumimoji="0" lang="en-US" sz="900" b="0" i="0" u="none" strike="noStrike" kern="1200" cap="none" spc="0" normalizeH="0" baseline="0" noProof="0" dirty="0">
              <a:ln>
                <a:noFill/>
              </a:ln>
              <a:solidFill>
                <a:prstClr val="black"/>
              </a:solidFill>
              <a:effectLst/>
              <a:uLnTx/>
              <a:uFillTx/>
              <a:latin typeface="Segoe UI"/>
              <a:ea typeface="+mn-ea"/>
              <a:cs typeface="Segoe UI"/>
            </a:endParaRPr>
          </a:p>
        </p:txBody>
      </p:sp>
      <p:sp>
        <p:nvSpPr>
          <p:cNvPr id="14" name="Text 10"/>
          <p:cNvSpPr/>
          <p:nvPr/>
        </p:nvSpPr>
        <p:spPr>
          <a:xfrm>
            <a:off x="7054850" y="5223204"/>
            <a:ext cx="737305" cy="338894"/>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srgbClr val="575751"/>
                </a:solidFill>
                <a:effectLst/>
                <a:uLnTx/>
                <a:uFillTx/>
                <a:latin typeface="Segoe UI"/>
                <a:ea typeface="Segoe UI Semibold" pitchFamily="34" charset="-122"/>
                <a:cs typeface="Segoe UI"/>
              </a:rPr>
              <a:t>Datos de Microsoft 365</a:t>
            </a:r>
            <a:endParaRPr kumimoji="0" lang="en-US" sz="900" b="0" i="0" u="none" strike="noStrike" kern="1200" cap="none" spc="0" normalizeH="0" baseline="0" noProof="0" dirty="0">
              <a:ln>
                <a:noFill/>
              </a:ln>
              <a:solidFill>
                <a:prstClr val="black"/>
              </a:solidFill>
              <a:effectLst/>
              <a:uLnTx/>
              <a:uFillTx/>
              <a:latin typeface="Segoe UI"/>
              <a:ea typeface="+mn-ea"/>
              <a:cs typeface="Segoe UI"/>
            </a:endParaRPr>
          </a:p>
        </p:txBody>
      </p:sp>
      <p:sp>
        <p:nvSpPr>
          <p:cNvPr id="18" name="Text 6">
            <a:extLst>
              <a:ext uri="{FF2B5EF4-FFF2-40B4-BE49-F238E27FC236}">
                <a16:creationId xmlns:a16="http://schemas.microsoft.com/office/drawing/2014/main" id="{F0963198-FE71-AABC-9142-4BCEE2D415A0}"/>
              </a:ext>
            </a:extLst>
          </p:cNvPr>
          <p:cNvSpPr/>
          <p:nvPr/>
        </p:nvSpPr>
        <p:spPr>
          <a:xfrm>
            <a:off x="5829108" y="25537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es-es"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 name="Text 10">
            <a:extLst>
              <a:ext uri="{FF2B5EF4-FFF2-40B4-BE49-F238E27FC236}">
                <a16:creationId xmlns:a16="http://schemas.microsoft.com/office/drawing/2014/main" id="{118F33EA-F6DA-8E88-8D0D-06080C2E273B}"/>
              </a:ext>
            </a:extLst>
          </p:cNvPr>
          <p:cNvSpPr/>
          <p:nvPr/>
        </p:nvSpPr>
        <p:spPr>
          <a:xfrm>
            <a:off x="7897676" y="52846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es-es"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2" name="Text 11">
            <a:extLst>
              <a:ext uri="{FF2B5EF4-FFF2-40B4-BE49-F238E27FC236}">
                <a16:creationId xmlns:a16="http://schemas.microsoft.com/office/drawing/2014/main" id="{45B9267C-9EA5-D2F3-5290-0199162432C3}"/>
              </a:ext>
            </a:extLst>
          </p:cNvPr>
          <p:cNvSpPr/>
          <p:nvPr/>
        </p:nvSpPr>
        <p:spPr>
          <a:xfrm>
            <a:off x="9055018" y="52846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es-es"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 name="Graphic 127" descr="Icono de una bombilla">
            <a:extLst>
              <a:ext uri="{FF2B5EF4-FFF2-40B4-BE49-F238E27FC236}">
                <a16:creationId xmlns:a16="http://schemas.microsoft.com/office/drawing/2014/main" id="{15858523-CBBC-C92F-904C-82E841B92C6A}"/>
              </a:ext>
            </a:extLst>
          </p:cNvPr>
          <p:cNvSpPr>
            <a:spLocks/>
          </p:cNvSpPr>
          <p:nvPr/>
        </p:nvSpPr>
        <p:spPr>
          <a:xfrm>
            <a:off x="948245" y="1520657"/>
            <a:ext cx="657175" cy="915090"/>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32042 w 138112"/>
              <a:gd name="connsiteY14" fmla="*/ 147618 h 190490"/>
              <a:gd name="connsiteX15" fmla="*/ 27032 w 138112"/>
              <a:gd name="connsiteY15" fmla="*/ 125873 h 190490"/>
              <a:gd name="connsiteX16" fmla="*/ 26356 w 138112"/>
              <a:gd name="connsiteY16" fmla="*/ 124692 h 190490"/>
              <a:gd name="connsiteX17" fmla="*/ 0 w 138112"/>
              <a:gd name="connsiteY17" fmla="*/ 69047 h 190490"/>
              <a:gd name="connsiteX18" fmla="*/ 69056 w 138112"/>
              <a:gd name="connsiteY18"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32042" y="147618"/>
                </a:lnTo>
                <a:lnTo>
                  <a:pt x="27032" y="125873"/>
                </a:lnTo>
                <a:cubicBezTo>
                  <a:pt x="26926" y="125421"/>
                  <a:pt x="26691" y="125011"/>
                  <a:pt x="26356" y="124692"/>
                </a:cubicBezTo>
                <a:cubicBezTo>
                  <a:pt x="8925" y="108042"/>
                  <a:pt x="0" y="89402"/>
                  <a:pt x="0" y="69047"/>
                </a:cubicBezTo>
                <a:cubicBezTo>
                  <a:pt x="5" y="30912"/>
                  <a:pt x="30921" y="0"/>
                  <a:pt x="69056"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3691539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2.5E-6 -0.03473 L 2.5E-6 4.07407E-6 " pathEditMode="relative" rAng="0" ptsTypes="AA">
                                      <p:cBhvr>
                                        <p:cTn id="9" dur="500" fill="hold"/>
                                        <p:tgtEl>
                                          <p:spTgt spid="11"/>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Hub Template">
  <a:themeElements>
    <a:clrScheme name="Customer Hub">
      <a:dk1>
        <a:srgbClr val="091F2C"/>
      </a:dk1>
      <a:lt1>
        <a:sysClr val="window" lastClr="FFFFFF"/>
      </a:lt1>
      <a:dk2>
        <a:srgbClr val="091F2C"/>
      </a:dk2>
      <a:lt2>
        <a:srgbClr val="EFF8FF"/>
      </a:lt2>
      <a:accent1>
        <a:srgbClr val="8DC8E8"/>
      </a:accent1>
      <a:accent2>
        <a:srgbClr val="0078D4"/>
      </a:accent2>
      <a:accent3>
        <a:srgbClr val="D59ED7"/>
      </a:accent3>
      <a:accent4>
        <a:srgbClr val="C03BC4"/>
      </a:accent4>
      <a:accent5>
        <a:srgbClr val="FFA38B"/>
      </a:accent5>
      <a:accent6>
        <a:srgbClr val="702573"/>
      </a:accent6>
      <a:hlink>
        <a:srgbClr val="006ECC"/>
      </a:hlink>
      <a:folHlink>
        <a:srgbClr val="3399F0"/>
      </a:folHlink>
    </a:clrScheme>
    <a:fontScheme name="Customer Hub">
      <a:majorFont>
        <a:latin typeface="Segoe Sans Display"/>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2.xml><?xml version="1.0" encoding="utf-8"?>
<a:theme xmlns:a="http://schemas.openxmlformats.org/drawingml/2006/main" name="Copilot Studio Template">
  <a:themeElements>
    <a:clrScheme name="Copilot Studio">
      <a:dk1>
        <a:srgbClr val="000000"/>
      </a:dk1>
      <a:lt1>
        <a:srgbClr val="FFFFFF"/>
      </a:lt1>
      <a:dk2>
        <a:srgbClr val="14938C"/>
      </a:dk2>
      <a:lt2>
        <a:srgbClr val="0090A8"/>
      </a:lt2>
      <a:accent1>
        <a:srgbClr val="374649"/>
      </a:accent1>
      <a:accent2>
        <a:srgbClr val="50E6FF"/>
      </a:accent2>
      <a:accent3>
        <a:srgbClr val="742774"/>
      </a:accent3>
      <a:accent4>
        <a:srgbClr val="2A446F"/>
      </a:accent4>
      <a:accent5>
        <a:srgbClr val="222043"/>
      </a:accent5>
      <a:accent6>
        <a:srgbClr val="0078D4"/>
      </a:accent6>
      <a:hlink>
        <a:srgbClr val="0078D4"/>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A38B"/>
    </a:custClr>
    <a:custClr name="Light Red">
      <a:srgbClr val="FF5C39"/>
    </a:custClr>
    <a:custClr name="Red">
      <a:srgbClr val="F4364C"/>
    </a:custClr>
    <a:custClr name="Dark Red">
      <a:srgbClr val="73262F"/>
    </a:custClr>
    <a:custClr name="Light Purple">
      <a:srgbClr val="C5B4E3"/>
    </a:custClr>
    <a:custClr name="Light Violet">
      <a:srgbClr val="D59ED7"/>
    </a:custClr>
    <a:custClr name="Red Violet">
      <a:srgbClr val="C03BC4"/>
    </a:custClr>
    <a:custClr name="Dark Violet">
      <a:srgbClr val="702573"/>
    </a:custClr>
    <a:custClr name="Light Teal">
      <a:srgbClr val="B9DCD2"/>
    </a:custClr>
    <a:custClr name="Light Blue">
      <a:srgbClr val="8DC8E8"/>
    </a:custClr>
    <a:custClr name="Brilliant Blue">
      <a:srgbClr val="0078D4"/>
    </a:custClr>
    <a:custClr name="Dark Blue">
      <a:srgbClr val="2A446F"/>
    </a:custClr>
    <a:custClr name="Light Green">
      <a:srgbClr val="D4EC8E"/>
    </a:custClr>
    <a:custClr name="Green">
      <a:srgbClr val="8DE971"/>
    </a:custClr>
    <a:custClr name="Biscay Green">
      <a:srgbClr val="49C5B1"/>
    </a:custClr>
    <a:custClr name="Dark Teal">
      <a:srgbClr val="225B62"/>
    </a:custClr>
    <a:custClr name="Pure White">
      <a:srgbClr val="FFFFFF"/>
    </a:custClr>
    <a:custClr name="Off White">
      <a:srgbClr val="F4F3F5"/>
    </a:custClr>
    <a:custClr name="Extra Light Gray">
      <a:srgbClr val="F2F2F2"/>
    </a:custClr>
    <a:custClr name="Pure Black">
      <a:srgbClr val="000000"/>
    </a:custClr>
  </a:custClrLst>
  <a:extLst>
    <a:ext uri="{05A4C25C-085E-4340-85A3-A5531E510DB2}">
      <thm15:themeFamily xmlns:thm15="http://schemas.microsoft.com/office/thememl/2012/main" name="Presentation1" id="{652C1184-2488-449E-A844-5E413F9B44B9}" vid="{6D0986AC-F46A-4ED2-8B22-83492290F949}"/>
    </a:ext>
  </a:extLst>
</a:theme>
</file>

<file path=ppt/theme/theme3.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Copilot-Powerpoint-Template" id="{45D8A70D-BF6C-4093-9EF8-5CF445DB7997}" vid="{24F93973-1432-4153-82CC-4E851EBE8185}"/>
    </a:ext>
  </a:extLst>
</a:theme>
</file>

<file path=ppt/theme/theme4.xml><?xml version="1.0" encoding="utf-8"?>
<a:theme xmlns:a="http://schemas.openxmlformats.org/drawingml/2006/main" name="2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5.xml><?xml version="1.0" encoding="utf-8"?>
<a:theme xmlns:a="http://schemas.openxmlformats.org/drawingml/2006/main" name="4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0" id="{6B613F45-8EC8-42F9-932C-3D812BC0A41E}" vid="{731B3710-7283-4EED-B3B1-B5DA5FEB474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D2BB8FCA7FEB347BAC36A8D039FB81C" ma:contentTypeVersion="14" ma:contentTypeDescription="Create a new document." ma:contentTypeScope="" ma:versionID="f2a0b8957ab5fa9de4fbd953ee5e964c">
  <xsd:schema xmlns:xsd="http://www.w3.org/2001/XMLSchema" xmlns:xs="http://www.w3.org/2001/XMLSchema" xmlns:p="http://schemas.microsoft.com/office/2006/metadata/properties" xmlns:ns1="http://schemas.microsoft.com/sharepoint/v3" xmlns:ns2="6adfd4c8-54de-4fa2-b73e-b86369895801" targetNamespace="http://schemas.microsoft.com/office/2006/metadata/properties" ma:root="true" ma:fieldsID="6ffd9ea1e3518e6e0782accd3cd1fd75" ns1:_="" ns2:_="">
    <xsd:import namespace="http://schemas.microsoft.com/sharepoint/v3"/>
    <xsd:import namespace="6adfd4c8-54de-4fa2-b73e-b863698958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OCR"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dfd4c8-54de-4fa2-b73e-b863698958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1"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adfd4c8-54de-4fa2-b73e-b86369895801">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A3D8BF1-AFF1-4D19-918C-DFBB361919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adfd4c8-54de-4fa2-b73e-b863698958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86BFB6-8A47-46DA-8DD3-7B06530064CC}">
  <ds:schemaRefs>
    <ds:schemaRef ds:uri="http://schemas.microsoft.com/sharepoint/v3/contenttype/forms"/>
  </ds:schemaRefs>
</ds:datastoreItem>
</file>

<file path=customXml/itemProps3.xml><?xml version="1.0" encoding="utf-8"?>
<ds:datastoreItem xmlns:ds="http://schemas.openxmlformats.org/officeDocument/2006/customXml" ds:itemID="{996B4EDF-C8A5-4FA8-A4BD-72E6761AF4A4}">
  <ds:schemaRefs>
    <ds:schemaRef ds:uri="http://schemas.microsoft.com/office/2006/documentManagement/types"/>
    <ds:schemaRef ds:uri="6adfd4c8-54de-4fa2-b73e-b86369895801"/>
    <ds:schemaRef ds:uri="http://purl.org/dc/elements/1.1/"/>
    <ds:schemaRef ds:uri="http://schemas.openxmlformats.org/package/2006/metadata/core-properties"/>
    <ds:schemaRef ds:uri="http://purl.org/dc/dcmitype/"/>
    <ds:schemaRef ds:uri="http://schemas.microsoft.com/sharepoint/v3"/>
    <ds:schemaRef ds:uri="http://purl.org/dc/terms/"/>
    <ds:schemaRef ds:uri="http://schemas.microsoft.com/office/infopath/2007/PartnerControls"/>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12406</Words>
  <Application>Microsoft Office PowerPoint</Application>
  <PresentationFormat>Widescreen</PresentationFormat>
  <Paragraphs>601</Paragraphs>
  <Slides>41</Slides>
  <Notes>41</Notes>
  <HiddenSlides>0</HiddenSlides>
  <MMClips>1</MMClips>
  <ScaleCrop>false</ScaleCrop>
  <HeadingPairs>
    <vt:vector size="4" baseType="variant">
      <vt:variant>
        <vt:lpstr>Theme</vt:lpstr>
      </vt:variant>
      <vt:variant>
        <vt:i4>5</vt:i4>
      </vt:variant>
      <vt:variant>
        <vt:lpstr>Slide Titles</vt:lpstr>
      </vt:variant>
      <vt:variant>
        <vt:i4>41</vt:i4>
      </vt:variant>
    </vt:vector>
  </HeadingPairs>
  <TitlesOfParts>
    <vt:vector size="46" baseType="lpstr">
      <vt:lpstr>Customer Hub Template</vt:lpstr>
      <vt:lpstr>Copilot Studio Template</vt:lpstr>
      <vt:lpstr>Microsoft 365 Copilot Template</vt:lpstr>
      <vt:lpstr>2_Microsoft 365 Copilot Template</vt:lpstr>
      <vt:lpstr>4_Microsoft 365 Copilot Template</vt:lpstr>
      <vt:lpstr>Agentes en una hora</vt:lpstr>
      <vt:lpstr>PowerPoint Presentation</vt:lpstr>
      <vt:lpstr>PowerPoint Presentation</vt:lpstr>
      <vt:lpstr>Para qué estamos aquí</vt:lpstr>
      <vt:lpstr>Presentación de M365 Copilot</vt:lpstr>
      <vt:lpstr>PowerPoint Presentation</vt:lpstr>
      <vt:lpstr>PowerPoint Presentation</vt:lpstr>
      <vt:lpstr>Presentación de los agentes de Copilot</vt:lpstr>
      <vt:lpstr>PowerPoint Presentation</vt:lpstr>
      <vt:lpstr>¿Qué son los agentes de Copilot</vt:lpstr>
      <vt:lpstr>PowerPoint Presentation</vt:lpstr>
      <vt:lpstr>La estructura básica  de un agente</vt:lpstr>
      <vt:lpstr>PowerPoint Presentation</vt:lpstr>
      <vt:lpstr>Elige tu camino</vt:lpstr>
      <vt:lpstr>Agentes creados disponibles en M365 Copilot</vt:lpstr>
      <vt:lpstr>Researcher</vt:lpstr>
      <vt:lpstr>Analyst</vt:lpstr>
      <vt:lpstr>Agentes de Word, Excel y PowerPoint</vt:lpstr>
      <vt:lpstr>Título </vt:lpstr>
      <vt:lpstr>Descubre agentes que te resulten pertinentes</vt:lpstr>
      <vt:lpstr>Agent Store</vt:lpstr>
      <vt:lpstr>Presentación de las plantillas de agentes en el generador de agentes  de Copilot Studio</vt:lpstr>
      <vt:lpstr>Empieza a crear agentes mediante plantillas de agentes </vt:lpstr>
      <vt:lpstr>Creación de agentes mediante plantillas de agentes </vt:lpstr>
      <vt:lpstr>Opciones y valores de configuración  en Generador de agentes</vt:lpstr>
      <vt:lpstr>PowerPoint Presentation</vt:lpstr>
      <vt:lpstr>Redacta instrucciones excelentes para agentes</vt:lpstr>
      <vt:lpstr>Presentación de los ejemplos de agentes</vt:lpstr>
      <vt:lpstr>Empieza a crear agentes mediante ejemplos de agentes </vt:lpstr>
      <vt:lpstr>Ejemplos  de agentes</vt:lpstr>
      <vt:lpstr>Crear agentes mediante ejemplos de agentes </vt:lpstr>
      <vt:lpstr>Uso combinado de agentes para mejorar el flujo de trabajo</vt:lpstr>
      <vt:lpstr>Uso compartido de agentes de Microsoft 365</vt:lpstr>
      <vt:lpstr>PowerPoint Presentation</vt:lpstr>
      <vt:lpstr>PowerPoint Presentation</vt:lpstr>
      <vt:lpstr>Inversiones de Microsoft para acelerar tu tiempo  para obtener valor</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PRIYA</dc:creator>
  <cp:keywords/>
  <dc:description/>
  <cp:lastModifiedBy>Victoria Blasich (FREEMIND SEATTLE LLC)</cp:lastModifiedBy>
  <cp:revision>8</cp:revision>
  <dcterms:created xsi:type="dcterms:W3CDTF">2026-02-06T18:36:14Z</dcterms:created>
  <dcterms:modified xsi:type="dcterms:W3CDTF">2026-07-07T16:28:2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1dbacbd0e564fc293d11b6c4775302e">
    <vt:lpwstr/>
  </property>
  <property fmtid="{D5CDD505-2E9C-101B-9397-08002B2CF9AE}" pid="3" name="MSIP_Label_f42aa342-8706-4288-bd11-ebb85995028c_Enabled">
    <vt:lpwstr>True</vt:lpwstr>
  </property>
  <property fmtid="{D5CDD505-2E9C-101B-9397-08002B2CF9AE}" pid="4" name="MediaServiceImageTags">
    <vt:lpwstr/>
  </property>
  <property fmtid="{D5CDD505-2E9C-101B-9397-08002B2CF9AE}" pid="5" name="j7ed6b1749d644c580569ee38d7710d7">
    <vt:lpwstr/>
  </property>
  <property fmtid="{D5CDD505-2E9C-101B-9397-08002B2CF9AE}" pid="6" name="ContentTypeId">
    <vt:lpwstr>0x0101000D2BB8FCA7FEB347BAC36A8D039FB81C</vt:lpwstr>
  </property>
  <property fmtid="{D5CDD505-2E9C-101B-9397-08002B2CF9AE}" pid="7" name="Audience">
    <vt:lpwstr/>
  </property>
  <property fmtid="{D5CDD505-2E9C-101B-9397-08002B2CF9AE}" pid="8" name="MSIP_Label_f42aa342-8706-4288-bd11-ebb85995028c_SetDate">
    <vt:lpwstr>2017-08-29T14:27:20.8568347-07:00</vt:lpwstr>
  </property>
  <property fmtid="{D5CDD505-2E9C-101B-9397-08002B2CF9AE}" pid="9" name="MSIP_Label_f42aa342-8706-4288-bd11-ebb85995028c_Name">
    <vt:lpwstr>General</vt:lpwstr>
  </property>
  <property fmtid="{D5CDD505-2E9C-101B-9397-08002B2CF9AE}" pid="10" name="MSIP_Label_f42aa342-8706-4288-bd11-ebb85995028c_SiteId">
    <vt:lpwstr>72f988bf-86f1-41af-91ab-2d7cd011db47</vt:lpwstr>
  </property>
  <property fmtid="{D5CDD505-2E9C-101B-9397-08002B2CF9AE}" pid="11" name="Campaign">
    <vt:lpwstr/>
  </property>
  <property fmtid="{D5CDD505-2E9C-101B-9397-08002B2CF9AE}" pid="12" name="MSIP_Label_f42aa342-8706-4288-bd11-ebb85995028c_Extended_MSFT_Method">
    <vt:lpwstr>Automatic</vt:lpwstr>
  </property>
  <property fmtid="{D5CDD505-2E9C-101B-9397-08002B2CF9AE}" pid="13" name="Track">
    <vt:lpwstr/>
  </property>
  <property fmtid="{D5CDD505-2E9C-101B-9397-08002B2CF9AE}" pid="14" name="Event Venue">
    <vt:lpwstr/>
  </property>
  <property fmtid="{D5CDD505-2E9C-101B-9397-08002B2CF9AE}" pid="15" name="o92d4232daec467abb08246282070aa9">
    <vt:lpwstr/>
  </property>
  <property fmtid="{D5CDD505-2E9C-101B-9397-08002B2CF9AE}" pid="16" name="IsMyDocuments">
    <vt:bool>true</vt:bool>
  </property>
  <property fmtid="{D5CDD505-2E9C-101B-9397-08002B2CF9AE}" pid="17" name="Sensitivity">
    <vt:lpwstr>General</vt:lpwstr>
  </property>
  <property fmtid="{D5CDD505-2E9C-101B-9397-08002B2CF9AE}" pid="18" name="bc8cca776fa8455c8c00307ee3c527ad">
    <vt:lpwstr/>
  </property>
  <property fmtid="{D5CDD505-2E9C-101B-9397-08002B2CF9AE}" pid="19" name="MSIP_Label_f42aa342-8706-4288-bd11-ebb85995028c_Ref">
    <vt:lpwstr>https://api.informationprotection.azure.com/api/72f988bf-86f1-41af-91ab-2d7cd011db47</vt:lpwstr>
  </property>
  <property fmtid="{D5CDD505-2E9C-101B-9397-08002B2CF9AE}" pid="20" name="Product">
    <vt:lpwstr/>
  </property>
  <property fmtid="{D5CDD505-2E9C-101B-9397-08002B2CF9AE}" pid="21" name="epPlatforms">
    <vt:lpwstr/>
  </property>
  <property fmtid="{D5CDD505-2E9C-101B-9397-08002B2CF9AE}" pid="22" name="Event Location">
    <vt:lpwstr/>
  </property>
  <property fmtid="{D5CDD505-2E9C-101B-9397-08002B2CF9AE}" pid="23" name="Event1">
    <vt:lpwstr>622;#Unassigned|2c8af875-f38a-40b8-a0a9-056aed3fc8c0</vt:lpwstr>
  </property>
  <property fmtid="{D5CDD505-2E9C-101B-9397-08002B2CF9AE}" pid="24" name="_dlc_DocIdItemGuid">
    <vt:lpwstr>4230617f-e31b-4f22-8a5a-7761a22ded76</vt:lpwstr>
  </property>
  <property fmtid="{D5CDD505-2E9C-101B-9397-08002B2CF9AE}" pid="25" name="e93e2550f0ac4199ae3cf1406d72085e">
    <vt:lpwstr/>
  </property>
</Properties>
</file>